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61" r:id="rId4"/>
    <p:sldMasterId id="2147483664" r:id="rId5"/>
    <p:sldMasterId id="2147483679" r:id="rId6"/>
    <p:sldMasterId id="2147483693" r:id="rId7"/>
    <p:sldMasterId id="2147483737" r:id="rId8"/>
  </p:sldMasterIdLst>
  <p:notesMasterIdLst>
    <p:notesMasterId r:id="rId31"/>
  </p:notesMasterIdLst>
  <p:handoutMasterIdLst>
    <p:handoutMasterId r:id="rId32"/>
  </p:handoutMasterIdLst>
  <p:sldIdLst>
    <p:sldId id="2145708226" r:id="rId9"/>
    <p:sldId id="2145708261" r:id="rId10"/>
    <p:sldId id="2145708258" r:id="rId11"/>
    <p:sldId id="2145708241" r:id="rId12"/>
    <p:sldId id="2145708243" r:id="rId13"/>
    <p:sldId id="2145708242" r:id="rId14"/>
    <p:sldId id="2145708262" r:id="rId15"/>
    <p:sldId id="2145708245" r:id="rId16"/>
    <p:sldId id="2145708246" r:id="rId17"/>
    <p:sldId id="5282" r:id="rId18"/>
    <p:sldId id="2145708228" r:id="rId19"/>
    <p:sldId id="2145708250" r:id="rId20"/>
    <p:sldId id="2145708252" r:id="rId21"/>
    <p:sldId id="2145708229" r:id="rId22"/>
    <p:sldId id="5293" r:id="rId23"/>
    <p:sldId id="5297" r:id="rId24"/>
    <p:sldId id="5310" r:id="rId25"/>
    <p:sldId id="5265" r:id="rId26"/>
    <p:sldId id="2145708233" r:id="rId27"/>
    <p:sldId id="2145708234" r:id="rId28"/>
    <p:sldId id="2145708212" r:id="rId29"/>
    <p:sldId id="2145708236" r:id="rId30"/>
  </p:sldIdLst>
  <p:sldSz cx="12192000" cy="6858000"/>
  <p:notesSz cx="6858000" cy="9144000"/>
  <p:embeddedFontLst>
    <p:embeddedFont>
      <p:font typeface="Muli" pitchFamily="2" charset="77"/>
      <p:regular r:id="rId33"/>
      <p:bold r:id="rId34"/>
      <p:italic r:id="rId35"/>
      <p:boldItalic r:id="rId36"/>
    </p:embeddedFont>
    <p:embeddedFont>
      <p:font typeface="Syne" panose="020B0604020202020204" pitchFamily="34" charset="0"/>
      <p:regular r:id="rId37"/>
      <p:bold r:id="rId38"/>
      <p:italic r:id="rId39"/>
      <p:boldItalic r:id="rId40"/>
    </p:embeddedFont>
    <p:embeddedFont>
      <p:font typeface="Syne SemiBold" panose="020B0604020202020204" pitchFamily="34" charset="0"/>
      <p:regular r:id="rId41"/>
      <p:bold r:id="rId42"/>
      <p:italic r:id="rId43"/>
      <p:boldItalic r:id="rId4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0D166FD1-DD38-4260-8A0B-9B076E376E00}">
          <p14:sldIdLst>
            <p14:sldId id="2145708226"/>
            <p14:sldId id="2145708261"/>
            <p14:sldId id="2145708258"/>
            <p14:sldId id="2145708241"/>
            <p14:sldId id="2145708243"/>
            <p14:sldId id="2145708242"/>
            <p14:sldId id="2145708262"/>
            <p14:sldId id="2145708245"/>
            <p14:sldId id="2145708246"/>
            <p14:sldId id="5282"/>
            <p14:sldId id="2145708228"/>
            <p14:sldId id="2145708250"/>
            <p14:sldId id="2145708252"/>
            <p14:sldId id="2145708229"/>
            <p14:sldId id="5293"/>
            <p14:sldId id="5297"/>
            <p14:sldId id="5310"/>
            <p14:sldId id="5265"/>
            <p14:sldId id="2145708233"/>
            <p14:sldId id="2145708234"/>
            <p14:sldId id="2145708212"/>
            <p14:sldId id="2145708236"/>
          </p14:sldIdLst>
        </p14:section>
        <p14:section name="Fair Fair" id="{EBF50E39-9345-46FF-897A-1B34016B6063}">
          <p14:sldIdLst/>
        </p14:section>
        <p14:section name="Oud" id="{E47BB4CE-8DB0-42B3-B59A-1AA3FD07739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EAF40C-1446-F7E8-00C4-0518FF47AF6A}" name="Gastgebruiker" initials="Ga" userId="S::urn:spo:tenantanon#059a42cb-b627-4e48-9bbe-0d83a2196588::" providerId="AD"/>
  <p188:author id="{354C981F-EE6C-9E4A-C593-6E45062D1ABE}" name="j.goudsmit@w-e.nl" initials="j." userId="S::urn:spo:guest#j.goudsmit@w-e.nl::" providerId="AD"/>
  <p188:author id="{6A2B273F-A6AD-13DE-3951-998609A2DFA8}" name="Mathijs van Kouwen" initials="Mv" userId="S::mathijs@copper8.com::8f792fac-ba98-43e8-bc65-055fab10709c" providerId="AD"/>
  <p188:author id="{9B355CC6-E8FC-EB98-7F30-9E79C3FE2E7F}" name="Gerben Broekhuijsen" initials="GB" userId="S::gerben@copper8.com::120b932c-6784-42f7-a9e8-2e05e962085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2BF7E"/>
    <a:srgbClr val="000000"/>
    <a:srgbClr val="C00000"/>
    <a:srgbClr val="00C27C"/>
    <a:srgbClr val="002060"/>
    <a:srgbClr val="FFFFFF"/>
    <a:srgbClr val="EA645E"/>
    <a:srgbClr val="F89898"/>
    <a:srgbClr val="A7E9D2"/>
    <a:srgbClr val="FFC8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64"/>
    <p:restoredTop sz="82330" autoAdjust="0"/>
  </p:normalViewPr>
  <p:slideViewPr>
    <p:cSldViewPr snapToGrid="0">
      <p:cViewPr varScale="1">
        <p:scale>
          <a:sx n="88" d="100"/>
          <a:sy n="88" d="100"/>
        </p:scale>
        <p:origin x="1384" y="184"/>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7.fntdata"/><Relationship Id="rId21" Type="http://schemas.openxmlformats.org/officeDocument/2006/relationships/slide" Target="slides/slide13.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4.fntdata"/><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4"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69FAA8F-2952-E641-ACA7-56D768ED72E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44F823-6B6B-9141-A0F0-F42A6B55D1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F9B3DF-4362-514C-AE4A-1110C2FFB0AF}" type="datetimeFigureOut">
              <a:rPr lang="en-US" smtClean="0"/>
              <a:t>2/10/26</a:t>
            </a:fld>
            <a:endParaRPr lang="en-US"/>
          </a:p>
        </p:txBody>
      </p:sp>
      <p:sp>
        <p:nvSpPr>
          <p:cNvPr id="4" name="Footer Placeholder 3">
            <a:extLst>
              <a:ext uri="{FF2B5EF4-FFF2-40B4-BE49-F238E27FC236}">
                <a16:creationId xmlns:a16="http://schemas.microsoft.com/office/drawing/2014/main" id="{DC547F5B-633C-284D-A498-A17F4AE216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294520A-C82B-3B49-9302-D0B1D2C5751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6FA61D-713C-0B43-B856-B01E26A7E9B6}" type="slidenum">
              <a:rPr lang="en-US" smtClean="0"/>
              <a:t>‹#›</a:t>
            </a:fld>
            <a:endParaRPr lang="en-US"/>
          </a:p>
        </p:txBody>
      </p:sp>
    </p:spTree>
    <p:extLst>
      <p:ext uri="{BB962C8B-B14F-4D97-AF65-F5344CB8AC3E}">
        <p14:creationId xmlns:p14="http://schemas.microsoft.com/office/powerpoint/2010/main" val="11179012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BD5ABE-181E-4819-9BCC-DC7A6F9C05C2}" type="datetimeFigureOut">
              <a:rPr lang="en-NL" smtClean="0"/>
              <a:t>10/02/2026</a:t>
            </a:fld>
            <a:endParaRPr lang="en-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2EFB1C-732E-4CA1-898B-45FF31B7AD38}" type="slidenum">
              <a:rPr lang="en-NL" smtClean="0"/>
              <a:t>‹#›</a:t>
            </a:fld>
            <a:endParaRPr lang="en-NL"/>
          </a:p>
        </p:txBody>
      </p:sp>
    </p:spTree>
    <p:extLst>
      <p:ext uri="{BB962C8B-B14F-4D97-AF65-F5344CB8AC3E}">
        <p14:creationId xmlns:p14="http://schemas.microsoft.com/office/powerpoint/2010/main" val="17926793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Conclusie ook al noemen, wel vraagtekens achterlatende. Verlaagde risico’s. </a:t>
            </a:r>
          </a:p>
        </p:txBody>
      </p:sp>
      <p:sp>
        <p:nvSpPr>
          <p:cNvPr id="4" name="Tijdelijke aanduiding voor dianummer 3"/>
          <p:cNvSpPr>
            <a:spLocks noGrp="1"/>
          </p:cNvSpPr>
          <p:nvPr>
            <p:ph type="sldNum" sz="quarter" idx="5"/>
          </p:nvPr>
        </p:nvSpPr>
        <p:spPr/>
        <p:txBody>
          <a:bodyPr/>
          <a:lstStyle/>
          <a:p>
            <a:fld id="{EB2EFB1C-732E-4CA1-898B-45FF31B7AD38}" type="slidenum">
              <a:rPr lang="en-NL" smtClean="0"/>
              <a:t>1</a:t>
            </a:fld>
            <a:endParaRPr lang="en-NL"/>
          </a:p>
        </p:txBody>
      </p:sp>
    </p:spTree>
    <p:extLst>
      <p:ext uri="{BB962C8B-B14F-4D97-AF65-F5344CB8AC3E}">
        <p14:creationId xmlns:p14="http://schemas.microsoft.com/office/powerpoint/2010/main" val="2443326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CO2-opslag in rapportage er wel bij. Evt. noemen.</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EFB1C-732E-4CA1-898B-45FF31B7AD38}"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2994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75C48-EBDF-37DC-6D49-9985DA52A00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7135C922-73BD-8B75-59D4-9F6A72975E2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FE41ADC-018D-7B72-45C9-651B5B576ACA}"/>
              </a:ext>
            </a:extLst>
          </p:cNvPr>
          <p:cNvSpPr>
            <a:spLocks noGrp="1"/>
          </p:cNvSpPr>
          <p:nvPr>
            <p:ph type="body" idx="1"/>
          </p:nvPr>
        </p:nvSpPr>
        <p:spPr/>
        <p:txBody>
          <a:bodyPr/>
          <a:lstStyle/>
          <a:p>
            <a:r>
              <a:rPr lang="nl-NL" dirty="0"/>
              <a:t>Circulaire varianten waar mogelijk:</a:t>
            </a:r>
          </a:p>
          <a:p>
            <a:r>
              <a:rPr lang="nl-NL" dirty="0"/>
              <a:t>Weinig mogelijkheden voor spouwmuur en kruipruimtes, en ook voor warmtepompen miste een goed alternatief. </a:t>
            </a:r>
          </a:p>
          <a:p>
            <a:endParaRPr lang="nl-NL" dirty="0"/>
          </a:p>
          <a:p>
            <a:r>
              <a:rPr lang="nl-NL" dirty="0"/>
              <a:t>Desondanks op provinciaal niveau -34%. </a:t>
            </a:r>
          </a:p>
          <a:p>
            <a:endParaRPr lang="nl-NL" dirty="0"/>
          </a:p>
          <a:p>
            <a:r>
              <a:rPr lang="nl-NL" dirty="0"/>
              <a:t>Duiding grote verschil -&gt; Verschillende ingrepen. Deze getallen dus indicatief. </a:t>
            </a:r>
          </a:p>
        </p:txBody>
      </p:sp>
      <p:sp>
        <p:nvSpPr>
          <p:cNvPr id="4" name="Tijdelijke aanduiding voor dianummer 3">
            <a:extLst>
              <a:ext uri="{FF2B5EF4-FFF2-40B4-BE49-F238E27FC236}">
                <a16:creationId xmlns:a16="http://schemas.microsoft.com/office/drawing/2014/main" id="{F18CBA74-B3DA-70AC-6513-97CCEF27A5F1}"/>
              </a:ext>
            </a:extLst>
          </p:cNvPr>
          <p:cNvSpPr>
            <a:spLocks noGrp="1"/>
          </p:cNvSpPr>
          <p:nvPr>
            <p:ph type="sldNum" sz="quarter" idx="5"/>
          </p:nvPr>
        </p:nvSpPr>
        <p:spPr/>
        <p:txBody>
          <a:bodyPr/>
          <a:lstStyle/>
          <a:p>
            <a:fld id="{EB2EFB1C-732E-4CA1-898B-45FF31B7AD38}" type="slidenum">
              <a:rPr lang="en-NL" smtClean="0"/>
              <a:t>11</a:t>
            </a:fld>
            <a:endParaRPr lang="en-NL"/>
          </a:p>
        </p:txBody>
      </p:sp>
    </p:spTree>
    <p:extLst>
      <p:ext uri="{BB962C8B-B14F-4D97-AF65-F5344CB8AC3E}">
        <p14:creationId xmlns:p14="http://schemas.microsoft.com/office/powerpoint/2010/main" val="952604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D1D01-A9DD-6725-C9F8-CC2835586333}"/>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C59BF4EA-558F-C5B3-2FA6-14E952E7748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183510E-D435-7403-7BC7-E9ACE9233633}"/>
              </a:ext>
            </a:extLst>
          </p:cNvPr>
          <p:cNvSpPr>
            <a:spLocks noGrp="1"/>
          </p:cNvSpPr>
          <p:nvPr>
            <p:ph type="body" idx="1"/>
          </p:nvPr>
        </p:nvSpPr>
        <p:spPr/>
        <p:txBody>
          <a:bodyPr/>
          <a:lstStyle/>
          <a:p>
            <a:r>
              <a:rPr lang="nl-NL" sz="1200" kern="1200">
                <a:solidFill>
                  <a:schemeClr val="tx1"/>
                </a:solidFill>
                <a:effectLst/>
                <a:latin typeface="+mn-lt"/>
                <a:ea typeface="+mn-ea"/>
                <a:cs typeface="+mn-cs"/>
              </a:rPr>
              <a:t>Let op hierbij vertellen dat het een optel som is van … dingen die goedkoper waren, dingen die nagenoeg gelijk bleven en dingen die soms aanzienlijk duurder waren.</a:t>
            </a:r>
            <a:endParaRPr lang="nl-NL"/>
          </a:p>
        </p:txBody>
      </p:sp>
      <p:sp>
        <p:nvSpPr>
          <p:cNvPr id="4" name="Tijdelijke aanduiding voor dianummer 3">
            <a:extLst>
              <a:ext uri="{FF2B5EF4-FFF2-40B4-BE49-F238E27FC236}">
                <a16:creationId xmlns:a16="http://schemas.microsoft.com/office/drawing/2014/main" id="{5151156B-B73F-DC23-C84C-8BABD559E51C}"/>
              </a:ext>
            </a:extLst>
          </p:cNvPr>
          <p:cNvSpPr>
            <a:spLocks noGrp="1"/>
          </p:cNvSpPr>
          <p:nvPr>
            <p:ph type="sldNum" sz="quarter" idx="5"/>
          </p:nvPr>
        </p:nvSpPr>
        <p:spPr/>
        <p:txBody>
          <a:bodyPr/>
          <a:lstStyle/>
          <a:p>
            <a:fld id="{EB2EFB1C-732E-4CA1-898B-45FF31B7AD38}" type="slidenum">
              <a:rPr lang="en-NL" smtClean="0"/>
              <a:t>14</a:t>
            </a:fld>
            <a:endParaRPr lang="en-NL"/>
          </a:p>
        </p:txBody>
      </p:sp>
    </p:spTree>
    <p:extLst>
      <p:ext uri="{BB962C8B-B14F-4D97-AF65-F5344CB8AC3E}">
        <p14:creationId xmlns:p14="http://schemas.microsoft.com/office/powerpoint/2010/main" val="14971914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2E09C-E419-36FE-8711-99A3532433C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188FF2F-069E-54AE-069F-ED7EA8E011C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DF18C49-87F1-05CF-82C7-8328FF9AC67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Resultaat laten zien (kantelpunten projecten). </a:t>
            </a:r>
          </a:p>
          <a:p>
            <a:endParaRPr lang="nl-NL"/>
          </a:p>
        </p:txBody>
      </p:sp>
      <p:sp>
        <p:nvSpPr>
          <p:cNvPr id="4" name="Tijdelijke aanduiding voor dianummer 3">
            <a:extLst>
              <a:ext uri="{FF2B5EF4-FFF2-40B4-BE49-F238E27FC236}">
                <a16:creationId xmlns:a16="http://schemas.microsoft.com/office/drawing/2014/main" id="{5E9F048D-C642-C6F7-3C31-C9C229A192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EFB1C-732E-4CA1-898B-45FF31B7AD38}"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67306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Als je vanaf begin optimaliseer .. Project + goedkoper + hogere reductie</a:t>
            </a:r>
          </a:p>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EFB1C-732E-4CA1-898B-45FF31B7AD38}"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61549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Flippen. Achteraf kijk je n koe in de kont.</a:t>
            </a:r>
          </a:p>
          <a:p>
            <a:r>
              <a:rPr lang="nl-NL"/>
              <a:t>Potentie zit in de voorkant.</a:t>
            </a:r>
          </a:p>
          <a:p>
            <a:endParaRPr lang="nl-NL"/>
          </a:p>
          <a:p>
            <a:r>
              <a:rPr lang="nl-NL"/>
              <a:t>Visueel sterk, begrijpelijk</a:t>
            </a:r>
          </a:p>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EFB1C-732E-4CA1-898B-45FF31B7AD38}"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48056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A1FB6-D22E-FD7F-7587-673622B96CC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D6030CC-8557-84E3-3159-E2FAAEF2544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D7400E56-D6B8-F674-581E-56A5BEC7452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Veranker circulair renoveren (meer) in beleid. Maak circulair renoveren onderdeel van toekomstige plannen (bijvoorbeeld voor artikel 3 van EPBD IV - National Building Renovatie Plan die nu uitgewerkt gaat wor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 </a:t>
            </a:r>
          </a:p>
        </p:txBody>
      </p:sp>
      <p:sp>
        <p:nvSpPr>
          <p:cNvPr id="4" name="Tijdelijke aanduiding voor dianummer 3">
            <a:extLst>
              <a:ext uri="{FF2B5EF4-FFF2-40B4-BE49-F238E27FC236}">
                <a16:creationId xmlns:a16="http://schemas.microsoft.com/office/drawing/2014/main" id="{A9FA7C0D-7AC0-0C33-234B-2CA6B49E7DA2}"/>
              </a:ext>
            </a:extLst>
          </p:cNvPr>
          <p:cNvSpPr>
            <a:spLocks noGrp="1"/>
          </p:cNvSpPr>
          <p:nvPr>
            <p:ph type="sldNum" sz="quarter" idx="5"/>
          </p:nvPr>
        </p:nvSpPr>
        <p:spPr/>
        <p:txBody>
          <a:bodyPr/>
          <a:lstStyle/>
          <a:p>
            <a:fld id="{EB2EFB1C-732E-4CA1-898B-45FF31B7AD38}" type="slidenum">
              <a:rPr lang="en-NL" smtClean="0"/>
              <a:t>19</a:t>
            </a:fld>
            <a:endParaRPr lang="en-NL"/>
          </a:p>
        </p:txBody>
      </p:sp>
    </p:spTree>
    <p:extLst>
      <p:ext uri="{BB962C8B-B14F-4D97-AF65-F5344CB8AC3E}">
        <p14:creationId xmlns:p14="http://schemas.microsoft.com/office/powerpoint/2010/main" val="1376892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7F9D9-D4B1-924D-B595-A75DB2F7B31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F827B53-879B-3E5A-78A5-7DD4EA2C8878}"/>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A2C21AC-4ED5-B699-B80B-C8CAD0AC68B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CONFRONTATIE </a:t>
            </a:r>
          </a:p>
          <a:p>
            <a:r>
              <a:rPr lang="nl-NL"/>
              <a:t>Ronde tafel inbreng? </a:t>
            </a:r>
          </a:p>
          <a:p>
            <a:r>
              <a:rPr lang="nl-NL"/>
              <a:t>Zijn er nog andere risico’s?</a:t>
            </a:r>
          </a:p>
        </p:txBody>
      </p:sp>
      <p:sp>
        <p:nvSpPr>
          <p:cNvPr id="4" name="Tijdelijke aanduiding voor dianummer 3">
            <a:extLst>
              <a:ext uri="{FF2B5EF4-FFF2-40B4-BE49-F238E27FC236}">
                <a16:creationId xmlns:a16="http://schemas.microsoft.com/office/drawing/2014/main" id="{3CF39BFF-DA13-1DDB-1DCB-E7C90855993F}"/>
              </a:ext>
            </a:extLst>
          </p:cNvPr>
          <p:cNvSpPr>
            <a:spLocks noGrp="1"/>
          </p:cNvSpPr>
          <p:nvPr>
            <p:ph type="sldNum" sz="quarter" idx="5"/>
          </p:nvPr>
        </p:nvSpPr>
        <p:spPr/>
        <p:txBody>
          <a:bodyPr/>
          <a:lstStyle/>
          <a:p>
            <a:fld id="{EB2EFB1C-732E-4CA1-898B-45FF31B7AD38}" type="slidenum">
              <a:rPr lang="en-NL" smtClean="0"/>
              <a:t>20</a:t>
            </a:fld>
            <a:endParaRPr lang="en-NL"/>
          </a:p>
        </p:txBody>
      </p:sp>
    </p:spTree>
    <p:extLst>
      <p:ext uri="{BB962C8B-B14F-4D97-AF65-F5344CB8AC3E}">
        <p14:creationId xmlns:p14="http://schemas.microsoft.com/office/powerpoint/2010/main" val="2790445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Arial" panose="020B0604020202020204" pitchFamily="34" charset="0"/>
              <a:buNone/>
            </a:pPr>
            <a:r>
              <a:rPr lang="nl-NL" b="1" dirty="0"/>
              <a:t>Wat is een ROM?</a:t>
            </a:r>
          </a:p>
          <a:p>
            <a:pPr marL="0" indent="0">
              <a:buFont typeface="Arial" panose="020B0604020202020204" pitchFamily="34" charset="0"/>
              <a:buNone/>
            </a:pPr>
            <a:r>
              <a:rPr lang="nl-NL" dirty="0"/>
              <a:t>Regionale </a:t>
            </a:r>
            <a:r>
              <a:rPr lang="nl-NL" dirty="0" err="1"/>
              <a:t>Ontwikkelings</a:t>
            </a:r>
            <a:r>
              <a:rPr lang="nl-NL" dirty="0"/>
              <a:t> Maatschappij</a:t>
            </a:r>
          </a:p>
          <a:p>
            <a:pPr marL="171450" lvl="0" indent="-171450">
              <a:buFont typeface="Arial" panose="020B0604020202020204" pitchFamily="34" charset="0"/>
              <a:buChar char="•"/>
            </a:pPr>
            <a:r>
              <a:rPr lang="nl-NL" dirty="0"/>
              <a:t>Is een onderneming met publieke aandeelhouders</a:t>
            </a:r>
          </a:p>
          <a:p>
            <a:pPr marL="171450" lvl="0" indent="-171450">
              <a:buFont typeface="Arial" panose="020B0604020202020204" pitchFamily="34" charset="0"/>
              <a:buChar char="•"/>
            </a:pPr>
            <a:r>
              <a:rPr lang="nl-NL" dirty="0"/>
              <a:t>Gericht op het versterken van de economie en werkgelegenheid in een regio.</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EACE6-638E-47C0-861B-7A750707C336}" type="slidenum">
              <a:rPr kumimoji="0" lang="nl-NL" sz="1000" b="0" i="0" u="none" strike="noStrike" kern="1200" cap="none" spc="0" normalizeH="0" baseline="0" noProof="0" smtClean="0">
                <a:ln>
                  <a:noFill/>
                </a:ln>
                <a:solidFill>
                  <a:prstClr val="black"/>
                </a:solidFill>
                <a:effectLst/>
                <a:uLnTx/>
                <a:uFillTx/>
                <a:latin typeface="Syn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000" b="0" i="0" u="none" strike="noStrike" kern="1200" cap="none" spc="0" normalizeH="0" baseline="0" noProof="0" dirty="0">
              <a:ln>
                <a:noFill/>
              </a:ln>
              <a:solidFill>
                <a:prstClr val="black"/>
              </a:solidFill>
              <a:effectLst/>
              <a:uLnTx/>
              <a:uFillTx/>
              <a:latin typeface="Syne"/>
              <a:ea typeface="+mn-ea"/>
              <a:cs typeface="+mn-cs"/>
            </a:endParaRPr>
          </a:p>
        </p:txBody>
      </p:sp>
    </p:spTree>
    <p:extLst>
      <p:ext uri="{BB962C8B-B14F-4D97-AF65-F5344CB8AC3E}">
        <p14:creationId xmlns:p14="http://schemas.microsoft.com/office/powerpoint/2010/main" val="1465976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20754-A616-3286-623B-D9FB89148B3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8926400-CB01-EB2E-4DD3-ABE0E3F861F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880DB4B-4F41-3888-6C84-27C35B6663E0}"/>
              </a:ext>
            </a:extLst>
          </p:cNvPr>
          <p:cNvSpPr>
            <a:spLocks noGrp="1"/>
          </p:cNvSpPr>
          <p:nvPr>
            <p:ph type="body" idx="1"/>
          </p:nvPr>
        </p:nvSpPr>
        <p:spPr/>
        <p:txBody>
          <a:bodyPr/>
          <a:lstStyle/>
          <a:p>
            <a:r>
              <a:rPr lang="nl-NL"/>
              <a:t>Na ondertekening aanvullen: </a:t>
            </a:r>
            <a:r>
              <a:rPr lang="nl-NL" err="1"/>
              <a:t>DuSpot</a:t>
            </a:r>
            <a:r>
              <a:rPr lang="nl-NL"/>
              <a:t>, CollaborAll</a:t>
            </a:r>
          </a:p>
        </p:txBody>
      </p:sp>
      <p:sp>
        <p:nvSpPr>
          <p:cNvPr id="4" name="Tijdelijke aanduiding voor dianummer 3">
            <a:extLst>
              <a:ext uri="{FF2B5EF4-FFF2-40B4-BE49-F238E27FC236}">
                <a16:creationId xmlns:a16="http://schemas.microsoft.com/office/drawing/2014/main" id="{0E100D12-04EA-0D83-614A-9238217B79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7ADCBA-4038-3D4A-B3A9-0EF98786CC59}" type="slidenum">
              <a:rPr kumimoji="0" lang="en-NL" sz="1000" b="0" i="0" u="none" strike="noStrike" kern="1200" cap="none" spc="0" normalizeH="0" baseline="0" noProof="0" smtClean="0">
                <a:ln>
                  <a:noFill/>
                </a:ln>
                <a:solidFill>
                  <a:prstClr val="black"/>
                </a:solidFill>
                <a:effectLst/>
                <a:uLnTx/>
                <a:uFillTx/>
                <a:latin typeface="Syn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NL" sz="1000" b="0" i="0" u="none" strike="noStrike" kern="1200" cap="none" spc="0" normalizeH="0" baseline="0" noProof="0">
              <a:ln>
                <a:noFill/>
              </a:ln>
              <a:solidFill>
                <a:prstClr val="black"/>
              </a:solidFill>
              <a:effectLst/>
              <a:uLnTx/>
              <a:uFillTx/>
              <a:latin typeface="Syne"/>
              <a:ea typeface="+mn-ea"/>
              <a:cs typeface="+mn-cs"/>
            </a:endParaRPr>
          </a:p>
        </p:txBody>
      </p:sp>
    </p:spTree>
    <p:extLst>
      <p:ext uri="{BB962C8B-B14F-4D97-AF65-F5344CB8AC3E}">
        <p14:creationId xmlns:p14="http://schemas.microsoft.com/office/powerpoint/2010/main" val="561723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De nieuwbouwopgave is groot, namelijk 700.000 woningen tussen 2023-2030. Wellicht in de vorm van 10 nieuwe steden…</a:t>
            </a:r>
          </a:p>
          <a:p>
            <a:r>
              <a:rPr lang="nl-NL" dirty="0"/>
              <a:t>Er zijn echter al heel veel steden en deze bestaande bouw is toe aan een ‘upgrade’. In de </a:t>
            </a:r>
            <a:r>
              <a:rPr lang="nl-NL" dirty="0" err="1"/>
              <a:t>verkieziningen</a:t>
            </a:r>
            <a:r>
              <a:rPr lang="nl-NL" dirty="0"/>
              <a:t> was dit geen terugkerend thema, maar wel onderdeel van alle verkiezingsprogramma’s. </a:t>
            </a:r>
          </a:p>
          <a:p>
            <a:r>
              <a:rPr lang="nl-NL" dirty="0"/>
              <a:t>De renovatieopgave volgens de overheid is tussen 2023-2030 2,5 miljoen.</a:t>
            </a:r>
          </a:p>
          <a:p>
            <a:r>
              <a:rPr lang="nl-NL" dirty="0"/>
              <a:t>De renovaties zijn noodzakelijk om de energiebehoefte van de woningvoorraad te laten dalen, in lijn met internationale afspraken en om zoveel als mogelijk klimaatopwarming te verminderen of voorkomen. </a:t>
            </a:r>
          </a:p>
          <a:p>
            <a:endParaRPr lang="nl-NL" dirty="0"/>
          </a:p>
        </p:txBody>
      </p:sp>
      <p:sp>
        <p:nvSpPr>
          <p:cNvPr id="4" name="Tijdelijke aanduiding voor dianummer 3"/>
          <p:cNvSpPr>
            <a:spLocks noGrp="1"/>
          </p:cNvSpPr>
          <p:nvPr>
            <p:ph type="sldNum" sz="quarter" idx="5"/>
          </p:nvPr>
        </p:nvSpPr>
        <p:spPr/>
        <p:txBody>
          <a:bodyPr/>
          <a:lstStyle/>
          <a:p>
            <a:fld id="{EB2EFB1C-732E-4CA1-898B-45FF31B7AD38}" type="slidenum">
              <a:rPr lang="en-NL" smtClean="0"/>
              <a:t>4</a:t>
            </a:fld>
            <a:endParaRPr lang="en-NL"/>
          </a:p>
        </p:txBody>
      </p:sp>
    </p:spTree>
    <p:extLst>
      <p:ext uri="{BB962C8B-B14F-4D97-AF65-F5344CB8AC3E}">
        <p14:creationId xmlns:p14="http://schemas.microsoft.com/office/powerpoint/2010/main" val="1893785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A8BE9-0595-52D7-B81E-F27CE7E716F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6782F186-397A-9799-1DB3-EE0A46050268}"/>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5FFB7903-D698-A4C1-A94B-4C9DB5320B53}"/>
              </a:ext>
            </a:extLst>
          </p:cNvPr>
          <p:cNvSpPr>
            <a:spLocks noGrp="1"/>
          </p:cNvSpPr>
          <p:nvPr>
            <p:ph type="body" idx="1"/>
          </p:nvPr>
        </p:nvSpPr>
        <p:spPr/>
        <p:txBody>
          <a:bodyPr/>
          <a:lstStyle/>
          <a:p>
            <a:r>
              <a:rPr lang="nl-NL" dirty="0"/>
              <a:t>Daarna zijn we nog niet klaar!</a:t>
            </a:r>
          </a:p>
        </p:txBody>
      </p:sp>
      <p:sp>
        <p:nvSpPr>
          <p:cNvPr id="4" name="Tijdelijke aanduiding voor dianummer 3">
            <a:extLst>
              <a:ext uri="{FF2B5EF4-FFF2-40B4-BE49-F238E27FC236}">
                <a16:creationId xmlns:a16="http://schemas.microsoft.com/office/drawing/2014/main" id="{EA337492-6048-6668-2AE8-5F268490AA33}"/>
              </a:ext>
            </a:extLst>
          </p:cNvPr>
          <p:cNvSpPr>
            <a:spLocks noGrp="1"/>
          </p:cNvSpPr>
          <p:nvPr>
            <p:ph type="sldNum" sz="quarter" idx="5"/>
          </p:nvPr>
        </p:nvSpPr>
        <p:spPr/>
        <p:txBody>
          <a:bodyPr/>
          <a:lstStyle/>
          <a:p>
            <a:fld id="{EB2EFB1C-732E-4CA1-898B-45FF31B7AD38}" type="slidenum">
              <a:rPr lang="en-NL" smtClean="0"/>
              <a:t>5</a:t>
            </a:fld>
            <a:endParaRPr lang="en-NL"/>
          </a:p>
        </p:txBody>
      </p:sp>
    </p:spTree>
    <p:extLst>
      <p:ext uri="{BB962C8B-B14F-4D97-AF65-F5344CB8AC3E}">
        <p14:creationId xmlns:p14="http://schemas.microsoft.com/office/powerpoint/2010/main" val="1220800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De materialenimpact van renovaties is daardoor enorm veel groter dan de impact van de nieuwbouw van woningen. </a:t>
            </a:r>
          </a:p>
          <a:p>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Door een iets dalende bevolkingsgroei, het “</a:t>
            </a:r>
            <a:r>
              <a:rPr lang="nl-NL" dirty="0" err="1"/>
              <a:t>uitfaseren</a:t>
            </a:r>
            <a:r>
              <a:rPr lang="nl-NL" dirty="0"/>
              <a:t>” van baby </a:t>
            </a:r>
            <a:r>
              <a:rPr lang="nl-NL" dirty="0" err="1"/>
              <a:t>boomers</a:t>
            </a:r>
            <a:r>
              <a:rPr lang="nl-NL" dirty="0"/>
              <a:t> en andere factoren, dalen volgens het CBS jaarlijkse toenames in het aantal huishoudens en dus ook het aantal nieuwbouwwoningen. Renovaties daarentegen zijn nog steeds noodzakelijk vanwege het </a:t>
            </a:r>
            <a:r>
              <a:rPr lang="nl-NL" dirty="0" err="1"/>
              <a:t>afbouwpad</a:t>
            </a:r>
            <a:r>
              <a:rPr lang="nl-NL" dirty="0"/>
              <a:t> naar netto-nul woningen, waardoor eerder gerenoveerde woningen tot 2050 waarschijnlijk nogmaals gerenoveerd moeten wor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Traditioneel wordt er gebruik gemaakt van veel materialen op basis van fossiele brandstoffen of olie, denk aan PIR-platen. Of op basis van kritieke metalen zoals alle nodige klimaatinstallaties, zoals warmtepompen, zonnepanelen en benodigde elektrificatie. Of materialen waarbij hoge temperaturen nodig zijn zoals glas- of steenwol of glas. </a:t>
            </a:r>
          </a:p>
          <a:p>
            <a:endParaRPr lang="nl-NL" dirty="0"/>
          </a:p>
          <a:p>
            <a:r>
              <a:rPr lang="nl-NL" dirty="0"/>
              <a:t>Deze materialen leiden tot enorme transitierisico’s en vatbaarheid voor beleid. </a:t>
            </a:r>
          </a:p>
          <a:p>
            <a:endParaRPr lang="nl-NL" dirty="0"/>
          </a:p>
        </p:txBody>
      </p:sp>
      <p:sp>
        <p:nvSpPr>
          <p:cNvPr id="4" name="Tijdelijke aanduiding voor dianummer 3"/>
          <p:cNvSpPr>
            <a:spLocks noGrp="1"/>
          </p:cNvSpPr>
          <p:nvPr>
            <p:ph type="sldNum" sz="quarter" idx="5"/>
          </p:nvPr>
        </p:nvSpPr>
        <p:spPr/>
        <p:txBody>
          <a:bodyPr/>
          <a:lstStyle/>
          <a:p>
            <a:fld id="{EB2EFB1C-732E-4CA1-898B-45FF31B7AD38}" type="slidenum">
              <a:rPr lang="en-NL" smtClean="0"/>
              <a:t>6</a:t>
            </a:fld>
            <a:endParaRPr lang="en-NL"/>
          </a:p>
        </p:txBody>
      </p:sp>
    </p:spTree>
    <p:extLst>
      <p:ext uri="{BB962C8B-B14F-4D97-AF65-F5344CB8AC3E}">
        <p14:creationId xmlns:p14="http://schemas.microsoft.com/office/powerpoint/2010/main" val="1473045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CONFRONTATIE </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EFB1C-732E-4CA1-898B-45FF31B7AD38}"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6787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8A2AD-4E5B-19A9-C7BE-6CDA864EB7A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16422AE-4F41-1959-A4BE-32D66C6A678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9873BA1-DDFA-709E-F5D1-9964248A64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Prijzen kunnen stijgen door Europees beleid, rechterlijke uitspraken of directe of indirecte CO2-heffing.</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Er kunnen leveringsrisico’s ontstaan, vooral bij afhankelijkheden van kritieke aardmetalen.</a:t>
            </a:r>
          </a:p>
          <a:p>
            <a:endParaRPr lang="nl-NL" dirty="0"/>
          </a:p>
        </p:txBody>
      </p:sp>
      <p:sp>
        <p:nvSpPr>
          <p:cNvPr id="4" name="Tijdelijke aanduiding voor dianummer 3">
            <a:extLst>
              <a:ext uri="{FF2B5EF4-FFF2-40B4-BE49-F238E27FC236}">
                <a16:creationId xmlns:a16="http://schemas.microsoft.com/office/drawing/2014/main" id="{C224543A-0C80-2541-06E0-22E839B248BB}"/>
              </a:ext>
            </a:extLst>
          </p:cNvPr>
          <p:cNvSpPr>
            <a:spLocks noGrp="1"/>
          </p:cNvSpPr>
          <p:nvPr>
            <p:ph type="sldNum" sz="quarter" idx="5"/>
          </p:nvPr>
        </p:nvSpPr>
        <p:spPr/>
        <p:txBody>
          <a:bodyPr/>
          <a:lstStyle/>
          <a:p>
            <a:fld id="{EB2EFB1C-732E-4CA1-898B-45FF31B7AD38}" type="slidenum">
              <a:rPr lang="en-NL" smtClean="0"/>
              <a:t>8</a:t>
            </a:fld>
            <a:endParaRPr lang="en-NL"/>
          </a:p>
        </p:txBody>
      </p:sp>
    </p:spTree>
    <p:extLst>
      <p:ext uri="{BB962C8B-B14F-4D97-AF65-F5344CB8AC3E}">
        <p14:creationId xmlns:p14="http://schemas.microsoft.com/office/powerpoint/2010/main" val="4280362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115DC-131F-CA25-A6B1-ED56E1AA86E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4F9D14A-27D2-88BE-F2A5-D4D1491E083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E5ED3C59-3E14-4918-A598-8A52B11484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Gelukkig is er een manier om deze risico’s te mitigeren, namelijk circulair renoveren. Renoveren met hergebruikte, lokale en biobased materialen die veel minder CO2-uitstoot hebben. </a:t>
            </a:r>
          </a:p>
          <a:p>
            <a:r>
              <a:rPr lang="nl-NL" dirty="0"/>
              <a:t>Daardoor ben je minder vatbaar voor beleidsveranderingen gericht op afbouw van fossiele brandstoffen en CO2-uitstoot. </a:t>
            </a:r>
          </a:p>
          <a:p>
            <a:r>
              <a:rPr lang="nl-NL" dirty="0"/>
              <a:t>Ook leveringsrisico’s zijn er minder doordat materialen en producten lokaal worden hergebruikt. </a:t>
            </a:r>
          </a:p>
          <a:p>
            <a:r>
              <a:rPr lang="nl-NL" dirty="0"/>
              <a:t>Dit leidt weer tot minder instabiele prijzen én daarbovenop komt nog minder CO2-heffingen en </a:t>
            </a:r>
            <a:r>
              <a:rPr lang="nl-NL" dirty="0" err="1"/>
              <a:t>beprijzingen</a:t>
            </a:r>
            <a:r>
              <a:rPr lang="nl-NL" dirty="0"/>
              <a:t>. </a:t>
            </a:r>
          </a:p>
          <a:p>
            <a:r>
              <a:rPr lang="nl-NL" dirty="0"/>
              <a:t>Dit leidt op zijn beurt tot goedkopere huisvesting en dan </a:t>
            </a:r>
            <a:r>
              <a:rPr lang="nl-NL" dirty="0" err="1"/>
              <a:t>ooknog</a:t>
            </a:r>
            <a:r>
              <a:rPr lang="nl-NL" dirty="0"/>
              <a:t> met gezonde natuurlijke materialen voor bewon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Tijdelijke aanduiding voor dianummer 3">
            <a:extLst>
              <a:ext uri="{FF2B5EF4-FFF2-40B4-BE49-F238E27FC236}">
                <a16:creationId xmlns:a16="http://schemas.microsoft.com/office/drawing/2014/main" id="{025ED8BF-1711-BA00-8083-3012980B0C72}"/>
              </a:ext>
            </a:extLst>
          </p:cNvPr>
          <p:cNvSpPr>
            <a:spLocks noGrp="1"/>
          </p:cNvSpPr>
          <p:nvPr>
            <p:ph type="sldNum" sz="quarter" idx="5"/>
          </p:nvPr>
        </p:nvSpPr>
        <p:spPr/>
        <p:txBody>
          <a:bodyPr/>
          <a:lstStyle/>
          <a:p>
            <a:fld id="{EB2EFB1C-732E-4CA1-898B-45FF31B7AD38}" type="slidenum">
              <a:rPr lang="en-NL" smtClean="0"/>
              <a:t>9</a:t>
            </a:fld>
            <a:endParaRPr lang="en-NL"/>
          </a:p>
        </p:txBody>
      </p:sp>
    </p:spTree>
    <p:extLst>
      <p:ext uri="{BB962C8B-B14F-4D97-AF65-F5344CB8AC3E}">
        <p14:creationId xmlns:p14="http://schemas.microsoft.com/office/powerpoint/2010/main" val="3887754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9.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5" Type="http://schemas.openxmlformats.org/officeDocument/2006/relationships/image" Target="../media/image18.png"/><Relationship Id="rId4" Type="http://schemas.openxmlformats.org/officeDocument/2006/relationships/image" Target="../media/image19.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23.svg"/><Relationship Id="rId4" Type="http://schemas.openxmlformats.org/officeDocument/2006/relationships/image" Target="../media/image2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29.png"/><Relationship Id="rId4" Type="http://schemas.openxmlformats.org/officeDocument/2006/relationships/image" Target="../media/image9.sv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9.svg"/><Relationship Id="rId7" Type="http://schemas.openxmlformats.org/officeDocument/2006/relationships/image" Target="../media/image35.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emf"/><Relationship Id="rId7" Type="http://schemas.openxmlformats.org/officeDocument/2006/relationships/image" Target="../media/image44.svg"/><Relationship Id="rId12" Type="http://schemas.openxmlformats.org/officeDocument/2006/relationships/image" Target="../media/image48.png"/><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42.png"/><Relationship Id="rId10" Type="http://schemas.openxmlformats.org/officeDocument/2006/relationships/hyperlink" Target="https://fonts.google.com/" TargetMode="External"/><Relationship Id="rId4" Type="http://schemas.openxmlformats.org/officeDocument/2006/relationships/image" Target="../media/image41.png"/><Relationship Id="rId9" Type="http://schemas.openxmlformats.org/officeDocument/2006/relationships/image" Target="../media/image4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0.svg"/><Relationship Id="rId7" Type="http://schemas.openxmlformats.org/officeDocument/2006/relationships/image" Target="../media/image49.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51.svg"/><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xml"/><Relationship Id="rId5" Type="http://schemas.openxmlformats.org/officeDocument/2006/relationships/image" Target="../media/image18.png"/><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23.svg"/><Relationship Id="rId4" Type="http://schemas.openxmlformats.org/officeDocument/2006/relationships/image" Target="../media/image2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49.svg"/><Relationship Id="rId4" Type="http://schemas.openxmlformats.org/officeDocument/2006/relationships/image" Target="../media/image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8.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49.sv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 Id="rId5" Type="http://schemas.openxmlformats.org/officeDocument/2006/relationships/image" Target="../media/image49.svg"/><Relationship Id="rId4" Type="http://schemas.openxmlformats.org/officeDocument/2006/relationships/image" Target="../media/image8.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49.svg"/><Relationship Id="rId7" Type="http://schemas.openxmlformats.org/officeDocument/2006/relationships/image" Target="../media/image52.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34.png"/><Relationship Id="rId11" Type="http://schemas.openxmlformats.org/officeDocument/2006/relationships/image" Target="../media/image53.svg"/><Relationship Id="rId5" Type="http://schemas.openxmlformats.org/officeDocument/2006/relationships/image" Target="../media/image3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emf"/><Relationship Id="rId7" Type="http://schemas.openxmlformats.org/officeDocument/2006/relationships/image" Target="../media/image44.svg"/><Relationship Id="rId12" Type="http://schemas.openxmlformats.org/officeDocument/2006/relationships/image" Target="../media/image48.png"/><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42.png"/><Relationship Id="rId10" Type="http://schemas.openxmlformats.org/officeDocument/2006/relationships/hyperlink" Target="https://fonts.google.com/" TargetMode="External"/><Relationship Id="rId4" Type="http://schemas.openxmlformats.org/officeDocument/2006/relationships/image" Target="../media/image41.png"/><Relationship Id="rId9" Type="http://schemas.openxmlformats.org/officeDocument/2006/relationships/image" Target="../media/image46.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rgbClr val="00C27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C569A-2DE6-EE48-8BAE-EAAF5313C206}"/>
              </a:ext>
            </a:extLst>
          </p:cNvPr>
          <p:cNvSpPr>
            <a:spLocks noGrp="1"/>
          </p:cNvSpPr>
          <p:nvPr>
            <p:ph type="ctrTitle" hasCustomPrompt="1"/>
          </p:nvPr>
        </p:nvSpPr>
        <p:spPr>
          <a:xfrm>
            <a:off x="1524000" y="1122363"/>
            <a:ext cx="9144000" cy="2387600"/>
          </a:xfrm>
          <a:prstGeom prst="rect">
            <a:avLst/>
          </a:prstGeom>
        </p:spPr>
        <p:txBody>
          <a:bodyPr anchor="b">
            <a:normAutofit/>
          </a:bodyPr>
          <a:lstStyle>
            <a:lvl1pPr algn="ctr">
              <a:defRPr sz="4400">
                <a:solidFill>
                  <a:schemeClr val="bg1"/>
                </a:solidFill>
              </a:defRPr>
            </a:lvl1pPr>
          </a:lstStyle>
          <a:p>
            <a:r>
              <a:rPr lang="en-US" err="1"/>
              <a:t>Titeldia</a:t>
            </a:r>
            <a:r>
              <a:rPr lang="en-US"/>
              <a:t> (max 2 regels)</a:t>
            </a:r>
          </a:p>
        </p:txBody>
      </p:sp>
      <p:sp>
        <p:nvSpPr>
          <p:cNvPr id="3" name="Subtitle 2">
            <a:extLst>
              <a:ext uri="{FF2B5EF4-FFF2-40B4-BE49-F238E27FC236}">
                <a16:creationId xmlns:a16="http://schemas.microsoft.com/office/drawing/2014/main" id="{9A4A8E6B-81D4-CC46-AF30-CCB08B1311E5}"/>
              </a:ext>
            </a:extLst>
          </p:cNvPr>
          <p:cNvSpPr>
            <a:spLocks noGrp="1"/>
          </p:cNvSpPr>
          <p:nvPr>
            <p:ph type="subTitle" idx="1" hasCustomPrompt="1"/>
          </p:nvPr>
        </p:nvSpPr>
        <p:spPr>
          <a:xfrm>
            <a:off x="1524000" y="3602038"/>
            <a:ext cx="9144000" cy="1451399"/>
          </a:xfrm>
          <a:prstGeom prst="rect">
            <a:avLst/>
          </a:prstGeom>
        </p:spPr>
        <p:txBody>
          <a:bodyPr/>
          <a:lstStyle>
            <a:lvl1pPr marL="0" indent="0" algn="ctr">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Ondertitel</a:t>
            </a:r>
            <a:r>
              <a:rPr lang="en-US"/>
              <a:t> (max 1 regel)</a:t>
            </a:r>
          </a:p>
        </p:txBody>
      </p:sp>
      <p:pic>
        <p:nvPicPr>
          <p:cNvPr id="8" name="8.png" descr="8.png">
            <a:extLst>
              <a:ext uri="{FF2B5EF4-FFF2-40B4-BE49-F238E27FC236}">
                <a16:creationId xmlns:a16="http://schemas.microsoft.com/office/drawing/2014/main" id="{856AF668-F2D4-9E43-9E64-27A3CC2F14EE}"/>
              </a:ext>
            </a:extLst>
          </p:cNvPr>
          <p:cNvPicPr>
            <a:picLocks noChangeAspect="1"/>
          </p:cNvPicPr>
          <p:nvPr userDrawn="1"/>
        </p:nvPicPr>
        <p:blipFill>
          <a:blip r:embed="rId2"/>
          <a:stretch>
            <a:fillRect/>
          </a:stretch>
        </p:blipFill>
        <p:spPr>
          <a:xfrm>
            <a:off x="6806604" y="0"/>
            <a:ext cx="5390476" cy="5149888"/>
          </a:xfrm>
          <a:prstGeom prst="rect">
            <a:avLst/>
          </a:prstGeom>
          <a:ln w="12700">
            <a:miter lim="400000"/>
          </a:ln>
        </p:spPr>
      </p:pic>
      <p:sp>
        <p:nvSpPr>
          <p:cNvPr id="7" name="Rectangle">
            <a:extLst>
              <a:ext uri="{FF2B5EF4-FFF2-40B4-BE49-F238E27FC236}">
                <a16:creationId xmlns:a16="http://schemas.microsoft.com/office/drawing/2014/main" id="{D4ECA4D1-A716-8847-9BCB-356C9C8DF1F9}"/>
              </a:ext>
            </a:extLst>
          </p:cNvPr>
          <p:cNvSpPr/>
          <p:nvPr userDrawn="1"/>
        </p:nvSpPr>
        <p:spPr>
          <a:xfrm>
            <a:off x="-5080" y="5120639"/>
            <a:ext cx="12202160" cy="1762285"/>
          </a:xfrm>
          <a:prstGeom prst="rect">
            <a:avLst/>
          </a:prstGeom>
          <a:solidFill>
            <a:srgbClr val="FFFFFF"/>
          </a:solidFill>
          <a:ln w="12700">
            <a:noFill/>
            <a:miter/>
          </a:ln>
        </p:spPr>
        <p:txBody>
          <a:bodyPr lIns="45719" rIns="45719" anchor="ctr"/>
          <a:lstStyle/>
          <a:p>
            <a:endParaRPr/>
          </a:p>
        </p:txBody>
      </p:sp>
      <p:sp>
        <p:nvSpPr>
          <p:cNvPr id="9" name="Line">
            <a:extLst>
              <a:ext uri="{FF2B5EF4-FFF2-40B4-BE49-F238E27FC236}">
                <a16:creationId xmlns:a16="http://schemas.microsoft.com/office/drawing/2014/main" id="{DC0E20B3-3625-DA46-84E3-84A8DEFDD80C}"/>
              </a:ext>
            </a:extLst>
          </p:cNvPr>
          <p:cNvSpPr/>
          <p:nvPr userDrawn="1"/>
        </p:nvSpPr>
        <p:spPr>
          <a:xfrm flipH="1" flipV="1">
            <a:off x="6096000" y="5728763"/>
            <a:ext cx="0" cy="478835"/>
          </a:xfrm>
          <a:prstGeom prst="line">
            <a:avLst/>
          </a:prstGeom>
          <a:ln w="12700">
            <a:solidFill>
              <a:schemeClr val="accent1"/>
            </a:solidFill>
            <a:miter/>
          </a:ln>
        </p:spPr>
        <p:txBody>
          <a:bodyPr lIns="45719" rIns="45719"/>
          <a:lstStyle/>
          <a:p>
            <a:endParaRPr/>
          </a:p>
        </p:txBody>
      </p:sp>
      <p:sp>
        <p:nvSpPr>
          <p:cNvPr id="19" name="Text Placeholder 18">
            <a:extLst>
              <a:ext uri="{FF2B5EF4-FFF2-40B4-BE49-F238E27FC236}">
                <a16:creationId xmlns:a16="http://schemas.microsoft.com/office/drawing/2014/main" id="{01D29A0F-47E8-F641-994E-6D0A720895C9}"/>
              </a:ext>
            </a:extLst>
          </p:cNvPr>
          <p:cNvSpPr>
            <a:spLocks noGrp="1"/>
          </p:cNvSpPr>
          <p:nvPr>
            <p:ph type="body" sz="quarter" idx="10" hasCustomPrompt="1"/>
          </p:nvPr>
        </p:nvSpPr>
        <p:spPr>
          <a:xfrm>
            <a:off x="6191250" y="5729288"/>
            <a:ext cx="2595563" cy="541337"/>
          </a:xfrm>
          <a:prstGeom prst="rect">
            <a:avLst/>
          </a:prstGeom>
        </p:spPr>
        <p:txBody>
          <a:bodyPr>
            <a:noAutofit/>
          </a:bodyPr>
          <a:lstStyle>
            <a:lvl1pPr marL="0" indent="0">
              <a:lnSpc>
                <a:spcPts val="1320"/>
              </a:lnSpc>
              <a:spcAft>
                <a:spcPts val="0"/>
              </a:spcAft>
              <a:buNone/>
              <a:defRPr sz="1600">
                <a:solidFill>
                  <a:schemeClr val="bg2"/>
                </a:solidFill>
              </a:defRPr>
            </a:lvl1pPr>
            <a:lvl2pPr marL="457200" indent="0">
              <a:lnSpc>
                <a:spcPts val="1320"/>
              </a:lnSpc>
              <a:spcAft>
                <a:spcPts val="0"/>
              </a:spcAft>
              <a:buNone/>
              <a:defRPr sz="1600">
                <a:solidFill>
                  <a:schemeClr val="tx2"/>
                </a:solidFill>
              </a:defRPr>
            </a:lvl2pPr>
            <a:lvl3pPr marL="914400" indent="0">
              <a:lnSpc>
                <a:spcPts val="1320"/>
              </a:lnSpc>
              <a:spcAft>
                <a:spcPts val="0"/>
              </a:spcAft>
              <a:buNone/>
              <a:defRPr sz="1600">
                <a:solidFill>
                  <a:schemeClr val="tx2"/>
                </a:solidFill>
              </a:defRPr>
            </a:lvl3pPr>
            <a:lvl4pPr marL="1371600" indent="0">
              <a:lnSpc>
                <a:spcPts val="1320"/>
              </a:lnSpc>
              <a:spcAft>
                <a:spcPts val="0"/>
              </a:spcAft>
              <a:buNone/>
              <a:defRPr sz="1600">
                <a:solidFill>
                  <a:schemeClr val="tx2"/>
                </a:solidFill>
              </a:defRPr>
            </a:lvl4pPr>
            <a:lvl5pPr marL="1828800" indent="0">
              <a:lnSpc>
                <a:spcPts val="1320"/>
              </a:lnSpc>
              <a:spcAft>
                <a:spcPts val="0"/>
              </a:spcAft>
              <a:buNone/>
              <a:defRPr sz="1600">
                <a:solidFill>
                  <a:schemeClr val="tx2"/>
                </a:solidFill>
              </a:defRPr>
            </a:lvl5pPr>
          </a:lstStyle>
          <a:p>
            <a:pPr lvl="0"/>
            <a:r>
              <a:rPr lang="en-US" err="1"/>
              <a:t>Locatie</a:t>
            </a:r>
            <a:endParaRPr lang="en-US"/>
          </a:p>
          <a:p>
            <a:pPr lvl="0"/>
            <a:r>
              <a:rPr lang="en-US"/>
              <a:t>Datum</a:t>
            </a:r>
          </a:p>
        </p:txBody>
      </p:sp>
      <p:pic>
        <p:nvPicPr>
          <p:cNvPr id="4" name="Picture 3">
            <a:extLst>
              <a:ext uri="{FF2B5EF4-FFF2-40B4-BE49-F238E27FC236}">
                <a16:creationId xmlns:a16="http://schemas.microsoft.com/office/drawing/2014/main" id="{9A2B64FF-E24B-E84B-B249-1EA1E1CE5BF1}"/>
              </a:ext>
            </a:extLst>
          </p:cNvPr>
          <p:cNvPicPr>
            <a:picLocks noChangeAspect="1"/>
          </p:cNvPicPr>
          <p:nvPr userDrawn="1"/>
        </p:nvPicPr>
        <p:blipFill>
          <a:blip r:embed="rId3"/>
          <a:stretch>
            <a:fillRect/>
          </a:stretch>
        </p:blipFill>
        <p:spPr>
          <a:xfrm>
            <a:off x="11090820" y="5599610"/>
            <a:ext cx="522786" cy="776023"/>
          </a:xfrm>
          <a:prstGeom prst="rect">
            <a:avLst/>
          </a:prstGeom>
        </p:spPr>
      </p:pic>
      <p:pic>
        <p:nvPicPr>
          <p:cNvPr id="6" name="Afbeelding 5">
            <a:extLst>
              <a:ext uri="{FF2B5EF4-FFF2-40B4-BE49-F238E27FC236}">
                <a16:creationId xmlns:a16="http://schemas.microsoft.com/office/drawing/2014/main" id="{10533E29-C73A-4D6B-A6C2-4B7A8D51D0C4}"/>
              </a:ext>
            </a:extLst>
          </p:cNvPr>
          <p:cNvPicPr>
            <a:picLocks noChangeAspect="1"/>
          </p:cNvPicPr>
          <p:nvPr userDrawn="1"/>
        </p:nvPicPr>
        <p:blipFill>
          <a:blip r:embed="rId4"/>
          <a:stretch>
            <a:fillRect/>
          </a:stretch>
        </p:blipFill>
        <p:spPr>
          <a:xfrm>
            <a:off x="3503571" y="5761168"/>
            <a:ext cx="2376000" cy="477576"/>
          </a:xfrm>
          <a:prstGeom prst="rect">
            <a:avLst/>
          </a:prstGeom>
        </p:spPr>
      </p:pic>
    </p:spTree>
    <p:extLst>
      <p:ext uri="{BB962C8B-B14F-4D97-AF65-F5344CB8AC3E}">
        <p14:creationId xmlns:p14="http://schemas.microsoft.com/office/powerpoint/2010/main" val="14583913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Quote">
    <p:bg>
      <p:bgPr>
        <a:solidFill>
          <a:srgbClr val="00C27C"/>
        </a:solidFill>
        <a:effectLst/>
      </p:bgPr>
    </p:bg>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0276098A-264F-2C61-92F4-0C38885EC771}"/>
              </a:ext>
            </a:extLst>
          </p:cNvPr>
          <p:cNvSpPr/>
          <p:nvPr userDrawn="1"/>
        </p:nvSpPr>
        <p:spPr>
          <a:xfrm>
            <a:off x="3898900" y="5968180"/>
            <a:ext cx="3771900" cy="82820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71CC569A-2DE6-EE48-8BAE-EAAF5313C206}"/>
              </a:ext>
            </a:extLst>
          </p:cNvPr>
          <p:cNvSpPr>
            <a:spLocks noGrp="1"/>
          </p:cNvSpPr>
          <p:nvPr>
            <p:ph type="ctrTitle" hasCustomPrompt="1"/>
          </p:nvPr>
        </p:nvSpPr>
        <p:spPr>
          <a:xfrm>
            <a:off x="1524000" y="2001928"/>
            <a:ext cx="9144000" cy="2387600"/>
          </a:xfrm>
        </p:spPr>
        <p:txBody>
          <a:bodyPr anchor="b">
            <a:normAutofit/>
          </a:bodyPr>
          <a:lstStyle>
            <a:lvl1pPr algn="ctr">
              <a:defRPr sz="3800">
                <a:solidFill>
                  <a:schemeClr val="bg1"/>
                </a:solidFill>
              </a:defRPr>
            </a:lvl1pPr>
          </a:lstStyle>
          <a:p>
            <a:r>
              <a:rPr lang="en-US"/>
              <a:t>“Never doubt that a small group of thoughtful, committed citizens can change the world; indeed, it's the only thing that ever has.”</a:t>
            </a:r>
          </a:p>
        </p:txBody>
      </p:sp>
      <p:sp>
        <p:nvSpPr>
          <p:cNvPr id="3" name="Subtitle 2">
            <a:extLst>
              <a:ext uri="{FF2B5EF4-FFF2-40B4-BE49-F238E27FC236}">
                <a16:creationId xmlns:a16="http://schemas.microsoft.com/office/drawing/2014/main" id="{9A4A8E6B-81D4-CC46-AF30-CCB08B1311E5}"/>
              </a:ext>
            </a:extLst>
          </p:cNvPr>
          <p:cNvSpPr>
            <a:spLocks noGrp="1"/>
          </p:cNvSpPr>
          <p:nvPr>
            <p:ph type="subTitle" idx="1" hasCustomPrompt="1"/>
          </p:nvPr>
        </p:nvSpPr>
        <p:spPr>
          <a:xfrm>
            <a:off x="1524000" y="4481603"/>
            <a:ext cx="9144000" cy="1655762"/>
          </a:xfrm>
        </p:spPr>
        <p:txBody>
          <a:bodyPr/>
          <a:lstStyle>
            <a:lvl1pPr marL="0" indent="0" algn="ct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Quote Author</a:t>
            </a:r>
          </a:p>
        </p:txBody>
      </p:sp>
      <p:pic>
        <p:nvPicPr>
          <p:cNvPr id="8" name="8.png" descr="8.png">
            <a:extLst>
              <a:ext uri="{FF2B5EF4-FFF2-40B4-BE49-F238E27FC236}">
                <a16:creationId xmlns:a16="http://schemas.microsoft.com/office/drawing/2014/main" id="{856AF668-F2D4-9E43-9E64-27A3CC2F14EE}"/>
              </a:ext>
            </a:extLst>
          </p:cNvPr>
          <p:cNvPicPr>
            <a:picLocks noChangeAspect="1"/>
          </p:cNvPicPr>
          <p:nvPr userDrawn="1"/>
        </p:nvPicPr>
        <p:blipFill>
          <a:blip r:embed="rId2"/>
          <a:stretch>
            <a:fillRect/>
          </a:stretch>
        </p:blipFill>
        <p:spPr>
          <a:xfrm>
            <a:off x="6806604" y="0"/>
            <a:ext cx="5390476" cy="5149888"/>
          </a:xfrm>
          <a:prstGeom prst="rect">
            <a:avLst/>
          </a:prstGeom>
          <a:ln w="12700">
            <a:miter lim="400000"/>
          </a:ln>
        </p:spPr>
      </p:pic>
      <p:sp>
        <p:nvSpPr>
          <p:cNvPr id="9" name="Line">
            <a:extLst>
              <a:ext uri="{FF2B5EF4-FFF2-40B4-BE49-F238E27FC236}">
                <a16:creationId xmlns:a16="http://schemas.microsoft.com/office/drawing/2014/main" id="{DC0E20B3-3625-DA46-84E3-84A8DEFDD80C}"/>
              </a:ext>
            </a:extLst>
          </p:cNvPr>
          <p:cNvSpPr/>
          <p:nvPr userDrawn="1"/>
        </p:nvSpPr>
        <p:spPr>
          <a:xfrm flipH="1" flipV="1">
            <a:off x="6096000" y="5728763"/>
            <a:ext cx="0" cy="478835"/>
          </a:xfrm>
          <a:prstGeom prst="line">
            <a:avLst/>
          </a:prstGeom>
          <a:ln w="12700">
            <a:solidFill>
              <a:schemeClr val="accent1"/>
            </a:solidFill>
            <a:miter/>
          </a:ln>
        </p:spPr>
        <p:txBody>
          <a:bodyPr lIns="45719" rIns="45719"/>
          <a:lstStyle/>
          <a:p>
            <a:endParaRPr/>
          </a:p>
        </p:txBody>
      </p:sp>
    </p:spTree>
    <p:extLst>
      <p:ext uri="{BB962C8B-B14F-4D97-AF65-F5344CB8AC3E}">
        <p14:creationId xmlns:p14="http://schemas.microsoft.com/office/powerpoint/2010/main" val="2145439103"/>
      </p:ext>
    </p:extLst>
  </p:cSld>
  <p:clrMapOvr>
    <a:masterClrMapping/>
  </p:clrMapOvr>
  <p:extLst>
    <p:ext uri="{DCECCB84-F9BA-43D5-87BE-67443E8EF086}">
      <p15:sldGuideLst xmlns:p15="http://schemas.microsoft.com/office/powerpoint/2012/main">
        <p15:guide id="2" pos="3840">
          <p15:clr>
            <a:srgbClr val="FBAE40"/>
          </p15:clr>
        </p15:guide>
        <p15:guide id="3" orient="horz" pos="22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bullets and image">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15600"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5" name="Picture 4">
            <a:extLst>
              <a:ext uri="{FF2B5EF4-FFF2-40B4-BE49-F238E27FC236}">
                <a16:creationId xmlns:a16="http://schemas.microsoft.com/office/drawing/2014/main" id="{72FD96E4-D44C-3C48-A1D5-1732CA45C16D}"/>
              </a:ext>
            </a:extLst>
          </p:cNvPr>
          <p:cNvPicPr>
            <a:picLocks noChangeAspect="1"/>
          </p:cNvPicPr>
          <p:nvPr userDrawn="1"/>
        </p:nvPicPr>
        <p:blipFill>
          <a:blip r:embed="rId3"/>
          <a:stretch>
            <a:fillRect/>
          </a:stretch>
        </p:blipFill>
        <p:spPr>
          <a:xfrm>
            <a:off x="9731" y="1739565"/>
            <a:ext cx="12192000" cy="51771"/>
          </a:xfrm>
          <a:prstGeom prst="rect">
            <a:avLst/>
          </a:prstGeom>
        </p:spPr>
      </p:pic>
      <p:sp>
        <p:nvSpPr>
          <p:cNvPr id="6" name="Text Placeholder 5">
            <a:extLst>
              <a:ext uri="{FF2B5EF4-FFF2-40B4-BE49-F238E27FC236}">
                <a16:creationId xmlns:a16="http://schemas.microsoft.com/office/drawing/2014/main" id="{9D821ECE-0FD9-B545-BB4C-99CF33CAE8CD}"/>
              </a:ext>
            </a:extLst>
          </p:cNvPr>
          <p:cNvSpPr>
            <a:spLocks noGrp="1"/>
          </p:cNvSpPr>
          <p:nvPr>
            <p:ph type="body" sz="quarter" idx="12"/>
          </p:nvPr>
        </p:nvSpPr>
        <p:spPr>
          <a:xfrm>
            <a:off x="849600" y="1989138"/>
            <a:ext cx="5067013" cy="4176712"/>
          </a:xfrm>
        </p:spPr>
        <p:txBody>
          <a:bodyPr>
            <a:noAutofit/>
          </a:bodyPr>
          <a:lstStyle>
            <a:lvl1pPr>
              <a:defRPr sz="2000"/>
            </a:lvl1pPr>
            <a:lvl2pPr>
              <a:defRPr sz="2000"/>
            </a:lvl2pPr>
            <a:lvl3pPr>
              <a:defRPr sz="1800"/>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56965652-CC2B-024D-9C49-C3B7B527605B}"/>
              </a:ext>
            </a:extLst>
          </p:cNvPr>
          <p:cNvSpPr>
            <a:spLocks noGrp="1"/>
          </p:cNvSpPr>
          <p:nvPr>
            <p:ph type="pic" sz="quarter" idx="13"/>
          </p:nvPr>
        </p:nvSpPr>
        <p:spPr>
          <a:xfrm>
            <a:off x="6285600" y="1990800"/>
            <a:ext cx="5089812" cy="4176712"/>
          </a:xfrm>
        </p:spPr>
        <p:txBody>
          <a:bodyPr/>
          <a:lstStyle/>
          <a:p>
            <a:endParaRPr lang="en-US"/>
          </a:p>
        </p:txBody>
      </p:sp>
    </p:spTree>
    <p:extLst>
      <p:ext uri="{BB962C8B-B14F-4D97-AF65-F5344CB8AC3E}">
        <p14:creationId xmlns:p14="http://schemas.microsoft.com/office/powerpoint/2010/main" val="13789882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2" name="Picture Placeholder 11">
            <a:extLst>
              <a:ext uri="{FF2B5EF4-FFF2-40B4-BE49-F238E27FC236}">
                <a16:creationId xmlns:a16="http://schemas.microsoft.com/office/drawing/2014/main" id="{80617991-0BF1-A143-82C8-279BD3B92C68}"/>
              </a:ext>
            </a:extLst>
          </p:cNvPr>
          <p:cNvSpPr>
            <a:spLocks noGrp="1"/>
          </p:cNvSpPr>
          <p:nvPr>
            <p:ph type="pic" sz="quarter" idx="10"/>
          </p:nvPr>
        </p:nvSpPr>
        <p:spPr>
          <a:xfrm>
            <a:off x="6285600" y="1990800"/>
            <a:ext cx="5076826" cy="4176713"/>
          </a:xfrm>
        </p:spPr>
        <p:txBody>
          <a:bodyPr/>
          <a:lstStyle/>
          <a:p>
            <a:endParaRPr lang="en-US"/>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04282"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5" name="Picture 4">
            <a:extLst>
              <a:ext uri="{FF2B5EF4-FFF2-40B4-BE49-F238E27FC236}">
                <a16:creationId xmlns:a16="http://schemas.microsoft.com/office/drawing/2014/main" id="{72FD96E4-D44C-3C48-A1D5-1732CA45C16D}"/>
              </a:ext>
            </a:extLst>
          </p:cNvPr>
          <p:cNvPicPr>
            <a:picLocks noChangeAspect="1"/>
          </p:cNvPicPr>
          <p:nvPr userDrawn="1"/>
        </p:nvPicPr>
        <p:blipFill>
          <a:blip r:embed="rId3"/>
          <a:stretch>
            <a:fillRect/>
          </a:stretch>
        </p:blipFill>
        <p:spPr>
          <a:xfrm>
            <a:off x="9731" y="1739565"/>
            <a:ext cx="12192000" cy="51771"/>
          </a:xfrm>
          <a:prstGeom prst="rect">
            <a:avLst/>
          </a:prstGeom>
        </p:spPr>
      </p:pic>
      <p:sp>
        <p:nvSpPr>
          <p:cNvPr id="8" name="Content Placeholder 7">
            <a:extLst>
              <a:ext uri="{FF2B5EF4-FFF2-40B4-BE49-F238E27FC236}">
                <a16:creationId xmlns:a16="http://schemas.microsoft.com/office/drawing/2014/main" id="{D34B1CCE-533D-8B40-B319-3F2CD93C2698}"/>
              </a:ext>
            </a:extLst>
          </p:cNvPr>
          <p:cNvSpPr>
            <a:spLocks noGrp="1"/>
          </p:cNvSpPr>
          <p:nvPr>
            <p:ph sz="quarter" idx="12"/>
          </p:nvPr>
        </p:nvSpPr>
        <p:spPr>
          <a:xfrm>
            <a:off x="849313" y="1990725"/>
            <a:ext cx="5067300" cy="41751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871091"/>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guide id="3" orient="horz" pos="22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bullets and image">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15600"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5" name="Picture 4">
            <a:extLst>
              <a:ext uri="{FF2B5EF4-FFF2-40B4-BE49-F238E27FC236}">
                <a16:creationId xmlns:a16="http://schemas.microsoft.com/office/drawing/2014/main" id="{72FD96E4-D44C-3C48-A1D5-1732CA45C16D}"/>
              </a:ext>
            </a:extLst>
          </p:cNvPr>
          <p:cNvPicPr>
            <a:picLocks noChangeAspect="1"/>
          </p:cNvPicPr>
          <p:nvPr userDrawn="1"/>
        </p:nvPicPr>
        <p:blipFill>
          <a:blip r:embed="rId3"/>
          <a:stretch>
            <a:fillRect/>
          </a:stretch>
        </p:blipFill>
        <p:spPr>
          <a:xfrm>
            <a:off x="9731" y="1739565"/>
            <a:ext cx="12192000" cy="51771"/>
          </a:xfrm>
          <a:prstGeom prst="rect">
            <a:avLst/>
          </a:prstGeom>
        </p:spPr>
      </p:pic>
      <p:sp>
        <p:nvSpPr>
          <p:cNvPr id="6" name="Text Placeholder 5">
            <a:extLst>
              <a:ext uri="{FF2B5EF4-FFF2-40B4-BE49-F238E27FC236}">
                <a16:creationId xmlns:a16="http://schemas.microsoft.com/office/drawing/2014/main" id="{9D821ECE-0FD9-B545-BB4C-99CF33CAE8CD}"/>
              </a:ext>
            </a:extLst>
          </p:cNvPr>
          <p:cNvSpPr>
            <a:spLocks noGrp="1"/>
          </p:cNvSpPr>
          <p:nvPr>
            <p:ph type="body" sz="quarter" idx="12"/>
          </p:nvPr>
        </p:nvSpPr>
        <p:spPr>
          <a:xfrm>
            <a:off x="849600" y="1989138"/>
            <a:ext cx="5067013" cy="4176712"/>
          </a:xfrm>
        </p:spPr>
        <p:txBody>
          <a:bodyPr>
            <a:noAutofit/>
          </a:bodyPr>
          <a:lstStyle>
            <a:lvl1pPr>
              <a:defRPr sz="2000"/>
            </a:lvl1pPr>
            <a:lvl2pPr>
              <a:defRPr sz="2000"/>
            </a:lvl2pPr>
            <a:lvl3pPr>
              <a:defRPr sz="1800"/>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56965652-CC2B-024D-9C49-C3B7B527605B}"/>
              </a:ext>
            </a:extLst>
          </p:cNvPr>
          <p:cNvSpPr>
            <a:spLocks noGrp="1"/>
          </p:cNvSpPr>
          <p:nvPr>
            <p:ph type="pic" sz="quarter" idx="13"/>
          </p:nvPr>
        </p:nvSpPr>
        <p:spPr>
          <a:xfrm>
            <a:off x="6285600" y="1990800"/>
            <a:ext cx="5089812" cy="4176712"/>
          </a:xfrm>
        </p:spPr>
        <p:txBody>
          <a:bodyPr/>
          <a:lstStyle/>
          <a:p>
            <a:endParaRPr lang="en-US"/>
          </a:p>
        </p:txBody>
      </p:sp>
    </p:spTree>
    <p:extLst>
      <p:ext uri="{BB962C8B-B14F-4D97-AF65-F5344CB8AC3E}">
        <p14:creationId xmlns:p14="http://schemas.microsoft.com/office/powerpoint/2010/main" val="13943138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bullets, variable graphic">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15600"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5" name="Picture 4">
            <a:extLst>
              <a:ext uri="{FF2B5EF4-FFF2-40B4-BE49-F238E27FC236}">
                <a16:creationId xmlns:a16="http://schemas.microsoft.com/office/drawing/2014/main" id="{72FD96E4-D44C-3C48-A1D5-1732CA45C16D}"/>
              </a:ext>
            </a:extLst>
          </p:cNvPr>
          <p:cNvPicPr>
            <a:picLocks noChangeAspect="1"/>
          </p:cNvPicPr>
          <p:nvPr userDrawn="1"/>
        </p:nvPicPr>
        <p:blipFill>
          <a:blip r:embed="rId3"/>
          <a:stretch>
            <a:fillRect/>
          </a:stretch>
        </p:blipFill>
        <p:spPr>
          <a:xfrm>
            <a:off x="9731" y="1739565"/>
            <a:ext cx="12192000" cy="51771"/>
          </a:xfrm>
          <a:prstGeom prst="rect">
            <a:avLst/>
          </a:prstGeom>
        </p:spPr>
      </p:pic>
      <p:sp>
        <p:nvSpPr>
          <p:cNvPr id="6" name="Text Placeholder 5">
            <a:extLst>
              <a:ext uri="{FF2B5EF4-FFF2-40B4-BE49-F238E27FC236}">
                <a16:creationId xmlns:a16="http://schemas.microsoft.com/office/drawing/2014/main" id="{9D821ECE-0FD9-B545-BB4C-99CF33CAE8CD}"/>
              </a:ext>
            </a:extLst>
          </p:cNvPr>
          <p:cNvSpPr>
            <a:spLocks noGrp="1"/>
          </p:cNvSpPr>
          <p:nvPr>
            <p:ph type="body" sz="quarter" idx="12"/>
          </p:nvPr>
        </p:nvSpPr>
        <p:spPr>
          <a:xfrm>
            <a:off x="849600" y="1989138"/>
            <a:ext cx="5063857" cy="4176712"/>
          </a:xfrm>
        </p:spPr>
        <p:txBody>
          <a:bodyPr>
            <a:noAutofit/>
          </a:bodyPr>
          <a:lstStyle>
            <a:lvl1pPr>
              <a:defRPr sz="2000"/>
            </a:lvl1pPr>
            <a:lvl2pPr>
              <a:defRPr sz="2000"/>
            </a:lvl2pPr>
            <a:lvl3pPr>
              <a:defRPr sz="1800"/>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ABFA85-D25E-7242-9C66-B2C3F642409F}"/>
              </a:ext>
            </a:extLst>
          </p:cNvPr>
          <p:cNvSpPr>
            <a:spLocks noGrp="1"/>
          </p:cNvSpPr>
          <p:nvPr>
            <p:ph sz="quarter" idx="13"/>
          </p:nvPr>
        </p:nvSpPr>
        <p:spPr>
          <a:xfrm>
            <a:off x="6285600" y="1989138"/>
            <a:ext cx="5075837"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1813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wo bullet boxes">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15600"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5" name="Picture 4">
            <a:extLst>
              <a:ext uri="{FF2B5EF4-FFF2-40B4-BE49-F238E27FC236}">
                <a16:creationId xmlns:a16="http://schemas.microsoft.com/office/drawing/2014/main" id="{72FD96E4-D44C-3C48-A1D5-1732CA45C16D}"/>
              </a:ext>
            </a:extLst>
          </p:cNvPr>
          <p:cNvPicPr>
            <a:picLocks noChangeAspect="1"/>
          </p:cNvPicPr>
          <p:nvPr userDrawn="1"/>
        </p:nvPicPr>
        <p:blipFill>
          <a:blip r:embed="rId3"/>
          <a:stretch>
            <a:fillRect/>
          </a:stretch>
        </p:blipFill>
        <p:spPr>
          <a:xfrm>
            <a:off x="9731" y="1739565"/>
            <a:ext cx="12192000" cy="51771"/>
          </a:xfrm>
          <a:prstGeom prst="rect">
            <a:avLst/>
          </a:prstGeom>
        </p:spPr>
      </p:pic>
      <p:sp>
        <p:nvSpPr>
          <p:cNvPr id="6" name="Text Placeholder 5">
            <a:extLst>
              <a:ext uri="{FF2B5EF4-FFF2-40B4-BE49-F238E27FC236}">
                <a16:creationId xmlns:a16="http://schemas.microsoft.com/office/drawing/2014/main" id="{9D821ECE-0FD9-B545-BB4C-99CF33CAE8CD}"/>
              </a:ext>
            </a:extLst>
          </p:cNvPr>
          <p:cNvSpPr>
            <a:spLocks noGrp="1"/>
          </p:cNvSpPr>
          <p:nvPr>
            <p:ph type="body" sz="quarter" idx="12"/>
          </p:nvPr>
        </p:nvSpPr>
        <p:spPr>
          <a:xfrm>
            <a:off x="849600" y="1989138"/>
            <a:ext cx="5067013" cy="415766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C6EB9BF-80E6-1C4D-8A65-F112432A9F9C}"/>
              </a:ext>
            </a:extLst>
          </p:cNvPr>
          <p:cNvSpPr>
            <a:spLocks noGrp="1"/>
          </p:cNvSpPr>
          <p:nvPr>
            <p:ph type="body" sz="quarter" idx="13"/>
          </p:nvPr>
        </p:nvSpPr>
        <p:spPr>
          <a:xfrm>
            <a:off x="6285600" y="1989138"/>
            <a:ext cx="5089811" cy="417671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8380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2" name="Picture Placeholder 11">
            <a:extLst>
              <a:ext uri="{FF2B5EF4-FFF2-40B4-BE49-F238E27FC236}">
                <a16:creationId xmlns:a16="http://schemas.microsoft.com/office/drawing/2014/main" id="{80617991-0BF1-A143-82C8-279BD3B92C68}"/>
              </a:ext>
            </a:extLst>
          </p:cNvPr>
          <p:cNvSpPr>
            <a:spLocks noGrp="1"/>
          </p:cNvSpPr>
          <p:nvPr>
            <p:ph type="pic" sz="quarter" idx="10"/>
          </p:nvPr>
        </p:nvSpPr>
        <p:spPr>
          <a:xfrm>
            <a:off x="849599" y="1989139"/>
            <a:ext cx="10515601" cy="4176712"/>
          </a:xfrm>
        </p:spPr>
        <p:txBody>
          <a:bodyPr>
            <a:noAutofit/>
          </a:bodyPr>
          <a:lstStyle/>
          <a:p>
            <a:endParaRPr lang="en-US"/>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15600"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10" name="Picture 9">
            <a:extLst>
              <a:ext uri="{FF2B5EF4-FFF2-40B4-BE49-F238E27FC236}">
                <a16:creationId xmlns:a16="http://schemas.microsoft.com/office/drawing/2014/main" id="{E781E5CA-688A-5440-BDFC-3D1B30E1D7EE}"/>
              </a:ext>
            </a:extLst>
          </p:cNvPr>
          <p:cNvPicPr>
            <a:picLocks noChangeAspect="1"/>
          </p:cNvPicPr>
          <p:nvPr userDrawn="1"/>
        </p:nvPicPr>
        <p:blipFill>
          <a:blip r:embed="rId3"/>
          <a:stretch>
            <a:fillRect/>
          </a:stretch>
        </p:blipFill>
        <p:spPr>
          <a:xfrm>
            <a:off x="9731" y="1739565"/>
            <a:ext cx="12192000" cy="51771"/>
          </a:xfrm>
          <a:prstGeom prst="rect">
            <a:avLst/>
          </a:prstGeom>
        </p:spPr>
      </p:pic>
    </p:spTree>
    <p:extLst>
      <p:ext uri="{BB962C8B-B14F-4D97-AF65-F5344CB8AC3E}">
        <p14:creationId xmlns:p14="http://schemas.microsoft.com/office/powerpoint/2010/main" val="932054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ariable content">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userDrawn="1"/>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38800" y="414000"/>
            <a:ext cx="10515600" cy="659829"/>
          </a:xfrm>
        </p:spPr>
        <p:txBody>
          <a:bodyPr>
            <a:normAutofit/>
          </a:bodyPr>
          <a:lstStyle>
            <a:lvl1pPr>
              <a:defRPr sz="3600"/>
            </a:lvl1pPr>
          </a:lstStyle>
          <a:p>
            <a:r>
              <a:rPr lang="en-US"/>
              <a:t>Click to edit Master title style</a:t>
            </a:r>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49600" y="1080000"/>
            <a:ext cx="10515600" cy="431800"/>
          </a:xfrm>
        </p:spPr>
        <p:txBody>
          <a:bodyPr>
            <a:noAutofit/>
          </a:bodyPr>
          <a:lstStyle>
            <a:lvl1pPr marL="0" indent="0">
              <a:buNone/>
              <a:defRPr sz="2400">
                <a:solidFill>
                  <a:srgbClr val="ABB3BB"/>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10" name="Picture 9">
            <a:extLst>
              <a:ext uri="{FF2B5EF4-FFF2-40B4-BE49-F238E27FC236}">
                <a16:creationId xmlns:a16="http://schemas.microsoft.com/office/drawing/2014/main" id="{E781E5CA-688A-5440-BDFC-3D1B30E1D7EE}"/>
              </a:ext>
            </a:extLst>
          </p:cNvPr>
          <p:cNvPicPr>
            <a:picLocks noChangeAspect="1"/>
          </p:cNvPicPr>
          <p:nvPr userDrawn="1"/>
        </p:nvPicPr>
        <p:blipFill>
          <a:blip r:embed="rId3"/>
          <a:stretch>
            <a:fillRect/>
          </a:stretch>
        </p:blipFill>
        <p:spPr>
          <a:xfrm>
            <a:off x="9731" y="1739565"/>
            <a:ext cx="12192000" cy="51771"/>
          </a:xfrm>
          <a:prstGeom prst="rect">
            <a:avLst/>
          </a:prstGeom>
        </p:spPr>
      </p:pic>
      <p:sp>
        <p:nvSpPr>
          <p:cNvPr id="4" name="Content Placeholder 3">
            <a:extLst>
              <a:ext uri="{FF2B5EF4-FFF2-40B4-BE49-F238E27FC236}">
                <a16:creationId xmlns:a16="http://schemas.microsoft.com/office/drawing/2014/main" id="{7964400D-36A8-554F-B2C0-E0CE2557B56B}"/>
              </a:ext>
            </a:extLst>
          </p:cNvPr>
          <p:cNvSpPr>
            <a:spLocks noGrp="1"/>
          </p:cNvSpPr>
          <p:nvPr>
            <p:ph sz="quarter" idx="12"/>
          </p:nvPr>
        </p:nvSpPr>
        <p:spPr>
          <a:xfrm>
            <a:off x="849600" y="1989138"/>
            <a:ext cx="10515600"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86496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oofdstukaanduiding">
    <p:bg>
      <p:bgPr>
        <a:solidFill>
          <a:schemeClr val="accent1"/>
        </a:solidFill>
        <a:effectLst/>
      </p:bgPr>
    </p:bg>
    <p:spTree>
      <p:nvGrpSpPr>
        <p:cNvPr id="1" name=""/>
        <p:cNvGrpSpPr/>
        <p:nvPr/>
      </p:nvGrpSpPr>
      <p:grpSpPr>
        <a:xfrm>
          <a:off x="0" y="0"/>
          <a:ext cx="0" cy="0"/>
          <a:chOff x="0" y="0"/>
          <a:chExt cx="0" cy="0"/>
        </a:xfrm>
      </p:grpSpPr>
      <p:sp>
        <p:nvSpPr>
          <p:cNvPr id="9" name="Line">
            <a:extLst>
              <a:ext uri="{FF2B5EF4-FFF2-40B4-BE49-F238E27FC236}">
                <a16:creationId xmlns:a16="http://schemas.microsoft.com/office/drawing/2014/main" id="{DC0E20B3-3625-DA46-84E3-84A8DEFDD80C}"/>
              </a:ext>
            </a:extLst>
          </p:cNvPr>
          <p:cNvSpPr/>
          <p:nvPr/>
        </p:nvSpPr>
        <p:spPr>
          <a:xfrm flipH="1" flipV="1">
            <a:off x="6096000" y="5728763"/>
            <a:ext cx="0" cy="478835"/>
          </a:xfrm>
          <a:prstGeom prst="line">
            <a:avLst/>
          </a:prstGeom>
          <a:ln w="12700">
            <a:solidFill>
              <a:schemeClr val="accent1"/>
            </a:solidFill>
            <a:miter/>
          </a:ln>
        </p:spPr>
        <p:txBody>
          <a:bodyPr lIns="45719" rIns="45719"/>
          <a:lstStyle/>
          <a:p>
            <a:endParaRPr/>
          </a:p>
        </p:txBody>
      </p:sp>
      <p:sp>
        <p:nvSpPr>
          <p:cNvPr id="7" name="Title 2">
            <a:extLst>
              <a:ext uri="{FF2B5EF4-FFF2-40B4-BE49-F238E27FC236}">
                <a16:creationId xmlns:a16="http://schemas.microsoft.com/office/drawing/2014/main" id="{59D77B75-AF97-8B6A-AE23-D804F34901A9}"/>
              </a:ext>
            </a:extLst>
          </p:cNvPr>
          <p:cNvSpPr>
            <a:spLocks noGrp="1"/>
          </p:cNvSpPr>
          <p:nvPr>
            <p:ph type="ctrTitle"/>
          </p:nvPr>
        </p:nvSpPr>
        <p:spPr>
          <a:xfrm>
            <a:off x="639097" y="4306532"/>
            <a:ext cx="9144000" cy="766763"/>
          </a:xfrm>
        </p:spPr>
        <p:txBody>
          <a:bodyPr>
            <a:normAutofit/>
          </a:bodyPr>
          <a:lstStyle/>
          <a:p>
            <a:pPr algn="l"/>
            <a:r>
              <a:rPr lang="nl-NL" sz="3600">
                <a:solidFill>
                  <a:schemeClr val="tx2"/>
                </a:solidFill>
              </a:rPr>
              <a:t>Klik om stijl te bewerken</a:t>
            </a:r>
            <a:endParaRPr lang="en-US" sz="3600">
              <a:solidFill>
                <a:schemeClr val="tx2"/>
              </a:solidFill>
            </a:endParaRPr>
          </a:p>
        </p:txBody>
      </p:sp>
      <p:sp>
        <p:nvSpPr>
          <p:cNvPr id="10" name="Subtitle 3">
            <a:extLst>
              <a:ext uri="{FF2B5EF4-FFF2-40B4-BE49-F238E27FC236}">
                <a16:creationId xmlns:a16="http://schemas.microsoft.com/office/drawing/2014/main" id="{91730012-3E60-0C5F-BCA2-123979E98B34}"/>
              </a:ext>
            </a:extLst>
          </p:cNvPr>
          <p:cNvSpPr>
            <a:spLocks noGrp="1"/>
          </p:cNvSpPr>
          <p:nvPr>
            <p:ph type="subTitle" idx="1" hasCustomPrompt="1"/>
          </p:nvPr>
        </p:nvSpPr>
        <p:spPr>
          <a:xfrm>
            <a:off x="639097" y="5098987"/>
            <a:ext cx="9144000" cy="458685"/>
          </a:xfrm>
        </p:spPr>
        <p:txBody>
          <a:bodyPr>
            <a:normAutofit/>
          </a:bodyPr>
          <a:lstStyle>
            <a:lvl1pPr marL="0" indent="0">
              <a:buNone/>
              <a:defRPr sz="2400"/>
            </a:lvl1pPr>
          </a:lstStyle>
          <a:p>
            <a:pPr algn="l"/>
            <a:r>
              <a:rPr lang="en-US" b="0" err="1">
                <a:solidFill>
                  <a:schemeClr val="bg2"/>
                </a:solidFill>
              </a:rPr>
              <a:t>Subtitel</a:t>
            </a:r>
            <a:r>
              <a:rPr lang="en-US" b="0">
                <a:solidFill>
                  <a:schemeClr val="bg2"/>
                </a:solidFill>
              </a:rPr>
              <a:t> – </a:t>
            </a:r>
            <a:r>
              <a:rPr lang="en-US" b="0" err="1">
                <a:solidFill>
                  <a:schemeClr val="bg2"/>
                </a:solidFill>
              </a:rPr>
              <a:t>vervang</a:t>
            </a:r>
            <a:r>
              <a:rPr lang="en-US" b="0">
                <a:solidFill>
                  <a:schemeClr val="bg2"/>
                </a:solidFill>
              </a:rPr>
              <a:t> de </a:t>
            </a:r>
            <a:r>
              <a:rPr lang="en-US" b="0" err="1">
                <a:solidFill>
                  <a:schemeClr val="bg2"/>
                </a:solidFill>
              </a:rPr>
              <a:t>foto</a:t>
            </a:r>
            <a:r>
              <a:rPr lang="en-US" b="0">
                <a:solidFill>
                  <a:schemeClr val="bg2"/>
                </a:solidFill>
              </a:rPr>
              <a:t> achter </a:t>
            </a:r>
            <a:r>
              <a:rPr lang="en-US" b="0" err="1">
                <a:solidFill>
                  <a:schemeClr val="bg2"/>
                </a:solidFill>
              </a:rPr>
              <a:t>deze</a:t>
            </a:r>
            <a:r>
              <a:rPr lang="en-US" b="0">
                <a:solidFill>
                  <a:schemeClr val="bg2"/>
                </a:solidFill>
              </a:rPr>
              <a:t> </a:t>
            </a:r>
            <a:r>
              <a:rPr lang="en-US" b="0" err="1">
                <a:solidFill>
                  <a:schemeClr val="bg2"/>
                </a:solidFill>
              </a:rPr>
              <a:t>witte</a:t>
            </a:r>
            <a:r>
              <a:rPr lang="en-US" b="0">
                <a:solidFill>
                  <a:schemeClr val="bg2"/>
                </a:solidFill>
              </a:rPr>
              <a:t> balk</a:t>
            </a:r>
          </a:p>
        </p:txBody>
      </p:sp>
    </p:spTree>
    <p:extLst>
      <p:ext uri="{BB962C8B-B14F-4D97-AF65-F5344CB8AC3E}">
        <p14:creationId xmlns:p14="http://schemas.microsoft.com/office/powerpoint/2010/main" val="942470867"/>
      </p:ext>
    </p:extLst>
  </p:cSld>
  <p:clrMapOvr>
    <a:masterClrMapping/>
  </p:clrMapOvr>
  <p:extLst>
    <p:ext uri="{DCECCB84-F9BA-43D5-87BE-67443E8EF086}">
      <p15:sldGuideLst xmlns:p15="http://schemas.microsoft.com/office/powerpoint/2012/main">
        <p15:guide id="2" pos="3840">
          <p15:clr>
            <a:srgbClr val="FBAE40"/>
          </p15:clr>
        </p15:guide>
        <p15:guide id="3" orient="horz" pos="22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Quote">
    <p:bg>
      <p:bgPr>
        <a:solidFill>
          <a:srgbClr val="00C27C"/>
        </a:solidFill>
        <a:effectLst/>
      </p:bgPr>
    </p:bg>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0276098A-264F-2C61-92F4-0C38885EC771}"/>
              </a:ext>
            </a:extLst>
          </p:cNvPr>
          <p:cNvSpPr/>
          <p:nvPr userDrawn="1"/>
        </p:nvSpPr>
        <p:spPr>
          <a:xfrm>
            <a:off x="3898900" y="5968180"/>
            <a:ext cx="3771900" cy="82820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71CC569A-2DE6-EE48-8BAE-EAAF5313C206}"/>
              </a:ext>
            </a:extLst>
          </p:cNvPr>
          <p:cNvSpPr>
            <a:spLocks noGrp="1"/>
          </p:cNvSpPr>
          <p:nvPr>
            <p:ph type="ctrTitle" hasCustomPrompt="1"/>
          </p:nvPr>
        </p:nvSpPr>
        <p:spPr>
          <a:xfrm>
            <a:off x="1524000" y="2001928"/>
            <a:ext cx="9144000" cy="2387600"/>
          </a:xfrm>
        </p:spPr>
        <p:txBody>
          <a:bodyPr anchor="b">
            <a:normAutofit/>
          </a:bodyPr>
          <a:lstStyle>
            <a:lvl1pPr algn="ctr">
              <a:defRPr sz="3800">
                <a:solidFill>
                  <a:schemeClr val="bg1"/>
                </a:solidFill>
              </a:defRPr>
            </a:lvl1pPr>
          </a:lstStyle>
          <a:p>
            <a:r>
              <a:rPr lang="en-US"/>
              <a:t>“Never doubt that a small group of thoughtful, committed citizens can change the world; indeed, it's the only thing that ever has.”</a:t>
            </a:r>
          </a:p>
        </p:txBody>
      </p:sp>
      <p:sp>
        <p:nvSpPr>
          <p:cNvPr id="3" name="Subtitle 2">
            <a:extLst>
              <a:ext uri="{FF2B5EF4-FFF2-40B4-BE49-F238E27FC236}">
                <a16:creationId xmlns:a16="http://schemas.microsoft.com/office/drawing/2014/main" id="{9A4A8E6B-81D4-CC46-AF30-CCB08B1311E5}"/>
              </a:ext>
            </a:extLst>
          </p:cNvPr>
          <p:cNvSpPr>
            <a:spLocks noGrp="1"/>
          </p:cNvSpPr>
          <p:nvPr>
            <p:ph type="subTitle" idx="1" hasCustomPrompt="1"/>
          </p:nvPr>
        </p:nvSpPr>
        <p:spPr>
          <a:xfrm>
            <a:off x="1524000" y="4481603"/>
            <a:ext cx="9144000" cy="1655762"/>
          </a:xfrm>
        </p:spPr>
        <p:txBody>
          <a:bodyPr/>
          <a:lstStyle>
            <a:lvl1pPr marL="0" indent="0" algn="ct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Quote Author</a:t>
            </a:r>
          </a:p>
        </p:txBody>
      </p:sp>
      <p:pic>
        <p:nvPicPr>
          <p:cNvPr id="8" name="8.png" descr="8.png">
            <a:extLst>
              <a:ext uri="{FF2B5EF4-FFF2-40B4-BE49-F238E27FC236}">
                <a16:creationId xmlns:a16="http://schemas.microsoft.com/office/drawing/2014/main" id="{856AF668-F2D4-9E43-9E64-27A3CC2F14EE}"/>
              </a:ext>
            </a:extLst>
          </p:cNvPr>
          <p:cNvPicPr>
            <a:picLocks noChangeAspect="1"/>
          </p:cNvPicPr>
          <p:nvPr userDrawn="1"/>
        </p:nvPicPr>
        <p:blipFill>
          <a:blip r:embed="rId2"/>
          <a:stretch>
            <a:fillRect/>
          </a:stretch>
        </p:blipFill>
        <p:spPr>
          <a:xfrm>
            <a:off x="6806604" y="0"/>
            <a:ext cx="5390476" cy="5149888"/>
          </a:xfrm>
          <a:prstGeom prst="rect">
            <a:avLst/>
          </a:prstGeom>
          <a:ln w="12700">
            <a:miter lim="400000"/>
          </a:ln>
        </p:spPr>
      </p:pic>
      <p:sp>
        <p:nvSpPr>
          <p:cNvPr id="9" name="Line">
            <a:extLst>
              <a:ext uri="{FF2B5EF4-FFF2-40B4-BE49-F238E27FC236}">
                <a16:creationId xmlns:a16="http://schemas.microsoft.com/office/drawing/2014/main" id="{DC0E20B3-3625-DA46-84E3-84A8DEFDD80C}"/>
              </a:ext>
            </a:extLst>
          </p:cNvPr>
          <p:cNvSpPr/>
          <p:nvPr userDrawn="1"/>
        </p:nvSpPr>
        <p:spPr>
          <a:xfrm flipH="1" flipV="1">
            <a:off x="6096000" y="5728763"/>
            <a:ext cx="0" cy="478835"/>
          </a:xfrm>
          <a:prstGeom prst="line">
            <a:avLst/>
          </a:prstGeom>
          <a:ln w="12700">
            <a:solidFill>
              <a:schemeClr val="accent1"/>
            </a:solidFill>
            <a:miter/>
          </a:ln>
        </p:spPr>
        <p:txBody>
          <a:bodyPr lIns="45719" rIns="45719"/>
          <a:lstStyle/>
          <a:p>
            <a:endParaRPr/>
          </a:p>
        </p:txBody>
      </p:sp>
    </p:spTree>
    <p:extLst>
      <p:ext uri="{BB962C8B-B14F-4D97-AF65-F5344CB8AC3E}">
        <p14:creationId xmlns:p14="http://schemas.microsoft.com/office/powerpoint/2010/main" val="1605603363"/>
      </p:ext>
    </p:extLst>
  </p:cSld>
  <p:clrMapOvr>
    <a:masterClrMapping/>
  </p:clrMapOvr>
  <p:extLst>
    <p:ext uri="{DCECCB84-F9BA-43D5-87BE-67443E8EF086}">
      <p15:sldGuideLst xmlns:p15="http://schemas.microsoft.com/office/powerpoint/2012/main">
        <p15:guide id="2" pos="3840">
          <p15:clr>
            <a:srgbClr val="FBAE40"/>
          </p15:clr>
        </p15:guide>
        <p15:guide id="3" orient="horz" pos="22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C569A-2DE6-EE48-8BAE-EAAF5313C206}"/>
              </a:ext>
            </a:extLst>
          </p:cNvPr>
          <p:cNvSpPr>
            <a:spLocks noGrp="1"/>
          </p:cNvSpPr>
          <p:nvPr>
            <p:ph type="ctrTitle" hasCustomPrompt="1"/>
          </p:nvPr>
        </p:nvSpPr>
        <p:spPr>
          <a:xfrm>
            <a:off x="1524000" y="2001928"/>
            <a:ext cx="9144000" cy="2387600"/>
          </a:xfrm>
          <a:prstGeom prst="rect">
            <a:avLst/>
          </a:prstGeom>
        </p:spPr>
        <p:txBody>
          <a:bodyPr anchor="b">
            <a:normAutofit/>
          </a:bodyPr>
          <a:lstStyle>
            <a:lvl1pPr algn="ctr">
              <a:defRPr sz="3600">
                <a:solidFill>
                  <a:schemeClr val="bg1"/>
                </a:solidFill>
              </a:defRPr>
            </a:lvl1pPr>
          </a:lstStyle>
          <a:p>
            <a:r>
              <a:rPr lang="en-US"/>
              <a:t>“Never doubt that a small group of thoughtful, committed citizens can change the world; indeed, it's the only thing that ever has.”</a:t>
            </a:r>
          </a:p>
        </p:txBody>
      </p:sp>
      <p:sp>
        <p:nvSpPr>
          <p:cNvPr id="3" name="Subtitle 2">
            <a:extLst>
              <a:ext uri="{FF2B5EF4-FFF2-40B4-BE49-F238E27FC236}">
                <a16:creationId xmlns:a16="http://schemas.microsoft.com/office/drawing/2014/main" id="{9A4A8E6B-81D4-CC46-AF30-CCB08B1311E5}"/>
              </a:ext>
            </a:extLst>
          </p:cNvPr>
          <p:cNvSpPr>
            <a:spLocks noGrp="1"/>
          </p:cNvSpPr>
          <p:nvPr>
            <p:ph type="subTitle" idx="1" hasCustomPrompt="1"/>
          </p:nvPr>
        </p:nvSpPr>
        <p:spPr>
          <a:xfrm>
            <a:off x="1524000" y="4481603"/>
            <a:ext cx="9144000" cy="1655762"/>
          </a:xfrm>
          <a:prstGeom prst="rect">
            <a:avLst/>
          </a:prstGeom>
        </p:spPr>
        <p:txBody>
          <a:bodyPr/>
          <a:lstStyle>
            <a:lvl1pPr marL="0" indent="0" algn="ct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am</a:t>
            </a:r>
          </a:p>
        </p:txBody>
      </p:sp>
      <p:pic>
        <p:nvPicPr>
          <p:cNvPr id="8" name="8.png" descr="8.png">
            <a:extLst>
              <a:ext uri="{FF2B5EF4-FFF2-40B4-BE49-F238E27FC236}">
                <a16:creationId xmlns:a16="http://schemas.microsoft.com/office/drawing/2014/main" id="{856AF668-F2D4-9E43-9E64-27A3CC2F14EE}"/>
              </a:ext>
            </a:extLst>
          </p:cNvPr>
          <p:cNvPicPr>
            <a:picLocks noChangeAspect="1"/>
          </p:cNvPicPr>
          <p:nvPr userDrawn="1"/>
        </p:nvPicPr>
        <p:blipFill>
          <a:blip r:embed="rId2"/>
          <a:stretch>
            <a:fillRect/>
          </a:stretch>
        </p:blipFill>
        <p:spPr>
          <a:xfrm>
            <a:off x="6806604" y="0"/>
            <a:ext cx="5390476" cy="5149888"/>
          </a:xfrm>
          <a:prstGeom prst="rect">
            <a:avLst/>
          </a:prstGeom>
          <a:ln w="12700">
            <a:miter lim="400000"/>
          </a:ln>
        </p:spPr>
      </p:pic>
      <p:sp>
        <p:nvSpPr>
          <p:cNvPr id="9" name="Line">
            <a:extLst>
              <a:ext uri="{FF2B5EF4-FFF2-40B4-BE49-F238E27FC236}">
                <a16:creationId xmlns:a16="http://schemas.microsoft.com/office/drawing/2014/main" id="{DC0E20B3-3625-DA46-84E3-84A8DEFDD80C}"/>
              </a:ext>
            </a:extLst>
          </p:cNvPr>
          <p:cNvSpPr/>
          <p:nvPr/>
        </p:nvSpPr>
        <p:spPr>
          <a:xfrm flipH="1" flipV="1">
            <a:off x="6096000" y="5728763"/>
            <a:ext cx="0" cy="478835"/>
          </a:xfrm>
          <a:prstGeom prst="line">
            <a:avLst/>
          </a:prstGeom>
          <a:ln w="12700">
            <a:solidFill>
              <a:schemeClr val="accent1"/>
            </a:solidFill>
            <a:miter/>
          </a:ln>
        </p:spPr>
        <p:txBody>
          <a:bodyPr lIns="45719" rIns="45719"/>
          <a:lstStyle/>
          <a:p>
            <a:endParaRPr/>
          </a:p>
        </p:txBody>
      </p:sp>
    </p:spTree>
    <p:extLst>
      <p:ext uri="{BB962C8B-B14F-4D97-AF65-F5344CB8AC3E}">
        <p14:creationId xmlns:p14="http://schemas.microsoft.com/office/powerpoint/2010/main" val="3153823678"/>
      </p:ext>
    </p:extLst>
  </p:cSld>
  <p:clrMapOvr>
    <a:masterClrMapping/>
  </p:clrMapOvr>
  <p:extLst>
    <p:ext uri="{DCECCB84-F9BA-43D5-87BE-67443E8EF086}">
      <p15:sldGuideLst xmlns:p15="http://schemas.microsoft.com/office/powerpoint/2012/main">
        <p15:guide id="2" pos="3840">
          <p15:clr>
            <a:srgbClr val="FBAE40"/>
          </p15:clr>
        </p15:guide>
        <p15:guide id="3" orient="horz" pos="22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dia met 2 regels">
    <p:spTree>
      <p:nvGrpSpPr>
        <p:cNvPr id="1" name=""/>
        <p:cNvGrpSpPr/>
        <p:nvPr/>
      </p:nvGrpSpPr>
      <p:grpSpPr>
        <a:xfrm>
          <a:off x="0" y="0"/>
          <a:ext cx="0" cy="0"/>
          <a:chOff x="0" y="0"/>
          <a:chExt cx="0" cy="0"/>
        </a:xfrm>
      </p:grpSpPr>
      <p:sp>
        <p:nvSpPr>
          <p:cNvPr id="17" name="Vrije vorm: vorm 16">
            <a:extLst>
              <a:ext uri="{FF2B5EF4-FFF2-40B4-BE49-F238E27FC236}">
                <a16:creationId xmlns:a16="http://schemas.microsoft.com/office/drawing/2014/main" id="{DDD6D071-740F-C0D0-E1AB-1AFA6E5D5B2F}"/>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18" name="Logo">
            <a:extLst>
              <a:ext uri="{FF2B5EF4-FFF2-40B4-BE49-F238E27FC236}">
                <a16:creationId xmlns:a16="http://schemas.microsoft.com/office/drawing/2014/main" id="{7A8480E1-C850-6600-4168-7B9D58375E60}"/>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16" name="Afbeeldingsplaceholder">
            <a:extLst>
              <a:ext uri="{FF2B5EF4-FFF2-40B4-BE49-F238E27FC236}">
                <a16:creationId xmlns:a16="http://schemas.microsoft.com/office/drawing/2014/main" id="{EF0CF9B8-E6D0-2520-D615-AB34F25E9188}"/>
              </a:ext>
            </a:extLst>
          </p:cNvPr>
          <p:cNvSpPr>
            <a:spLocks noGrp="1" noRot="1" noMove="1" noResize="1" noEditPoints="1" noAdjustHandles="1" noChangeArrowheads="1" noChangeShapeType="1"/>
          </p:cNvSpPr>
          <p:nvPr>
            <p:ph type="pic" sz="quarter" idx="11"/>
          </p:nvPr>
        </p:nvSpPr>
        <p:spPr>
          <a:xfrm>
            <a:off x="127001" y="127000"/>
            <a:ext cx="11938002" cy="6604002"/>
          </a:xfrm>
          <a:custGeom>
            <a:avLst/>
            <a:gdLst>
              <a:gd name="connsiteX0" fmla="*/ 1714500 w 11938002"/>
              <a:gd name="connsiteY0" fmla="*/ 0 h 6604002"/>
              <a:gd name="connsiteX1" fmla="*/ 11811001 w 11938002"/>
              <a:gd name="connsiteY1" fmla="*/ 0 h 6604002"/>
              <a:gd name="connsiteX2" fmla="*/ 11938002 w 11938002"/>
              <a:gd name="connsiteY2" fmla="*/ 127001 h 6604002"/>
              <a:gd name="connsiteX3" fmla="*/ 11938002 w 11938002"/>
              <a:gd name="connsiteY3" fmla="*/ 6477001 h 6604002"/>
              <a:gd name="connsiteX4" fmla="*/ 11811001 w 11938002"/>
              <a:gd name="connsiteY4" fmla="*/ 6604002 h 6604002"/>
              <a:gd name="connsiteX5" fmla="*/ 4919220 w 11938002"/>
              <a:gd name="connsiteY5" fmla="*/ 6604002 h 6604002"/>
              <a:gd name="connsiteX6" fmla="*/ 4792219 w 11938002"/>
              <a:gd name="connsiteY6" fmla="*/ 6477001 h 6604002"/>
              <a:gd name="connsiteX7" fmla="*/ 4792219 w 11938002"/>
              <a:gd name="connsiteY7" fmla="*/ 5280153 h 6604002"/>
              <a:gd name="connsiteX8" fmla="*/ 4665220 w 11938002"/>
              <a:gd name="connsiteY8" fmla="*/ 5153152 h 6604002"/>
              <a:gd name="connsiteX9" fmla="*/ 1701736 w 11938002"/>
              <a:gd name="connsiteY9" fmla="*/ 5153152 h 6604002"/>
              <a:gd name="connsiteX10" fmla="*/ 1574738 w 11938002"/>
              <a:gd name="connsiteY10" fmla="*/ 5026153 h 6604002"/>
              <a:gd name="connsiteX11" fmla="*/ 1574738 w 11938002"/>
              <a:gd name="connsiteY11" fmla="*/ 4960557 h 6604002"/>
              <a:gd name="connsiteX12" fmla="*/ 1447737 w 11938002"/>
              <a:gd name="connsiteY12" fmla="*/ 4833556 h 6604002"/>
              <a:gd name="connsiteX13" fmla="*/ 127001 w 11938002"/>
              <a:gd name="connsiteY13" fmla="*/ 4833556 h 6604002"/>
              <a:gd name="connsiteX14" fmla="*/ 0 w 11938002"/>
              <a:gd name="connsiteY14" fmla="*/ 4706558 h 6604002"/>
              <a:gd name="connsiteX15" fmla="*/ 0 w 11938002"/>
              <a:gd name="connsiteY15" fmla="*/ 746125 h 6604002"/>
              <a:gd name="connsiteX16" fmla="*/ 127001 w 11938002"/>
              <a:gd name="connsiteY16" fmla="*/ 619126 h 6604002"/>
              <a:gd name="connsiteX17" fmla="*/ 1460500 w 11938002"/>
              <a:gd name="connsiteY17" fmla="*/ 619126 h 6604002"/>
              <a:gd name="connsiteX18" fmla="*/ 1587501 w 11938002"/>
              <a:gd name="connsiteY18" fmla="*/ 492125 h 6604002"/>
              <a:gd name="connsiteX19" fmla="*/ 1587501 w 11938002"/>
              <a:gd name="connsiteY19" fmla="*/ 127001 h 6604002"/>
              <a:gd name="connsiteX20" fmla="*/ 1714500 w 11938002"/>
              <a:gd name="connsiteY20" fmla="*/ 0 h 66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8002" h="6604002">
                <a:moveTo>
                  <a:pt x="1714500" y="0"/>
                </a:moveTo>
                <a:lnTo>
                  <a:pt x="11811001" y="0"/>
                </a:lnTo>
                <a:cubicBezTo>
                  <a:pt x="11881169" y="0"/>
                  <a:pt x="11938002" y="56834"/>
                  <a:pt x="11938002" y="127001"/>
                </a:cubicBezTo>
                <a:lnTo>
                  <a:pt x="11938002" y="6477001"/>
                </a:lnTo>
                <a:cubicBezTo>
                  <a:pt x="11938002" y="6547168"/>
                  <a:pt x="11881169" y="6604002"/>
                  <a:pt x="11811001" y="6604002"/>
                </a:cubicBezTo>
                <a:lnTo>
                  <a:pt x="4919220" y="6604002"/>
                </a:lnTo>
                <a:cubicBezTo>
                  <a:pt x="4849114" y="6604002"/>
                  <a:pt x="4792219" y="6547168"/>
                  <a:pt x="4792219" y="6477001"/>
                </a:cubicBezTo>
                <a:lnTo>
                  <a:pt x="4792219" y="5280153"/>
                </a:lnTo>
                <a:cubicBezTo>
                  <a:pt x="4792219" y="5209985"/>
                  <a:pt x="4735385" y="5153152"/>
                  <a:pt x="4665220" y="5153152"/>
                </a:cubicBezTo>
                <a:lnTo>
                  <a:pt x="1701736" y="5153152"/>
                </a:lnTo>
                <a:cubicBezTo>
                  <a:pt x="1631633" y="5153152"/>
                  <a:pt x="1574738" y="5096321"/>
                  <a:pt x="1574738" y="5026153"/>
                </a:cubicBezTo>
                <a:lnTo>
                  <a:pt x="1574738" y="4960557"/>
                </a:lnTo>
                <a:cubicBezTo>
                  <a:pt x="1574738" y="4890390"/>
                  <a:pt x="1517904" y="4833556"/>
                  <a:pt x="1447737" y="4833556"/>
                </a:cubicBezTo>
                <a:lnTo>
                  <a:pt x="127001" y="4833556"/>
                </a:lnTo>
                <a:cubicBezTo>
                  <a:pt x="56834" y="4833556"/>
                  <a:pt x="0" y="4776725"/>
                  <a:pt x="0" y="4706558"/>
                </a:cubicBezTo>
                <a:lnTo>
                  <a:pt x="0" y="746125"/>
                </a:lnTo>
                <a:cubicBezTo>
                  <a:pt x="0" y="675957"/>
                  <a:pt x="56834" y="619126"/>
                  <a:pt x="127001" y="619126"/>
                </a:cubicBezTo>
                <a:lnTo>
                  <a:pt x="1460500" y="619126"/>
                </a:lnTo>
                <a:cubicBezTo>
                  <a:pt x="1530668" y="619126"/>
                  <a:pt x="1587501" y="562293"/>
                  <a:pt x="1587501" y="492125"/>
                </a:cubicBezTo>
                <a:lnTo>
                  <a:pt x="1587501" y="127001"/>
                </a:lnTo>
                <a:cubicBezTo>
                  <a:pt x="1587501" y="56834"/>
                  <a:pt x="1644332" y="0"/>
                  <a:pt x="17145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AAA17855-856B-1A9C-AD8C-0B2FAE7CCEC6}"/>
              </a:ext>
            </a:extLst>
          </p:cNvPr>
          <p:cNvSpPr>
            <a:spLocks noGrp="1"/>
          </p:cNvSpPr>
          <p:nvPr>
            <p:ph type="ctrTitle" hasCustomPrompt="1"/>
          </p:nvPr>
        </p:nvSpPr>
        <p:spPr>
          <a:xfrm>
            <a:off x="152998" y="5348701"/>
            <a:ext cx="4511966" cy="503984"/>
          </a:xfrm>
        </p:spPr>
        <p:txBody>
          <a:bodyPr anchor="t" anchorCtr="0"/>
          <a:lstStyle>
            <a:lvl1pPr algn="l">
              <a:defRPr sz="3000"/>
            </a:lvl1pPr>
          </a:lstStyle>
          <a:p>
            <a:r>
              <a:rPr lang="nl-NL" dirty="0"/>
              <a:t>Titel over 2 regels</a:t>
            </a:r>
          </a:p>
        </p:txBody>
      </p:sp>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5037004"/>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29269203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eldia met 3 regels">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35" name="Afbeeldingsplaceholder">
            <a:extLst>
              <a:ext uri="{FF2B5EF4-FFF2-40B4-BE49-F238E27FC236}">
                <a16:creationId xmlns:a16="http://schemas.microsoft.com/office/drawing/2014/main" id="{89D60D14-7A36-57A7-4FAC-8A812D16E712}"/>
              </a:ext>
            </a:extLst>
          </p:cNvPr>
          <p:cNvSpPr>
            <a:spLocks noGrp="1" noRot="1" noMove="1" noResize="1" noEditPoints="1" noAdjustHandles="1" noChangeArrowheads="1" noChangeShapeType="1"/>
          </p:cNvSpPr>
          <p:nvPr>
            <p:ph type="pic" sz="quarter" idx="11"/>
          </p:nvPr>
        </p:nvSpPr>
        <p:spPr>
          <a:xfrm>
            <a:off x="127001" y="127000"/>
            <a:ext cx="11938002" cy="6604002"/>
          </a:xfrm>
          <a:custGeom>
            <a:avLst/>
            <a:gdLst>
              <a:gd name="connsiteX0" fmla="*/ 1724025 w 11938002"/>
              <a:gd name="connsiteY0" fmla="*/ 0 h 6604002"/>
              <a:gd name="connsiteX1" fmla="*/ 11811001 w 11938002"/>
              <a:gd name="connsiteY1" fmla="*/ 0 h 6604002"/>
              <a:gd name="connsiteX2" fmla="*/ 11938002 w 11938002"/>
              <a:gd name="connsiteY2" fmla="*/ 127001 h 6604002"/>
              <a:gd name="connsiteX3" fmla="*/ 11938002 w 11938002"/>
              <a:gd name="connsiteY3" fmla="*/ 6477001 h 6604002"/>
              <a:gd name="connsiteX4" fmla="*/ 11811001 w 11938002"/>
              <a:gd name="connsiteY4" fmla="*/ 6604002 h 6604002"/>
              <a:gd name="connsiteX5" fmla="*/ 4919220 w 11938002"/>
              <a:gd name="connsiteY5" fmla="*/ 6604002 h 6604002"/>
              <a:gd name="connsiteX6" fmla="*/ 4792219 w 11938002"/>
              <a:gd name="connsiteY6" fmla="*/ 6477001 h 6604002"/>
              <a:gd name="connsiteX7" fmla="*/ 4792219 w 11938002"/>
              <a:gd name="connsiteY7" fmla="*/ 4772154 h 6604002"/>
              <a:gd name="connsiteX8" fmla="*/ 4665221 w 11938002"/>
              <a:gd name="connsiteY8" fmla="*/ 4645152 h 6604002"/>
              <a:gd name="connsiteX9" fmla="*/ 1701736 w 11938002"/>
              <a:gd name="connsiteY9" fmla="*/ 4645152 h 6604002"/>
              <a:gd name="connsiteX10" fmla="*/ 1574738 w 11938002"/>
              <a:gd name="connsiteY10" fmla="*/ 4518151 h 6604002"/>
              <a:gd name="connsiteX11" fmla="*/ 1574738 w 11938002"/>
              <a:gd name="connsiteY11" fmla="*/ 4452556 h 6604002"/>
              <a:gd name="connsiteX12" fmla="*/ 1447737 w 11938002"/>
              <a:gd name="connsiteY12" fmla="*/ 4325557 h 6604002"/>
              <a:gd name="connsiteX13" fmla="*/ 127001 w 11938002"/>
              <a:gd name="connsiteY13" fmla="*/ 4325557 h 6604002"/>
              <a:gd name="connsiteX14" fmla="*/ 0 w 11938002"/>
              <a:gd name="connsiteY14" fmla="*/ 4198556 h 6604002"/>
              <a:gd name="connsiteX15" fmla="*/ 0 w 11938002"/>
              <a:gd name="connsiteY15" fmla="*/ 746125 h 6604002"/>
              <a:gd name="connsiteX16" fmla="*/ 127001 w 11938002"/>
              <a:gd name="connsiteY16" fmla="*/ 619126 h 6604002"/>
              <a:gd name="connsiteX17" fmla="*/ 1470025 w 11938002"/>
              <a:gd name="connsiteY17" fmla="*/ 619126 h 6604002"/>
              <a:gd name="connsiteX18" fmla="*/ 1597026 w 11938002"/>
              <a:gd name="connsiteY18" fmla="*/ 492125 h 6604002"/>
              <a:gd name="connsiteX19" fmla="*/ 1597026 w 11938002"/>
              <a:gd name="connsiteY19" fmla="*/ 127001 h 6604002"/>
              <a:gd name="connsiteX20" fmla="*/ 1724025 w 11938002"/>
              <a:gd name="connsiteY20" fmla="*/ 0 h 66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8002" h="6604002">
                <a:moveTo>
                  <a:pt x="1724025" y="0"/>
                </a:moveTo>
                <a:lnTo>
                  <a:pt x="11811001" y="0"/>
                </a:lnTo>
                <a:cubicBezTo>
                  <a:pt x="11880852" y="0"/>
                  <a:pt x="11938002" y="56834"/>
                  <a:pt x="11938002" y="127001"/>
                </a:cubicBezTo>
                <a:lnTo>
                  <a:pt x="11938002" y="6477001"/>
                </a:lnTo>
                <a:cubicBezTo>
                  <a:pt x="11938002" y="6547168"/>
                  <a:pt x="11880852" y="6604002"/>
                  <a:pt x="11811001" y="6604002"/>
                </a:cubicBezTo>
                <a:lnTo>
                  <a:pt x="4919220" y="6604002"/>
                </a:lnTo>
                <a:cubicBezTo>
                  <a:pt x="4849114" y="6604002"/>
                  <a:pt x="4792219" y="6547168"/>
                  <a:pt x="4792219" y="6477001"/>
                </a:cubicBezTo>
                <a:lnTo>
                  <a:pt x="4792219" y="4772154"/>
                </a:lnTo>
                <a:cubicBezTo>
                  <a:pt x="4792219" y="4701986"/>
                  <a:pt x="4735386" y="4645152"/>
                  <a:pt x="4665221" y="4645152"/>
                </a:cubicBezTo>
                <a:lnTo>
                  <a:pt x="1701736" y="4645152"/>
                </a:lnTo>
                <a:cubicBezTo>
                  <a:pt x="1631633" y="4645152"/>
                  <a:pt x="1574738" y="4588319"/>
                  <a:pt x="1574738" y="4518151"/>
                </a:cubicBezTo>
                <a:lnTo>
                  <a:pt x="1574738" y="4452556"/>
                </a:lnTo>
                <a:cubicBezTo>
                  <a:pt x="1574738" y="4382390"/>
                  <a:pt x="1517904" y="4325557"/>
                  <a:pt x="1447737" y="4325557"/>
                </a:cubicBezTo>
                <a:lnTo>
                  <a:pt x="127001" y="4325557"/>
                </a:lnTo>
                <a:cubicBezTo>
                  <a:pt x="56834" y="4325557"/>
                  <a:pt x="0" y="4268724"/>
                  <a:pt x="0" y="4198556"/>
                </a:cubicBezTo>
                <a:lnTo>
                  <a:pt x="0" y="746125"/>
                </a:lnTo>
                <a:cubicBezTo>
                  <a:pt x="0" y="675957"/>
                  <a:pt x="56834" y="619126"/>
                  <a:pt x="127001" y="619126"/>
                </a:cubicBezTo>
                <a:lnTo>
                  <a:pt x="1470025" y="619126"/>
                </a:lnTo>
                <a:cubicBezTo>
                  <a:pt x="1540193" y="619126"/>
                  <a:pt x="1597026" y="562293"/>
                  <a:pt x="1597026" y="492125"/>
                </a:cubicBezTo>
                <a:lnTo>
                  <a:pt x="1597026" y="127001"/>
                </a:lnTo>
                <a:cubicBezTo>
                  <a:pt x="1597026" y="56834"/>
                  <a:pt x="1653857" y="0"/>
                  <a:pt x="172402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AAA17855-856B-1A9C-AD8C-0B2FAE7CCEC6}"/>
              </a:ext>
            </a:extLst>
          </p:cNvPr>
          <p:cNvSpPr>
            <a:spLocks noGrp="1"/>
          </p:cNvSpPr>
          <p:nvPr>
            <p:ph type="ctrTitle" hasCustomPrompt="1"/>
          </p:nvPr>
        </p:nvSpPr>
        <p:spPr>
          <a:xfrm>
            <a:off x="152998" y="4817760"/>
            <a:ext cx="4511966" cy="503984"/>
          </a:xfrm>
        </p:spPr>
        <p:txBody>
          <a:bodyPr anchor="t" anchorCtr="0"/>
          <a:lstStyle>
            <a:lvl1pPr algn="l">
              <a:defRPr sz="3000"/>
            </a:lvl1pPr>
          </a:lstStyle>
          <a:p>
            <a:r>
              <a:rPr lang="nl-NL" dirty="0"/>
              <a:t>Titel over 3 regels</a:t>
            </a:r>
          </a:p>
        </p:txBody>
      </p:sp>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452818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299549355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eldia alleen tekst">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bg1"/>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1034899"/>
          </a:xfrm>
        </p:spPr>
        <p:txBody>
          <a:bodyPr anchor="t" anchorCtr="0"/>
          <a:lstStyle>
            <a:lvl1pPr algn="l">
              <a:defRPr sz="3000"/>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8943198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eldia alleen tekst donker">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bg1"/>
          </a:solidFill>
        </p:spPr>
        <p:txBody>
          <a:bodyPr wrap="none" anchor="ctr" anchorCtr="0">
            <a:noAutofit/>
          </a:bodyPr>
          <a:lstStyle>
            <a:lvl1pPr marL="0" indent="0" algn="ctr">
              <a:lnSpc>
                <a:spcPct val="100000"/>
              </a:lnSpc>
              <a:buNone/>
              <a:defRPr sz="75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427241841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dia tekst en afbeelding">
    <p:spTree>
      <p:nvGrpSpPr>
        <p:cNvPr id="1" name=""/>
        <p:cNvGrpSpPr/>
        <p:nvPr/>
      </p:nvGrpSpPr>
      <p:grpSpPr>
        <a:xfrm>
          <a:off x="0" y="0"/>
          <a:ext cx="0" cy="0"/>
          <a:chOff x="0" y="0"/>
          <a:chExt cx="0" cy="0"/>
        </a:xfrm>
      </p:grpSpPr>
      <p:sp>
        <p:nvSpPr>
          <p:cNvPr id="2" name="Vrije vorm: vorm 1">
            <a:extLst>
              <a:ext uri="{FF2B5EF4-FFF2-40B4-BE49-F238E27FC236}">
                <a16:creationId xmlns:a16="http://schemas.microsoft.com/office/drawing/2014/main" id="{1F1B54BB-6033-705E-85A1-EDA5088A80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1034899"/>
          </a:xfrm>
        </p:spPr>
        <p:txBody>
          <a:bodyPr anchor="t" anchorCtr="0"/>
          <a:lstStyle>
            <a:lvl1pPr algn="l">
              <a:defRPr sz="3000"/>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4" name="Afbeeldingsplaceholder">
            <a:extLst>
              <a:ext uri="{FF2B5EF4-FFF2-40B4-BE49-F238E27FC236}">
                <a16:creationId xmlns:a16="http://schemas.microsoft.com/office/drawing/2014/main" id="{65B1B5DF-E43D-996E-1C0F-F750280012E5}"/>
              </a:ext>
            </a:extLst>
          </p:cNvPr>
          <p:cNvSpPr>
            <a:spLocks noGrp="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237877638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dia tekst en afbeelding donker">
    <p:spTree>
      <p:nvGrpSpPr>
        <p:cNvPr id="1" name=""/>
        <p:cNvGrpSpPr/>
        <p:nvPr/>
      </p:nvGrpSpPr>
      <p:grpSpPr>
        <a:xfrm>
          <a:off x="0" y="0"/>
          <a:ext cx="0" cy="0"/>
          <a:chOff x="0" y="0"/>
          <a:chExt cx="0" cy="0"/>
        </a:xfrm>
      </p:grpSpPr>
      <p:sp>
        <p:nvSpPr>
          <p:cNvPr id="16" name="Vrije vorm: vorm 15">
            <a:extLst>
              <a:ext uri="{FF2B5EF4-FFF2-40B4-BE49-F238E27FC236}">
                <a16:creationId xmlns:a16="http://schemas.microsoft.com/office/drawing/2014/main" id="{57C73E81-977E-06E5-5E60-4E8D0F81C14F}"/>
              </a:ext>
            </a:extLst>
          </p:cNvPr>
          <p:cNvSpPr>
            <a:spLocks noGrp="1" noRot="1" noMove="1" noResize="1" noEditPoints="1" noAdjustHandles="1" noChangeArrowheads="1" noChangeShapeType="1"/>
          </p:cNvSpPr>
          <p:nvPr/>
        </p:nvSpPr>
        <p:spPr>
          <a:xfrm flipH="1">
            <a:off x="63978" y="63500"/>
            <a:ext cx="12064045" cy="6731000"/>
          </a:xfrm>
          <a:custGeom>
            <a:avLst/>
            <a:gdLst>
              <a:gd name="connsiteX0" fmla="*/ 11937045 w 12064045"/>
              <a:gd name="connsiteY0" fmla="*/ 0 h 6731000"/>
              <a:gd name="connsiteX1" fmla="*/ 6242685 w 12064045"/>
              <a:gd name="connsiteY1" fmla="*/ 0 h 6731000"/>
              <a:gd name="connsiteX2" fmla="*/ 6242685 w 12064045"/>
              <a:gd name="connsiteY2" fmla="*/ 391 h 6731000"/>
              <a:gd name="connsiteX3" fmla="*/ 1787191 w 12064045"/>
              <a:gd name="connsiteY3" fmla="*/ 391 h 6731000"/>
              <a:gd name="connsiteX4" fmla="*/ 1660206 w 12064045"/>
              <a:gd name="connsiteY4" fmla="*/ 127376 h 6731000"/>
              <a:gd name="connsiteX5" fmla="*/ 1660206 w 12064045"/>
              <a:gd name="connsiteY5" fmla="*/ 552777 h 6731000"/>
              <a:gd name="connsiteX6" fmla="*/ 1533220 w 12064045"/>
              <a:gd name="connsiteY6" fmla="*/ 679762 h 6731000"/>
              <a:gd name="connsiteX7" fmla="*/ 126985 w 12064045"/>
              <a:gd name="connsiteY7" fmla="*/ 679762 h 6731000"/>
              <a:gd name="connsiteX8" fmla="*/ 0 w 12064045"/>
              <a:gd name="connsiteY8" fmla="*/ 806874 h 6731000"/>
              <a:gd name="connsiteX9" fmla="*/ 6095 w 12064045"/>
              <a:gd name="connsiteY9" fmla="*/ 6603752 h 6731000"/>
              <a:gd name="connsiteX10" fmla="*/ 133081 w 12064045"/>
              <a:gd name="connsiteY10" fmla="*/ 6730610 h 6731000"/>
              <a:gd name="connsiteX11" fmla="*/ 6242685 w 12064045"/>
              <a:gd name="connsiteY11" fmla="*/ 6730610 h 6731000"/>
              <a:gd name="connsiteX12" fmla="*/ 6242685 w 12064045"/>
              <a:gd name="connsiteY12" fmla="*/ 6731000 h 6731000"/>
              <a:gd name="connsiteX13" fmla="*/ 11930949 w 12064045"/>
              <a:gd name="connsiteY13" fmla="*/ 6731000 h 6731000"/>
              <a:gd name="connsiteX14" fmla="*/ 11937045 w 12064045"/>
              <a:gd name="connsiteY14" fmla="*/ 6731000 h 6731000"/>
              <a:gd name="connsiteX15" fmla="*/ 12064045 w 12064045"/>
              <a:gd name="connsiteY15" fmla="*/ 6604000 h 6731000"/>
              <a:gd name="connsiteX16" fmla="*/ 12064045 w 12064045"/>
              <a:gd name="connsiteY16" fmla="*/ 127000 h 6731000"/>
              <a:gd name="connsiteX17" fmla="*/ 11937045 w 12064045"/>
              <a:gd name="connsiteY17"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64045" h="6731000">
                <a:moveTo>
                  <a:pt x="11937045" y="0"/>
                </a:moveTo>
                <a:lnTo>
                  <a:pt x="6242685" y="0"/>
                </a:lnTo>
                <a:lnTo>
                  <a:pt x="6242685" y="391"/>
                </a:lnTo>
                <a:lnTo>
                  <a:pt x="1787191" y="391"/>
                </a:lnTo>
                <a:cubicBezTo>
                  <a:pt x="1717031" y="391"/>
                  <a:pt x="1660206" y="57217"/>
                  <a:pt x="1660206" y="127376"/>
                </a:cubicBezTo>
                <a:lnTo>
                  <a:pt x="1660206" y="552777"/>
                </a:lnTo>
                <a:cubicBezTo>
                  <a:pt x="1660206" y="622936"/>
                  <a:pt x="1603380" y="679762"/>
                  <a:pt x="1533220" y="679762"/>
                </a:cubicBezTo>
                <a:lnTo>
                  <a:pt x="126985" y="679762"/>
                </a:lnTo>
                <a:cubicBezTo>
                  <a:pt x="56826" y="679762"/>
                  <a:pt x="-63" y="736715"/>
                  <a:pt x="0" y="806874"/>
                </a:cubicBezTo>
                <a:cubicBezTo>
                  <a:pt x="2032" y="2739167"/>
                  <a:pt x="4063" y="4671459"/>
                  <a:pt x="6095" y="6603752"/>
                </a:cubicBezTo>
                <a:cubicBezTo>
                  <a:pt x="6159" y="6673848"/>
                  <a:pt x="62985" y="6730610"/>
                  <a:pt x="133081" y="6730610"/>
                </a:cubicBezTo>
                <a:lnTo>
                  <a:pt x="6242685" y="6730610"/>
                </a:lnTo>
                <a:lnTo>
                  <a:pt x="6242685" y="6731000"/>
                </a:lnTo>
                <a:lnTo>
                  <a:pt x="11930949" y="6731000"/>
                </a:lnTo>
                <a:lnTo>
                  <a:pt x="11937045" y="6731000"/>
                </a:lnTo>
                <a:cubicBezTo>
                  <a:pt x="12007213" y="6731000"/>
                  <a:pt x="12064045" y="6674168"/>
                  <a:pt x="12064045" y="6604000"/>
                </a:cubicBezTo>
                <a:lnTo>
                  <a:pt x="12064045" y="127000"/>
                </a:lnTo>
                <a:cubicBezTo>
                  <a:pt x="12064045" y="56833"/>
                  <a:pt x="12007213" y="0"/>
                  <a:pt x="11937045" y="0"/>
                </a:cubicBezTo>
                <a:close/>
              </a:path>
            </a:pathLst>
          </a:custGeom>
          <a:solidFill>
            <a:schemeClr val="accent1"/>
          </a:solidFill>
          <a:ln w="0" cap="flat">
            <a:noFill/>
            <a:prstDash val="solid"/>
            <a:miter/>
          </a:ln>
        </p:spPr>
        <p:txBody>
          <a:bodyPr rtlCol="0" anchor="ctr"/>
          <a:lstStyle/>
          <a:p>
            <a:endParaRPr lang="en-GB"/>
          </a:p>
        </p:txBody>
      </p:sp>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4" name="Afbeeldingsplaceholder">
            <a:extLst>
              <a:ext uri="{FF2B5EF4-FFF2-40B4-BE49-F238E27FC236}">
                <a16:creationId xmlns:a16="http://schemas.microsoft.com/office/drawing/2014/main" id="{65B1B5DF-E43D-996E-1C0F-F750280012E5}"/>
              </a:ext>
            </a:extLst>
          </p:cNvPr>
          <p:cNvSpPr>
            <a:spLocks noGrp="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 name="Titel 1">
            <a:extLst>
              <a:ext uri="{FF2B5EF4-FFF2-40B4-BE49-F238E27FC236}">
                <a16:creationId xmlns:a16="http://schemas.microsoft.com/office/drawing/2014/main" id="{726BFB97-2A14-F98A-6804-E8127CBE5D8E}"/>
              </a:ext>
            </a:extLst>
          </p:cNvPr>
          <p:cNvSpPr>
            <a:spLocks noGrp="1"/>
          </p:cNvSpPr>
          <p:nvPr>
            <p:ph type="ctrTitle" hasCustomPrompt="1"/>
          </p:nvPr>
        </p:nvSpPr>
        <p:spPr>
          <a:xfrm>
            <a:off x="152998" y="234126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6" name="Ondertitel 2">
            <a:extLst>
              <a:ext uri="{FF2B5EF4-FFF2-40B4-BE49-F238E27FC236}">
                <a16:creationId xmlns:a16="http://schemas.microsoft.com/office/drawing/2014/main" id="{97A1F5D8-9EFA-9333-9AFD-87343FA2372C}"/>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7" name="Tijdelijke aanduiding voor tekst 2">
            <a:extLst>
              <a:ext uri="{FF2B5EF4-FFF2-40B4-BE49-F238E27FC236}">
                <a16:creationId xmlns:a16="http://schemas.microsoft.com/office/drawing/2014/main" id="{AE6647C9-BD99-2C3E-A063-9587B60B97BD}"/>
              </a:ext>
            </a:extLst>
          </p:cNvPr>
          <p:cNvSpPr>
            <a:spLocks noGrp="1"/>
          </p:cNvSpPr>
          <p:nvPr>
            <p:ph type="body" idx="10" hasCustomPrompt="1"/>
          </p:nvPr>
        </p:nvSpPr>
        <p:spPr>
          <a:xfrm>
            <a:off x="152998" y="2066925"/>
            <a:ext cx="1485302" cy="183600"/>
          </a:xfrm>
          <a:prstGeom prst="roundRect">
            <a:avLst>
              <a:gd name="adj" fmla="val 50000"/>
            </a:avLst>
          </a:prstGeom>
          <a:solidFill>
            <a:schemeClr val="bg1"/>
          </a:solidFill>
        </p:spPr>
        <p:txBody>
          <a:bodyPr wrap="none" anchor="ctr" anchorCtr="0">
            <a:noAutofit/>
          </a:bodyPr>
          <a:lstStyle>
            <a:lvl1pPr marL="0" indent="0" algn="ctr">
              <a:lnSpc>
                <a:spcPct val="100000"/>
              </a:lnSpc>
              <a:buNone/>
              <a:defRPr sz="75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1836656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verzich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401FA8-9724-3A0A-2665-95CAC7013560}"/>
              </a:ext>
            </a:extLst>
          </p:cNvPr>
          <p:cNvSpPr>
            <a:spLocks noGrp="1"/>
          </p:cNvSpPr>
          <p:nvPr>
            <p:ph type="title" hasCustomPrompt="1"/>
          </p:nvPr>
        </p:nvSpPr>
        <p:spPr>
          <a:xfrm>
            <a:off x="695324" y="624205"/>
            <a:ext cx="5760000" cy="503984"/>
          </a:xfrm>
        </p:spPr>
        <p:txBody>
          <a:bodyPr/>
          <a:lstStyle>
            <a:lvl1pPr>
              <a:defRPr/>
            </a:lvl1pPr>
          </a:lstStyle>
          <a:p>
            <a:r>
              <a:rPr lang="nl-NL"/>
              <a:t>Overzicht</a:t>
            </a:r>
            <a:endParaRPr lang="en-GB"/>
          </a:p>
        </p:txBody>
      </p:sp>
      <p:sp>
        <p:nvSpPr>
          <p:cNvPr id="34" name="Tijdelijke aanduiding voor afbeelding 33">
            <a:extLst>
              <a:ext uri="{FF2B5EF4-FFF2-40B4-BE49-F238E27FC236}">
                <a16:creationId xmlns:a16="http://schemas.microsoft.com/office/drawing/2014/main" id="{7F5324BA-39D8-BBB7-8D13-ED02785C9AC2}"/>
              </a:ext>
            </a:extLst>
          </p:cNvPr>
          <p:cNvSpPr>
            <a:spLocks noGrp="1"/>
          </p:cNvSpPr>
          <p:nvPr>
            <p:ph type="pic" sz="quarter" idx="34" hasCustomPrompt="1"/>
          </p:nvPr>
        </p:nvSpPr>
        <p:spPr>
          <a:xfrm>
            <a:off x="698501" y="1510030"/>
            <a:ext cx="3507613" cy="1625600"/>
          </a:xfrm>
          <a:custGeom>
            <a:avLst/>
            <a:gdLst>
              <a:gd name="connsiteX0" fmla="*/ 127000 w 3507613"/>
              <a:gd name="connsiteY0" fmla="*/ 0 h 1625600"/>
              <a:gd name="connsiteX1" fmla="*/ 3380613 w 3507613"/>
              <a:gd name="connsiteY1" fmla="*/ 0 h 1625600"/>
              <a:gd name="connsiteX2" fmla="*/ 3507613 w 3507613"/>
              <a:gd name="connsiteY2" fmla="*/ 127000 h 1625600"/>
              <a:gd name="connsiteX3" fmla="*/ 3507613 w 3507613"/>
              <a:gd name="connsiteY3" fmla="*/ 299466 h 1625600"/>
              <a:gd name="connsiteX4" fmla="*/ 3400679 w 3507613"/>
              <a:gd name="connsiteY4" fmla="*/ 406400 h 1625600"/>
              <a:gd name="connsiteX5" fmla="*/ 3293745 w 3507613"/>
              <a:gd name="connsiteY5" fmla="*/ 513334 h 1625600"/>
              <a:gd name="connsiteX6" fmla="*/ 3293745 w 3507613"/>
              <a:gd name="connsiteY6" fmla="*/ 1114298 h 1625600"/>
              <a:gd name="connsiteX7" fmla="*/ 3400679 w 3507613"/>
              <a:gd name="connsiteY7" fmla="*/ 1220216 h 1625600"/>
              <a:gd name="connsiteX8" fmla="*/ 3507613 w 3507613"/>
              <a:gd name="connsiteY8" fmla="*/ 1326134 h 1625600"/>
              <a:gd name="connsiteX9" fmla="*/ 3507613 w 3507613"/>
              <a:gd name="connsiteY9" fmla="*/ 1498600 h 1625600"/>
              <a:gd name="connsiteX10" fmla="*/ 3380613 w 3507613"/>
              <a:gd name="connsiteY10" fmla="*/ 1625600 h 1625600"/>
              <a:gd name="connsiteX11" fmla="*/ 127000 w 3507613"/>
              <a:gd name="connsiteY11" fmla="*/ 1625600 h 1625600"/>
              <a:gd name="connsiteX12" fmla="*/ 0 w 3507613"/>
              <a:gd name="connsiteY12" fmla="*/ 1498600 h 1625600"/>
              <a:gd name="connsiteX13" fmla="*/ 0 w 3507613"/>
              <a:gd name="connsiteY13" fmla="*/ 127000 h 1625600"/>
              <a:gd name="connsiteX14" fmla="*/ 127000 w 3507613"/>
              <a:gd name="connsiteY14"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07613" h="1625600">
                <a:moveTo>
                  <a:pt x="127000" y="0"/>
                </a:moveTo>
                <a:lnTo>
                  <a:pt x="3380613" y="0"/>
                </a:lnTo>
                <a:cubicBezTo>
                  <a:pt x="3450781" y="0"/>
                  <a:pt x="3507613" y="56833"/>
                  <a:pt x="3507613" y="127000"/>
                </a:cubicBezTo>
                <a:lnTo>
                  <a:pt x="3507613" y="299466"/>
                </a:lnTo>
                <a:cubicBezTo>
                  <a:pt x="3507613" y="358521"/>
                  <a:pt x="3459734" y="406400"/>
                  <a:pt x="3400679" y="406400"/>
                </a:cubicBezTo>
                <a:cubicBezTo>
                  <a:pt x="3341624" y="406400"/>
                  <a:pt x="3293745" y="454279"/>
                  <a:pt x="3293745" y="513334"/>
                </a:cubicBezTo>
                <a:lnTo>
                  <a:pt x="3293745" y="1114298"/>
                </a:lnTo>
                <a:cubicBezTo>
                  <a:pt x="3293745" y="1173226"/>
                  <a:pt x="3341815" y="1220788"/>
                  <a:pt x="3400679" y="1220216"/>
                </a:cubicBezTo>
                <a:cubicBezTo>
                  <a:pt x="3459544" y="1219645"/>
                  <a:pt x="3507613" y="1267206"/>
                  <a:pt x="3507613" y="1326134"/>
                </a:cubicBezTo>
                <a:lnTo>
                  <a:pt x="3507613" y="1498600"/>
                </a:lnTo>
                <a:cubicBezTo>
                  <a:pt x="3507613" y="1568768"/>
                  <a:pt x="3450781" y="1625600"/>
                  <a:pt x="3380613" y="1625600"/>
                </a:cubicBezTo>
                <a:lnTo>
                  <a:pt x="127000" y="1625600"/>
                </a:lnTo>
                <a:cubicBezTo>
                  <a:pt x="56832" y="1625600"/>
                  <a:pt x="0" y="1568768"/>
                  <a:pt x="0" y="1498600"/>
                </a:cubicBez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bIns="0" anchor="ctr" anchorCtr="0">
            <a:noAutofit/>
          </a:bodyPr>
          <a:lstStyle>
            <a:lvl1pPr algn="ctr">
              <a:defRPr/>
            </a:lvl1pPr>
          </a:lstStyle>
          <a:p>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endParaRPr lang="nl-NL" dirty="0"/>
          </a:p>
        </p:txBody>
      </p:sp>
      <p:pic>
        <p:nvPicPr>
          <p:cNvPr id="9" name="Graphic 8">
            <a:extLst>
              <a:ext uri="{FF2B5EF4-FFF2-40B4-BE49-F238E27FC236}">
                <a16:creationId xmlns:a16="http://schemas.microsoft.com/office/drawing/2014/main" id="{76041289-2079-C9DE-7F91-F2B6DA3938DD}"/>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304145" y="0"/>
            <a:ext cx="1887855" cy="902626"/>
          </a:xfrm>
          <a:prstGeom prst="rect">
            <a:avLst/>
          </a:prstGeom>
        </p:spPr>
      </p:pic>
      <p:pic>
        <p:nvPicPr>
          <p:cNvPr id="7" name="Graphic 6">
            <a:extLst>
              <a:ext uri="{FF2B5EF4-FFF2-40B4-BE49-F238E27FC236}">
                <a16:creationId xmlns:a16="http://schemas.microsoft.com/office/drawing/2014/main" id="{10F02EC0-7ECE-EBCC-857A-1AA8A0D3267A}"/>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0" y="6353928"/>
            <a:ext cx="4048760" cy="504071"/>
          </a:xfrm>
          <a:prstGeom prst="rect">
            <a:avLst/>
          </a:prstGeom>
        </p:spPr>
      </p:pic>
      <p:pic>
        <p:nvPicPr>
          <p:cNvPr id="5" name="Logo">
            <a:extLst>
              <a:ext uri="{FF2B5EF4-FFF2-40B4-BE49-F238E27FC236}">
                <a16:creationId xmlns:a16="http://schemas.microsoft.com/office/drawing/2014/main" id="{3DEAE37B-4B5A-CE52-22B5-127A0429FBD8}"/>
              </a:ext>
            </a:extLst>
          </p:cNvPr>
          <p:cNvPicPr>
            <a:picLocks noGrp="1" noRot="1" noMove="1" noResize="1" noEditPoints="1" noAdjustHandles="1" noChangeArrowheads="1" noChangeShapeType="1" noCrop="1"/>
          </p:cNvPicPr>
          <p:nvPr userDrawn="1"/>
        </p:nvPicPr>
        <p:blipFill>
          <a:blip r:embed="rId6">
            <a:extLst>
              <a:ext uri="{96DAC541-7B7A-43D3-8B79-37D633B846F1}">
                <asvg:svgBlip xmlns:asvg="http://schemas.microsoft.com/office/drawing/2016/SVG/main" r:embed="rId7"/>
              </a:ext>
            </a:extLst>
          </a:blip>
          <a:stretch>
            <a:fillRect/>
          </a:stretch>
        </p:blipFill>
        <p:spPr>
          <a:xfrm>
            <a:off x="10572966" y="286902"/>
            <a:ext cx="1302321" cy="268243"/>
          </a:xfrm>
          <a:prstGeom prst="rect">
            <a:avLst/>
          </a:prstGeom>
        </p:spPr>
      </p:pic>
      <p:sp>
        <p:nvSpPr>
          <p:cNvPr id="3" name="Tijdelijke aanduiding voor voettekst 2">
            <a:extLst>
              <a:ext uri="{FF2B5EF4-FFF2-40B4-BE49-F238E27FC236}">
                <a16:creationId xmlns:a16="http://schemas.microsoft.com/office/drawing/2014/main" id="{C5E3BB19-4158-922E-C749-CEC8BE4A326A}"/>
              </a:ext>
            </a:extLst>
          </p:cNvPr>
          <p:cNvSpPr>
            <a:spLocks noGrp="1"/>
          </p:cNvSpPr>
          <p:nvPr>
            <p:ph type="ftr" sz="quarter" idx="10"/>
          </p:nvPr>
        </p:nvSpPr>
        <p:spPr/>
        <p:txBody>
          <a:bodyPr/>
          <a:lstStyle/>
          <a:p>
            <a:endParaRPr lang="nl-NL" dirty="0"/>
          </a:p>
        </p:txBody>
      </p:sp>
      <p:sp>
        <p:nvSpPr>
          <p:cNvPr id="4" name="Tijdelijke aanduiding voor dianummer 3">
            <a:extLst>
              <a:ext uri="{FF2B5EF4-FFF2-40B4-BE49-F238E27FC236}">
                <a16:creationId xmlns:a16="http://schemas.microsoft.com/office/drawing/2014/main" id="{CE2802DC-A5D7-751A-9D5F-C3E661BC3DA9}"/>
              </a:ext>
            </a:extLst>
          </p:cNvPr>
          <p:cNvSpPr>
            <a:spLocks noGrp="1"/>
          </p:cNvSpPr>
          <p:nvPr>
            <p:ph type="sldNum" sz="quarter" idx="11"/>
          </p:nvPr>
        </p:nvSpPr>
        <p:spPr/>
        <p:txBody>
          <a:bodyPr/>
          <a:lstStyle/>
          <a:p>
            <a:fld id="{DD6527FB-D334-4076-8B97-2824752A4342}" type="slidenum">
              <a:rPr lang="nl-NL" smtClean="0"/>
              <a:pPr/>
              <a:t>‹#›</a:t>
            </a:fld>
            <a:endParaRPr lang="nl-NL" dirty="0"/>
          </a:p>
        </p:txBody>
      </p:sp>
      <p:sp>
        <p:nvSpPr>
          <p:cNvPr id="10" name="Tijdelijke aanduiding voor tekst 8">
            <a:extLst>
              <a:ext uri="{FF2B5EF4-FFF2-40B4-BE49-F238E27FC236}">
                <a16:creationId xmlns:a16="http://schemas.microsoft.com/office/drawing/2014/main" id="{BD09DB04-B950-F837-AE77-5755F0F7B48D}"/>
              </a:ext>
            </a:extLst>
          </p:cNvPr>
          <p:cNvSpPr>
            <a:spLocks noGrp="1"/>
          </p:cNvSpPr>
          <p:nvPr>
            <p:ph type="body" sz="quarter" idx="28" hasCustomPrompt="1"/>
          </p:nvPr>
        </p:nvSpPr>
        <p:spPr>
          <a:xfrm>
            <a:off x="698107" y="3350769"/>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1" name="Tijdelijke aanduiding voor tekst 8">
            <a:extLst>
              <a:ext uri="{FF2B5EF4-FFF2-40B4-BE49-F238E27FC236}">
                <a16:creationId xmlns:a16="http://schemas.microsoft.com/office/drawing/2014/main" id="{47A49712-B8B7-80A6-3634-72D8B14987E2}"/>
              </a:ext>
            </a:extLst>
          </p:cNvPr>
          <p:cNvSpPr>
            <a:spLocks noGrp="1"/>
          </p:cNvSpPr>
          <p:nvPr>
            <p:ph type="body" sz="quarter" idx="29" hasCustomPrompt="1"/>
          </p:nvPr>
        </p:nvSpPr>
        <p:spPr>
          <a:xfrm>
            <a:off x="4294747" y="3350769"/>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2" name="Tijdelijke aanduiding voor tekst 8">
            <a:extLst>
              <a:ext uri="{FF2B5EF4-FFF2-40B4-BE49-F238E27FC236}">
                <a16:creationId xmlns:a16="http://schemas.microsoft.com/office/drawing/2014/main" id="{4F209B6B-3B46-E698-B78E-99B542A226AD}"/>
              </a:ext>
            </a:extLst>
          </p:cNvPr>
          <p:cNvSpPr>
            <a:spLocks noGrp="1"/>
          </p:cNvSpPr>
          <p:nvPr>
            <p:ph type="body" sz="quarter" idx="30" hasCustomPrompt="1"/>
          </p:nvPr>
        </p:nvSpPr>
        <p:spPr>
          <a:xfrm>
            <a:off x="7885112" y="3350769"/>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3" name="Tijdelijke aanduiding voor tekst 8">
            <a:extLst>
              <a:ext uri="{FF2B5EF4-FFF2-40B4-BE49-F238E27FC236}">
                <a16:creationId xmlns:a16="http://schemas.microsoft.com/office/drawing/2014/main" id="{355569D0-D599-9D31-C2D5-5827032FD974}"/>
              </a:ext>
            </a:extLst>
          </p:cNvPr>
          <p:cNvSpPr>
            <a:spLocks noGrp="1"/>
          </p:cNvSpPr>
          <p:nvPr>
            <p:ph type="body" sz="quarter" idx="31" hasCustomPrompt="1"/>
          </p:nvPr>
        </p:nvSpPr>
        <p:spPr>
          <a:xfrm>
            <a:off x="698107" y="5710728"/>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4" name="Tijdelijke aanduiding voor tekst 8">
            <a:extLst>
              <a:ext uri="{FF2B5EF4-FFF2-40B4-BE49-F238E27FC236}">
                <a16:creationId xmlns:a16="http://schemas.microsoft.com/office/drawing/2014/main" id="{D136426F-FB57-66E7-A394-D90BA0B8A1CF}"/>
              </a:ext>
            </a:extLst>
          </p:cNvPr>
          <p:cNvSpPr>
            <a:spLocks noGrp="1"/>
          </p:cNvSpPr>
          <p:nvPr>
            <p:ph type="body" sz="quarter" idx="32" hasCustomPrompt="1"/>
          </p:nvPr>
        </p:nvSpPr>
        <p:spPr>
          <a:xfrm>
            <a:off x="4294747" y="5710728"/>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5" name="Tijdelijke aanduiding voor tekst 8">
            <a:extLst>
              <a:ext uri="{FF2B5EF4-FFF2-40B4-BE49-F238E27FC236}">
                <a16:creationId xmlns:a16="http://schemas.microsoft.com/office/drawing/2014/main" id="{7D035E58-AB47-FBFF-A875-EA90FFA57643}"/>
              </a:ext>
            </a:extLst>
          </p:cNvPr>
          <p:cNvSpPr>
            <a:spLocks noGrp="1"/>
          </p:cNvSpPr>
          <p:nvPr>
            <p:ph type="body" sz="quarter" idx="33" hasCustomPrompt="1"/>
          </p:nvPr>
        </p:nvSpPr>
        <p:spPr>
          <a:xfrm>
            <a:off x="7885112" y="5710728"/>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41" name="Tijdelijke aanduiding voor afbeelding 40">
            <a:extLst>
              <a:ext uri="{FF2B5EF4-FFF2-40B4-BE49-F238E27FC236}">
                <a16:creationId xmlns:a16="http://schemas.microsoft.com/office/drawing/2014/main" id="{E2F1E68A-B138-0EEE-06A3-0BC60060031D}"/>
              </a:ext>
            </a:extLst>
          </p:cNvPr>
          <p:cNvSpPr>
            <a:spLocks noGrp="1"/>
          </p:cNvSpPr>
          <p:nvPr>
            <p:ph type="pic" sz="quarter" idx="21" hasCustomPrompt="1"/>
          </p:nvPr>
        </p:nvSpPr>
        <p:spPr>
          <a:xfrm>
            <a:off x="0" y="3884866"/>
            <a:ext cx="814388" cy="1625600"/>
          </a:xfrm>
          <a:custGeom>
            <a:avLst/>
            <a:gdLst>
              <a:gd name="connsiteX0" fmla="*/ 0 w 814388"/>
              <a:gd name="connsiteY0" fmla="*/ 0 h 1625600"/>
              <a:gd name="connsiteX1" fmla="*/ 480124 w 814388"/>
              <a:gd name="connsiteY1" fmla="*/ 0 h 1625600"/>
              <a:gd name="connsiteX2" fmla="*/ 607124 w 814388"/>
              <a:gd name="connsiteY2" fmla="*/ 127000 h 1625600"/>
              <a:gd name="connsiteX3" fmla="*/ 607124 w 814388"/>
              <a:gd name="connsiteY3" fmla="*/ 349123 h 1625600"/>
              <a:gd name="connsiteX4" fmla="*/ 710756 w 814388"/>
              <a:gd name="connsiteY4" fmla="*/ 452755 h 1625600"/>
              <a:gd name="connsiteX5" fmla="*/ 710756 w 814388"/>
              <a:gd name="connsiteY5" fmla="*/ 452628 h 1625600"/>
              <a:gd name="connsiteX6" fmla="*/ 814388 w 814388"/>
              <a:gd name="connsiteY6" fmla="*/ 556260 h 1625600"/>
              <a:gd name="connsiteX7" fmla="*/ 814388 w 814388"/>
              <a:gd name="connsiteY7" fmla="*/ 1071245 h 1625600"/>
              <a:gd name="connsiteX8" fmla="*/ 710756 w 814388"/>
              <a:gd name="connsiteY8" fmla="*/ 1173861 h 1625600"/>
              <a:gd name="connsiteX9" fmla="*/ 607124 w 814388"/>
              <a:gd name="connsiteY9" fmla="*/ 1276477 h 1625600"/>
              <a:gd name="connsiteX10" fmla="*/ 607124 w 814388"/>
              <a:gd name="connsiteY10" fmla="*/ 1498600 h 1625600"/>
              <a:gd name="connsiteX11" fmla="*/ 480124 w 814388"/>
              <a:gd name="connsiteY11" fmla="*/ 1625600 h 1625600"/>
              <a:gd name="connsiteX12" fmla="*/ 0 w 814388"/>
              <a:gd name="connsiteY12" fmla="*/ 162560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4388" h="1625600">
                <a:moveTo>
                  <a:pt x="0" y="0"/>
                </a:moveTo>
                <a:lnTo>
                  <a:pt x="480124" y="0"/>
                </a:lnTo>
                <a:cubicBezTo>
                  <a:pt x="550291" y="0"/>
                  <a:pt x="607124" y="56833"/>
                  <a:pt x="607124" y="127000"/>
                </a:cubicBezTo>
                <a:lnTo>
                  <a:pt x="607124" y="349123"/>
                </a:lnTo>
                <a:cubicBezTo>
                  <a:pt x="607124" y="406400"/>
                  <a:pt x="653542" y="452755"/>
                  <a:pt x="710756" y="452755"/>
                </a:cubicBezTo>
                <a:lnTo>
                  <a:pt x="710756" y="452628"/>
                </a:lnTo>
                <a:cubicBezTo>
                  <a:pt x="768033" y="452628"/>
                  <a:pt x="814388" y="499046"/>
                  <a:pt x="814388" y="556260"/>
                </a:cubicBezTo>
                <a:lnTo>
                  <a:pt x="814388" y="1071245"/>
                </a:lnTo>
                <a:cubicBezTo>
                  <a:pt x="814388" y="1128332"/>
                  <a:pt x="767779" y="1174433"/>
                  <a:pt x="710756" y="1173861"/>
                </a:cubicBezTo>
                <a:cubicBezTo>
                  <a:pt x="653669" y="1173353"/>
                  <a:pt x="607124" y="1219391"/>
                  <a:pt x="607124" y="1276477"/>
                </a:cubicBezTo>
                <a:lnTo>
                  <a:pt x="607124" y="1498600"/>
                </a:lnTo>
                <a:cubicBezTo>
                  <a:pt x="607124" y="1568767"/>
                  <a:pt x="550291" y="1625600"/>
                  <a:pt x="480124" y="1625600"/>
                </a:cubicBezTo>
                <a:lnTo>
                  <a:pt x="0" y="1625600"/>
                </a:lnTo>
                <a:close/>
              </a:path>
            </a:pathLst>
          </a:custGeom>
          <a:solidFill>
            <a:schemeClr val="bg1"/>
          </a:solidFill>
          <a:effectLst>
            <a:outerShdw blurRad="419100" dist="215900" dir="11280000" algn="tl" rotWithShape="0">
              <a:prstClr val="black">
                <a:alpha val="10000"/>
              </a:prstClr>
            </a:outerShdw>
          </a:effectLst>
        </p:spPr>
        <p:txBody>
          <a:bodyPr wrap="square" bIns="684000" anchor="ctr" anchorCtr="0">
            <a:noAutofit/>
          </a:bodyPr>
          <a:lstStyle>
            <a:lvl1pPr algn="ctr">
              <a:defRPr/>
            </a:lvl1pPr>
          </a:lstStyle>
          <a:p>
            <a:r>
              <a:rPr lang="nl-NL"/>
              <a:t>Afbeelding</a:t>
            </a:r>
            <a:endParaRPr lang="nl-NL" dirty="0"/>
          </a:p>
        </p:txBody>
      </p:sp>
      <p:sp>
        <p:nvSpPr>
          <p:cNvPr id="33" name="Tijdelijke aanduiding voor afbeelding 32">
            <a:extLst>
              <a:ext uri="{FF2B5EF4-FFF2-40B4-BE49-F238E27FC236}">
                <a16:creationId xmlns:a16="http://schemas.microsoft.com/office/drawing/2014/main" id="{FC4005E8-67C3-75EA-AC3F-AC65AEC0B49B}"/>
              </a:ext>
            </a:extLst>
          </p:cNvPr>
          <p:cNvSpPr>
            <a:spLocks noGrp="1"/>
          </p:cNvSpPr>
          <p:nvPr>
            <p:ph type="pic" sz="quarter" idx="35" hasCustomPrompt="1"/>
          </p:nvPr>
        </p:nvSpPr>
        <p:spPr>
          <a:xfrm>
            <a:off x="4061329" y="1510031"/>
            <a:ext cx="3817116" cy="1625727"/>
          </a:xfrm>
          <a:custGeom>
            <a:avLst/>
            <a:gdLst>
              <a:gd name="connsiteX0" fmla="*/ 338586 w 3817116"/>
              <a:gd name="connsiteY0" fmla="*/ 0 h 1625727"/>
              <a:gd name="connsiteX1" fmla="*/ 3482852 w 3817116"/>
              <a:gd name="connsiteY1" fmla="*/ 0 h 1625727"/>
              <a:gd name="connsiteX2" fmla="*/ 3609852 w 3817116"/>
              <a:gd name="connsiteY2" fmla="*/ 127000 h 1625727"/>
              <a:gd name="connsiteX3" fmla="*/ 3609852 w 3817116"/>
              <a:gd name="connsiteY3" fmla="*/ 349123 h 1625727"/>
              <a:gd name="connsiteX4" fmla="*/ 3713484 w 3817116"/>
              <a:gd name="connsiteY4" fmla="*/ 452755 h 1625727"/>
              <a:gd name="connsiteX5" fmla="*/ 3817116 w 3817116"/>
              <a:gd name="connsiteY5" fmla="*/ 556387 h 1625727"/>
              <a:gd name="connsiteX6" fmla="*/ 3817116 w 3817116"/>
              <a:gd name="connsiteY6" fmla="*/ 1071372 h 1625727"/>
              <a:gd name="connsiteX7" fmla="*/ 3713484 w 3817116"/>
              <a:gd name="connsiteY7" fmla="*/ 1173988 h 1625727"/>
              <a:gd name="connsiteX8" fmla="*/ 3609852 w 3817116"/>
              <a:gd name="connsiteY8" fmla="*/ 1276604 h 1625727"/>
              <a:gd name="connsiteX9" fmla="*/ 3609852 w 3817116"/>
              <a:gd name="connsiteY9" fmla="*/ 1498727 h 1625727"/>
              <a:gd name="connsiteX10" fmla="*/ 3482852 w 3817116"/>
              <a:gd name="connsiteY10" fmla="*/ 1625727 h 1625727"/>
              <a:gd name="connsiteX11" fmla="*/ 338586 w 3817116"/>
              <a:gd name="connsiteY11" fmla="*/ 1625727 h 1625727"/>
              <a:gd name="connsiteX12" fmla="*/ 211586 w 3817116"/>
              <a:gd name="connsiteY12" fmla="*/ 1498727 h 1625727"/>
              <a:gd name="connsiteX13" fmla="*/ 211586 w 3817116"/>
              <a:gd name="connsiteY13" fmla="*/ 1278827 h 1625727"/>
              <a:gd name="connsiteX14" fmla="*/ 105795 w 3817116"/>
              <a:gd name="connsiteY14" fmla="*/ 1173036 h 1625727"/>
              <a:gd name="connsiteX15" fmla="*/ 4 w 3817116"/>
              <a:gd name="connsiteY15" fmla="*/ 1066483 h 1625727"/>
              <a:gd name="connsiteX16" fmla="*/ 3687 w 3817116"/>
              <a:gd name="connsiteY16" fmla="*/ 556133 h 1625727"/>
              <a:gd name="connsiteX17" fmla="*/ 107637 w 3817116"/>
              <a:gd name="connsiteY17" fmla="*/ 452882 h 1625727"/>
              <a:gd name="connsiteX18" fmla="*/ 211586 w 3817116"/>
              <a:gd name="connsiteY18" fmla="*/ 348933 h 1625727"/>
              <a:gd name="connsiteX19" fmla="*/ 211586 w 3817116"/>
              <a:gd name="connsiteY19" fmla="*/ 127000 h 1625727"/>
              <a:gd name="connsiteX20" fmla="*/ 338586 w 3817116"/>
              <a:gd name="connsiteY20" fmla="*/ 0 h 162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17116" h="1625727">
                <a:moveTo>
                  <a:pt x="338586" y="0"/>
                </a:moveTo>
                <a:lnTo>
                  <a:pt x="3482852" y="0"/>
                </a:lnTo>
                <a:cubicBezTo>
                  <a:pt x="3553019" y="0"/>
                  <a:pt x="3609852" y="56833"/>
                  <a:pt x="3609852" y="127000"/>
                </a:cubicBezTo>
                <a:lnTo>
                  <a:pt x="3609852" y="349123"/>
                </a:lnTo>
                <a:cubicBezTo>
                  <a:pt x="3609852" y="406337"/>
                  <a:pt x="3656207" y="452755"/>
                  <a:pt x="3713484" y="452755"/>
                </a:cubicBezTo>
                <a:cubicBezTo>
                  <a:pt x="3770761" y="452755"/>
                  <a:pt x="3817116" y="499110"/>
                  <a:pt x="3817116" y="556387"/>
                </a:cubicBezTo>
                <a:lnTo>
                  <a:pt x="3817116" y="1071372"/>
                </a:lnTo>
                <a:cubicBezTo>
                  <a:pt x="3817116" y="1128459"/>
                  <a:pt x="3770571" y="1174496"/>
                  <a:pt x="3713484" y="1173988"/>
                </a:cubicBezTo>
                <a:cubicBezTo>
                  <a:pt x="3656461" y="1173417"/>
                  <a:pt x="3609852" y="1219518"/>
                  <a:pt x="3609852" y="1276604"/>
                </a:cubicBezTo>
                <a:lnTo>
                  <a:pt x="3609852" y="1498727"/>
                </a:lnTo>
                <a:cubicBezTo>
                  <a:pt x="3609852" y="1568895"/>
                  <a:pt x="3553019" y="1625727"/>
                  <a:pt x="3482852" y="1625727"/>
                </a:cubicBezTo>
                <a:lnTo>
                  <a:pt x="338586" y="1625727"/>
                </a:lnTo>
                <a:cubicBezTo>
                  <a:pt x="268418" y="1625727"/>
                  <a:pt x="211586" y="1568895"/>
                  <a:pt x="211586" y="1498727"/>
                </a:cubicBezTo>
                <a:lnTo>
                  <a:pt x="211586" y="1278827"/>
                </a:lnTo>
                <a:cubicBezTo>
                  <a:pt x="211586" y="1220407"/>
                  <a:pt x="164215" y="1173036"/>
                  <a:pt x="105795" y="1173036"/>
                </a:cubicBezTo>
                <a:cubicBezTo>
                  <a:pt x="47375" y="1173036"/>
                  <a:pt x="-440" y="1125220"/>
                  <a:pt x="4" y="1066483"/>
                </a:cubicBezTo>
                <a:lnTo>
                  <a:pt x="3687" y="556133"/>
                </a:lnTo>
                <a:cubicBezTo>
                  <a:pt x="4068" y="498983"/>
                  <a:pt x="50550" y="452882"/>
                  <a:pt x="107637" y="452882"/>
                </a:cubicBezTo>
                <a:cubicBezTo>
                  <a:pt x="164723" y="452882"/>
                  <a:pt x="211586" y="406337"/>
                  <a:pt x="211586" y="348933"/>
                </a:cubicBezTo>
                <a:lnTo>
                  <a:pt x="211586" y="127000"/>
                </a:lnTo>
                <a:cubicBezTo>
                  <a:pt x="211586" y="56833"/>
                  <a:pt x="268418" y="0"/>
                  <a:pt x="338586" y="0"/>
                </a:cubicBezTo>
                <a:close/>
              </a:path>
            </a:pathLst>
          </a:custGeom>
          <a:solidFill>
            <a:schemeClr val="bg1"/>
          </a:solidFill>
          <a:effectLst>
            <a:outerShdw blurRad="419100" dist="215900" dir="11280000" algn="tl" rotWithShape="0">
              <a:prstClr val="black">
                <a:alpha val="10000"/>
              </a:prstClr>
            </a:outerShdw>
          </a:effectLst>
        </p:spPr>
        <p:txBody>
          <a:bodyPr wrap="square" lIns="144000" tIns="0" rIns="144000" bIns="0" anchor="ctr" anchorCtr="0">
            <a:noAutofit/>
          </a:bodyPr>
          <a:lstStyle>
            <a:lvl1pPr algn="ctr">
              <a:defRPr/>
            </a:lvl1pPr>
          </a:lstStyle>
          <a:p>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endParaRPr lang="nl-NL" dirty="0"/>
          </a:p>
        </p:txBody>
      </p:sp>
      <p:sp>
        <p:nvSpPr>
          <p:cNvPr id="32" name="Tijdelijke aanduiding voor afbeelding 31">
            <a:extLst>
              <a:ext uri="{FF2B5EF4-FFF2-40B4-BE49-F238E27FC236}">
                <a16:creationId xmlns:a16="http://schemas.microsoft.com/office/drawing/2014/main" id="{A395DE97-0851-85B2-B293-C048A34F0000}"/>
              </a:ext>
            </a:extLst>
          </p:cNvPr>
          <p:cNvSpPr>
            <a:spLocks noGrp="1"/>
          </p:cNvSpPr>
          <p:nvPr>
            <p:ph type="pic" sz="quarter" idx="36" hasCustomPrompt="1"/>
          </p:nvPr>
        </p:nvSpPr>
        <p:spPr>
          <a:xfrm>
            <a:off x="7740650" y="1510030"/>
            <a:ext cx="4451414" cy="1625600"/>
          </a:xfrm>
          <a:custGeom>
            <a:avLst/>
            <a:gdLst>
              <a:gd name="connsiteX0" fmla="*/ 127000 w 4451414"/>
              <a:gd name="connsiteY0" fmla="*/ 0 h 1625600"/>
              <a:gd name="connsiteX1" fmla="*/ 4451350 w 4451414"/>
              <a:gd name="connsiteY1" fmla="*/ 0 h 1625600"/>
              <a:gd name="connsiteX2" fmla="*/ 4451414 w 4451414"/>
              <a:gd name="connsiteY2" fmla="*/ 0 h 1625600"/>
              <a:gd name="connsiteX3" fmla="*/ 4451414 w 4451414"/>
              <a:gd name="connsiteY3" fmla="*/ 1625600 h 1625600"/>
              <a:gd name="connsiteX4" fmla="*/ 127064 w 4451414"/>
              <a:gd name="connsiteY4" fmla="*/ 1625600 h 1625600"/>
              <a:gd name="connsiteX5" fmla="*/ 64 w 4451414"/>
              <a:gd name="connsiteY5" fmla="*/ 1498600 h 1625600"/>
              <a:gd name="connsiteX6" fmla="*/ 64 w 4451414"/>
              <a:gd name="connsiteY6" fmla="*/ 1313180 h 1625600"/>
              <a:gd name="connsiteX7" fmla="*/ 94044 w 4451414"/>
              <a:gd name="connsiteY7" fmla="*/ 1219200 h 1625600"/>
              <a:gd name="connsiteX8" fmla="*/ 188023 w 4451414"/>
              <a:gd name="connsiteY8" fmla="*/ 1126046 h 1625600"/>
              <a:gd name="connsiteX9" fmla="*/ 193548 w 4451414"/>
              <a:gd name="connsiteY9" fmla="*/ 504000 h 1625600"/>
              <a:gd name="connsiteX10" fmla="*/ 96774 w 4451414"/>
              <a:gd name="connsiteY10" fmla="*/ 406400 h 1625600"/>
              <a:gd name="connsiteX11" fmla="*/ 0 w 4451414"/>
              <a:gd name="connsiteY11" fmla="*/ 309626 h 1625600"/>
              <a:gd name="connsiteX12" fmla="*/ 0 w 4451414"/>
              <a:gd name="connsiteY12" fmla="*/ 127000 h 1625600"/>
              <a:gd name="connsiteX13" fmla="*/ 127000 w 4451414"/>
              <a:gd name="connsiteY13"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51414" h="1625600">
                <a:moveTo>
                  <a:pt x="127000" y="0"/>
                </a:moveTo>
                <a:lnTo>
                  <a:pt x="4451350" y="0"/>
                </a:lnTo>
                <a:lnTo>
                  <a:pt x="4451414" y="0"/>
                </a:lnTo>
                <a:lnTo>
                  <a:pt x="4451414" y="1625600"/>
                </a:lnTo>
                <a:lnTo>
                  <a:pt x="127064" y="1625600"/>
                </a:lnTo>
                <a:cubicBezTo>
                  <a:pt x="56896" y="1625600"/>
                  <a:pt x="64" y="1568768"/>
                  <a:pt x="64" y="1498600"/>
                </a:cubicBezTo>
                <a:lnTo>
                  <a:pt x="64" y="1313180"/>
                </a:lnTo>
                <a:cubicBezTo>
                  <a:pt x="64" y="1261301"/>
                  <a:pt x="42481" y="1219200"/>
                  <a:pt x="94044" y="1219200"/>
                </a:cubicBezTo>
                <a:cubicBezTo>
                  <a:pt x="145606" y="1219200"/>
                  <a:pt x="187579" y="1177608"/>
                  <a:pt x="188023" y="1126046"/>
                </a:cubicBezTo>
                <a:lnTo>
                  <a:pt x="193548" y="504000"/>
                </a:lnTo>
                <a:cubicBezTo>
                  <a:pt x="193993" y="450215"/>
                  <a:pt x="150241" y="406400"/>
                  <a:pt x="96774" y="406400"/>
                </a:cubicBezTo>
                <a:cubicBezTo>
                  <a:pt x="43307" y="406400"/>
                  <a:pt x="0" y="363093"/>
                  <a:pt x="0" y="309626"/>
                </a:cubicBez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lIns="252000" tIns="0" rIns="252000" bIns="0" anchor="ctr" anchorCtr="0">
            <a:noAutofit/>
          </a:bodyPr>
          <a:lstStyle>
            <a:lvl1pPr algn="ctr">
              <a:defRPr/>
            </a:lvl1pPr>
          </a:lstStyle>
          <a:p>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endParaRPr lang="nl-NL" dirty="0"/>
          </a:p>
        </p:txBody>
      </p:sp>
      <p:sp>
        <p:nvSpPr>
          <p:cNvPr id="40" name="Tijdelijke aanduiding voor afbeelding 39">
            <a:extLst>
              <a:ext uri="{FF2B5EF4-FFF2-40B4-BE49-F238E27FC236}">
                <a16:creationId xmlns:a16="http://schemas.microsoft.com/office/drawing/2014/main" id="{DBCB3DF0-8D7C-3873-B7E1-493BBA1834BA}"/>
              </a:ext>
            </a:extLst>
          </p:cNvPr>
          <p:cNvSpPr>
            <a:spLocks noGrp="1"/>
          </p:cNvSpPr>
          <p:nvPr>
            <p:ph type="pic" sz="quarter" idx="39" hasCustomPrompt="1"/>
          </p:nvPr>
        </p:nvSpPr>
        <p:spPr>
          <a:xfrm>
            <a:off x="698501" y="3865880"/>
            <a:ext cx="3507613" cy="1625600"/>
          </a:xfrm>
          <a:custGeom>
            <a:avLst/>
            <a:gdLst>
              <a:gd name="connsiteX0" fmla="*/ 127000 w 3507613"/>
              <a:gd name="connsiteY0" fmla="*/ 0 h 1625600"/>
              <a:gd name="connsiteX1" fmla="*/ 3380613 w 3507613"/>
              <a:gd name="connsiteY1" fmla="*/ 0 h 1625600"/>
              <a:gd name="connsiteX2" fmla="*/ 3507613 w 3507613"/>
              <a:gd name="connsiteY2" fmla="*/ 127000 h 1625600"/>
              <a:gd name="connsiteX3" fmla="*/ 3507613 w 3507613"/>
              <a:gd name="connsiteY3" fmla="*/ 299466 h 1625600"/>
              <a:gd name="connsiteX4" fmla="*/ 3400679 w 3507613"/>
              <a:gd name="connsiteY4" fmla="*/ 406400 h 1625600"/>
              <a:gd name="connsiteX5" fmla="*/ 3293745 w 3507613"/>
              <a:gd name="connsiteY5" fmla="*/ 513334 h 1625600"/>
              <a:gd name="connsiteX6" fmla="*/ 3293745 w 3507613"/>
              <a:gd name="connsiteY6" fmla="*/ 1114298 h 1625600"/>
              <a:gd name="connsiteX7" fmla="*/ 3400679 w 3507613"/>
              <a:gd name="connsiteY7" fmla="*/ 1220216 h 1625600"/>
              <a:gd name="connsiteX8" fmla="*/ 3507613 w 3507613"/>
              <a:gd name="connsiteY8" fmla="*/ 1326134 h 1625600"/>
              <a:gd name="connsiteX9" fmla="*/ 3507613 w 3507613"/>
              <a:gd name="connsiteY9" fmla="*/ 1498600 h 1625600"/>
              <a:gd name="connsiteX10" fmla="*/ 3380613 w 3507613"/>
              <a:gd name="connsiteY10" fmla="*/ 1625600 h 1625600"/>
              <a:gd name="connsiteX11" fmla="*/ 127000 w 3507613"/>
              <a:gd name="connsiteY11" fmla="*/ 1625600 h 1625600"/>
              <a:gd name="connsiteX12" fmla="*/ 0 w 3507613"/>
              <a:gd name="connsiteY12" fmla="*/ 1498600 h 1625600"/>
              <a:gd name="connsiteX13" fmla="*/ 0 w 3507613"/>
              <a:gd name="connsiteY13" fmla="*/ 1320800 h 1625600"/>
              <a:gd name="connsiteX14" fmla="*/ 101600 w 3507613"/>
              <a:gd name="connsiteY14" fmla="*/ 1219200 h 1625600"/>
              <a:gd name="connsiteX15" fmla="*/ 203200 w 3507613"/>
              <a:gd name="connsiteY15" fmla="*/ 1117600 h 1625600"/>
              <a:gd name="connsiteX16" fmla="*/ 203200 w 3507613"/>
              <a:gd name="connsiteY16" fmla="*/ 508000 h 1625600"/>
              <a:gd name="connsiteX17" fmla="*/ 101600 w 3507613"/>
              <a:gd name="connsiteY17" fmla="*/ 406400 h 1625600"/>
              <a:gd name="connsiteX18" fmla="*/ 0 w 3507613"/>
              <a:gd name="connsiteY18" fmla="*/ 304800 h 1625600"/>
              <a:gd name="connsiteX19" fmla="*/ 0 w 3507613"/>
              <a:gd name="connsiteY19" fmla="*/ 127000 h 1625600"/>
              <a:gd name="connsiteX20" fmla="*/ 127000 w 3507613"/>
              <a:gd name="connsiteY20"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7613" h="1625600">
                <a:moveTo>
                  <a:pt x="127000" y="0"/>
                </a:moveTo>
                <a:lnTo>
                  <a:pt x="3380613" y="0"/>
                </a:lnTo>
                <a:cubicBezTo>
                  <a:pt x="3450781" y="0"/>
                  <a:pt x="3507613" y="56833"/>
                  <a:pt x="3507613" y="127000"/>
                </a:cubicBezTo>
                <a:lnTo>
                  <a:pt x="3507613" y="299466"/>
                </a:lnTo>
                <a:cubicBezTo>
                  <a:pt x="3507613" y="358521"/>
                  <a:pt x="3459734" y="406400"/>
                  <a:pt x="3400679" y="406400"/>
                </a:cubicBezTo>
                <a:cubicBezTo>
                  <a:pt x="3341624" y="406400"/>
                  <a:pt x="3293745" y="454279"/>
                  <a:pt x="3293745" y="513334"/>
                </a:cubicBezTo>
                <a:lnTo>
                  <a:pt x="3293745" y="1114298"/>
                </a:lnTo>
                <a:cubicBezTo>
                  <a:pt x="3293745" y="1173226"/>
                  <a:pt x="3341815" y="1220788"/>
                  <a:pt x="3400679" y="1220216"/>
                </a:cubicBezTo>
                <a:cubicBezTo>
                  <a:pt x="3459544" y="1219645"/>
                  <a:pt x="3507613" y="1267206"/>
                  <a:pt x="3507613" y="1326134"/>
                </a:cubicBezTo>
                <a:lnTo>
                  <a:pt x="3507613" y="1498600"/>
                </a:lnTo>
                <a:cubicBezTo>
                  <a:pt x="3507613" y="1568767"/>
                  <a:pt x="3450781" y="1625600"/>
                  <a:pt x="3380613" y="1625600"/>
                </a:cubicBezTo>
                <a:lnTo>
                  <a:pt x="127000" y="1625600"/>
                </a:lnTo>
                <a:cubicBezTo>
                  <a:pt x="56832" y="1625600"/>
                  <a:pt x="0" y="1568767"/>
                  <a:pt x="0" y="1498600"/>
                </a:cubicBezTo>
                <a:lnTo>
                  <a:pt x="0" y="1320800"/>
                </a:lnTo>
                <a:cubicBezTo>
                  <a:pt x="0" y="1264666"/>
                  <a:pt x="45466" y="1219200"/>
                  <a:pt x="101600" y="1219200"/>
                </a:cubicBezTo>
                <a:cubicBezTo>
                  <a:pt x="157734" y="1219200"/>
                  <a:pt x="203200" y="1173734"/>
                  <a:pt x="203200" y="1117600"/>
                </a:cubicBezTo>
                <a:lnTo>
                  <a:pt x="203200" y="508000"/>
                </a:lnTo>
                <a:cubicBezTo>
                  <a:pt x="203200" y="451866"/>
                  <a:pt x="157734" y="406400"/>
                  <a:pt x="101600" y="406400"/>
                </a:cubicBezTo>
                <a:cubicBezTo>
                  <a:pt x="45466" y="406400"/>
                  <a:pt x="0" y="360934"/>
                  <a:pt x="0" y="304800"/>
                </a:cubicBez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lIns="252000" rIns="252000" bIns="0" anchor="ctr" anchorCtr="0">
            <a:noAutofit/>
          </a:bodyPr>
          <a:lstStyle>
            <a:lvl1pPr algn="ctr">
              <a:defRPr/>
            </a:lvl1p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p>
        </p:txBody>
      </p:sp>
      <p:sp>
        <p:nvSpPr>
          <p:cNvPr id="38" name="Tijdelijke aanduiding voor afbeelding 37">
            <a:extLst>
              <a:ext uri="{FF2B5EF4-FFF2-40B4-BE49-F238E27FC236}">
                <a16:creationId xmlns:a16="http://schemas.microsoft.com/office/drawing/2014/main" id="{76B109F6-5041-F856-126F-5994D86F86A2}"/>
              </a:ext>
            </a:extLst>
          </p:cNvPr>
          <p:cNvSpPr>
            <a:spLocks noGrp="1"/>
          </p:cNvSpPr>
          <p:nvPr>
            <p:ph type="pic" sz="quarter" idx="38" hasCustomPrompt="1"/>
          </p:nvPr>
        </p:nvSpPr>
        <p:spPr>
          <a:xfrm>
            <a:off x="4061329" y="3865881"/>
            <a:ext cx="3817116" cy="1625727"/>
          </a:xfrm>
          <a:custGeom>
            <a:avLst/>
            <a:gdLst>
              <a:gd name="connsiteX0" fmla="*/ 338586 w 3817116"/>
              <a:gd name="connsiteY0" fmla="*/ 0 h 1625727"/>
              <a:gd name="connsiteX1" fmla="*/ 3482852 w 3817116"/>
              <a:gd name="connsiteY1" fmla="*/ 0 h 1625727"/>
              <a:gd name="connsiteX2" fmla="*/ 3609852 w 3817116"/>
              <a:gd name="connsiteY2" fmla="*/ 127000 h 1625727"/>
              <a:gd name="connsiteX3" fmla="*/ 3609852 w 3817116"/>
              <a:gd name="connsiteY3" fmla="*/ 349123 h 1625727"/>
              <a:gd name="connsiteX4" fmla="*/ 3713484 w 3817116"/>
              <a:gd name="connsiteY4" fmla="*/ 452755 h 1625727"/>
              <a:gd name="connsiteX5" fmla="*/ 3817116 w 3817116"/>
              <a:gd name="connsiteY5" fmla="*/ 556387 h 1625727"/>
              <a:gd name="connsiteX6" fmla="*/ 3817116 w 3817116"/>
              <a:gd name="connsiteY6" fmla="*/ 1071372 h 1625727"/>
              <a:gd name="connsiteX7" fmla="*/ 3713484 w 3817116"/>
              <a:gd name="connsiteY7" fmla="*/ 1173988 h 1625727"/>
              <a:gd name="connsiteX8" fmla="*/ 3609852 w 3817116"/>
              <a:gd name="connsiteY8" fmla="*/ 1276604 h 1625727"/>
              <a:gd name="connsiteX9" fmla="*/ 3609852 w 3817116"/>
              <a:gd name="connsiteY9" fmla="*/ 1498727 h 1625727"/>
              <a:gd name="connsiteX10" fmla="*/ 3482852 w 3817116"/>
              <a:gd name="connsiteY10" fmla="*/ 1625727 h 1625727"/>
              <a:gd name="connsiteX11" fmla="*/ 338586 w 3817116"/>
              <a:gd name="connsiteY11" fmla="*/ 1625727 h 1625727"/>
              <a:gd name="connsiteX12" fmla="*/ 211586 w 3817116"/>
              <a:gd name="connsiteY12" fmla="*/ 1498727 h 1625727"/>
              <a:gd name="connsiteX13" fmla="*/ 211586 w 3817116"/>
              <a:gd name="connsiteY13" fmla="*/ 1278827 h 1625727"/>
              <a:gd name="connsiteX14" fmla="*/ 105795 w 3817116"/>
              <a:gd name="connsiteY14" fmla="*/ 1173035 h 1625727"/>
              <a:gd name="connsiteX15" fmla="*/ 4 w 3817116"/>
              <a:gd name="connsiteY15" fmla="*/ 1066483 h 1625727"/>
              <a:gd name="connsiteX16" fmla="*/ 3687 w 3817116"/>
              <a:gd name="connsiteY16" fmla="*/ 556133 h 1625727"/>
              <a:gd name="connsiteX17" fmla="*/ 107637 w 3817116"/>
              <a:gd name="connsiteY17" fmla="*/ 452882 h 1625727"/>
              <a:gd name="connsiteX18" fmla="*/ 211586 w 3817116"/>
              <a:gd name="connsiteY18" fmla="*/ 348933 h 1625727"/>
              <a:gd name="connsiteX19" fmla="*/ 211586 w 3817116"/>
              <a:gd name="connsiteY19" fmla="*/ 127190 h 1625727"/>
              <a:gd name="connsiteX20" fmla="*/ 211586 w 3817116"/>
              <a:gd name="connsiteY20" fmla="*/ 127000 h 1625727"/>
              <a:gd name="connsiteX21" fmla="*/ 338586 w 3817116"/>
              <a:gd name="connsiteY21" fmla="*/ 0 h 162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7116" h="1625727">
                <a:moveTo>
                  <a:pt x="338586" y="0"/>
                </a:moveTo>
                <a:lnTo>
                  <a:pt x="3482852" y="0"/>
                </a:lnTo>
                <a:cubicBezTo>
                  <a:pt x="3553019" y="0"/>
                  <a:pt x="3609852" y="56833"/>
                  <a:pt x="3609852" y="127000"/>
                </a:cubicBezTo>
                <a:lnTo>
                  <a:pt x="3609852" y="349123"/>
                </a:lnTo>
                <a:cubicBezTo>
                  <a:pt x="3609852" y="406336"/>
                  <a:pt x="3656207" y="452755"/>
                  <a:pt x="3713484" y="452755"/>
                </a:cubicBezTo>
                <a:cubicBezTo>
                  <a:pt x="3770761" y="452755"/>
                  <a:pt x="3817116" y="499110"/>
                  <a:pt x="3817116" y="556387"/>
                </a:cubicBezTo>
                <a:lnTo>
                  <a:pt x="3817116" y="1071372"/>
                </a:lnTo>
                <a:cubicBezTo>
                  <a:pt x="3817116" y="1128459"/>
                  <a:pt x="3770571" y="1174496"/>
                  <a:pt x="3713484" y="1173988"/>
                </a:cubicBezTo>
                <a:cubicBezTo>
                  <a:pt x="3656461" y="1173416"/>
                  <a:pt x="3609852" y="1219517"/>
                  <a:pt x="3609852" y="1276604"/>
                </a:cubicBezTo>
                <a:lnTo>
                  <a:pt x="3609852" y="1498727"/>
                </a:lnTo>
                <a:cubicBezTo>
                  <a:pt x="3609852" y="1568895"/>
                  <a:pt x="3553019" y="1625727"/>
                  <a:pt x="3482852" y="1625727"/>
                </a:cubicBezTo>
                <a:lnTo>
                  <a:pt x="338586" y="1625727"/>
                </a:lnTo>
                <a:cubicBezTo>
                  <a:pt x="268418" y="1625727"/>
                  <a:pt x="211586" y="1568895"/>
                  <a:pt x="211586" y="1498727"/>
                </a:cubicBezTo>
                <a:lnTo>
                  <a:pt x="211586" y="1278827"/>
                </a:lnTo>
                <a:cubicBezTo>
                  <a:pt x="211586" y="1220407"/>
                  <a:pt x="164215" y="1173035"/>
                  <a:pt x="105795" y="1173035"/>
                </a:cubicBezTo>
                <a:cubicBezTo>
                  <a:pt x="47375" y="1173035"/>
                  <a:pt x="-440" y="1125220"/>
                  <a:pt x="4" y="1066483"/>
                </a:cubicBezTo>
                <a:lnTo>
                  <a:pt x="3687" y="556133"/>
                </a:lnTo>
                <a:cubicBezTo>
                  <a:pt x="4068" y="498983"/>
                  <a:pt x="50550" y="452882"/>
                  <a:pt x="107637" y="452882"/>
                </a:cubicBezTo>
                <a:cubicBezTo>
                  <a:pt x="164723" y="452882"/>
                  <a:pt x="211586" y="406336"/>
                  <a:pt x="211586" y="348933"/>
                </a:cubicBezTo>
                <a:lnTo>
                  <a:pt x="211586" y="127190"/>
                </a:lnTo>
                <a:lnTo>
                  <a:pt x="211586" y="127000"/>
                </a:lnTo>
                <a:cubicBezTo>
                  <a:pt x="211586" y="56833"/>
                  <a:pt x="268418" y="0"/>
                  <a:pt x="338586" y="0"/>
                </a:cubicBezTo>
                <a:close/>
              </a:path>
            </a:pathLst>
          </a:custGeom>
          <a:solidFill>
            <a:schemeClr val="bg1"/>
          </a:solidFill>
          <a:effectLst>
            <a:outerShdw blurRad="419100" dist="215900" dir="11280000" algn="tl" rotWithShape="0">
              <a:prstClr val="black">
                <a:alpha val="10000"/>
              </a:prstClr>
            </a:outerShdw>
          </a:effectLst>
        </p:spPr>
        <p:txBody>
          <a:bodyPr wrap="square" lIns="144000" rIns="144000" bIns="0" anchor="ctr" anchorCtr="0">
            <a:noAutofit/>
          </a:bodyPr>
          <a:lstStyle>
            <a:lvl1pPr algn="ctr">
              <a:defRPr/>
            </a:lvl1p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p>
        </p:txBody>
      </p:sp>
      <p:sp>
        <p:nvSpPr>
          <p:cNvPr id="36" name="Tijdelijke aanduiding voor afbeelding 35">
            <a:extLst>
              <a:ext uri="{FF2B5EF4-FFF2-40B4-BE49-F238E27FC236}">
                <a16:creationId xmlns:a16="http://schemas.microsoft.com/office/drawing/2014/main" id="{DCAA040B-A49A-DC69-FFDF-452B80A73AFF}"/>
              </a:ext>
            </a:extLst>
          </p:cNvPr>
          <p:cNvSpPr>
            <a:spLocks noGrp="1"/>
          </p:cNvSpPr>
          <p:nvPr>
            <p:ph type="pic" sz="quarter" idx="37" hasCustomPrompt="1"/>
          </p:nvPr>
        </p:nvSpPr>
        <p:spPr>
          <a:xfrm>
            <a:off x="7739126" y="3865880"/>
            <a:ext cx="3817874" cy="1625600"/>
          </a:xfrm>
          <a:custGeom>
            <a:avLst/>
            <a:gdLst>
              <a:gd name="connsiteX0" fmla="*/ 127000 w 3817874"/>
              <a:gd name="connsiteY0" fmla="*/ 0 h 1625600"/>
              <a:gd name="connsiteX1" fmla="*/ 3690874 w 3817874"/>
              <a:gd name="connsiteY1" fmla="*/ 0 h 1625600"/>
              <a:gd name="connsiteX2" fmla="*/ 3817874 w 3817874"/>
              <a:gd name="connsiteY2" fmla="*/ 127000 h 1625600"/>
              <a:gd name="connsiteX3" fmla="*/ 3817874 w 3817874"/>
              <a:gd name="connsiteY3" fmla="*/ 1498600 h 1625600"/>
              <a:gd name="connsiteX4" fmla="*/ 3690874 w 3817874"/>
              <a:gd name="connsiteY4" fmla="*/ 1625600 h 1625600"/>
              <a:gd name="connsiteX5" fmla="*/ 127000 w 3817874"/>
              <a:gd name="connsiteY5" fmla="*/ 1625600 h 1625600"/>
              <a:gd name="connsiteX6" fmla="*/ 0 w 3817874"/>
              <a:gd name="connsiteY6" fmla="*/ 1498600 h 1625600"/>
              <a:gd name="connsiteX7" fmla="*/ 0 w 3817874"/>
              <a:gd name="connsiteY7" fmla="*/ 1333119 h 1625600"/>
              <a:gd name="connsiteX8" fmla="*/ 113919 w 3817874"/>
              <a:gd name="connsiteY8" fmla="*/ 1219200 h 1625600"/>
              <a:gd name="connsiteX9" fmla="*/ 227838 w 3817874"/>
              <a:gd name="connsiteY9" fmla="*/ 1106107 h 1625600"/>
              <a:gd name="connsiteX10" fmla="*/ 232029 w 3817874"/>
              <a:gd name="connsiteY10" fmla="*/ 523177 h 1625600"/>
              <a:gd name="connsiteX11" fmla="*/ 116078 w 3817874"/>
              <a:gd name="connsiteY11" fmla="*/ 406336 h 1625600"/>
              <a:gd name="connsiteX12" fmla="*/ 127 w 3817874"/>
              <a:gd name="connsiteY12" fmla="*/ 290386 h 1625600"/>
              <a:gd name="connsiteX13" fmla="*/ 127 w 3817874"/>
              <a:gd name="connsiteY13" fmla="*/ 126936 h 1625600"/>
              <a:gd name="connsiteX14" fmla="*/ 0 w 3817874"/>
              <a:gd name="connsiteY14" fmla="*/ 127000 h 1625600"/>
              <a:gd name="connsiteX15" fmla="*/ 127000 w 3817874"/>
              <a:gd name="connsiteY15"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7874" h="1625600">
                <a:moveTo>
                  <a:pt x="127000" y="0"/>
                </a:moveTo>
                <a:lnTo>
                  <a:pt x="3690874" y="0"/>
                </a:lnTo>
                <a:cubicBezTo>
                  <a:pt x="3761042" y="0"/>
                  <a:pt x="3817874" y="56833"/>
                  <a:pt x="3817874" y="127000"/>
                </a:cubicBezTo>
                <a:lnTo>
                  <a:pt x="3817874" y="1498600"/>
                </a:lnTo>
                <a:cubicBezTo>
                  <a:pt x="3817874" y="1568767"/>
                  <a:pt x="3761042" y="1625600"/>
                  <a:pt x="3690874" y="1625600"/>
                </a:cubicBezTo>
                <a:lnTo>
                  <a:pt x="127000" y="1625600"/>
                </a:lnTo>
                <a:cubicBezTo>
                  <a:pt x="56832" y="1625600"/>
                  <a:pt x="0" y="1568767"/>
                  <a:pt x="0" y="1498600"/>
                </a:cubicBezTo>
                <a:lnTo>
                  <a:pt x="0" y="1333119"/>
                </a:lnTo>
                <a:cubicBezTo>
                  <a:pt x="0" y="1270191"/>
                  <a:pt x="50991" y="1219200"/>
                  <a:pt x="113919" y="1219200"/>
                </a:cubicBezTo>
                <a:cubicBezTo>
                  <a:pt x="176847" y="1219200"/>
                  <a:pt x="227393" y="1168717"/>
                  <a:pt x="227838" y="1106107"/>
                </a:cubicBezTo>
                <a:lnTo>
                  <a:pt x="232029" y="523177"/>
                </a:lnTo>
                <a:cubicBezTo>
                  <a:pt x="232473" y="458788"/>
                  <a:pt x="180404" y="406336"/>
                  <a:pt x="116078" y="406336"/>
                </a:cubicBezTo>
                <a:cubicBezTo>
                  <a:pt x="51753" y="406336"/>
                  <a:pt x="127" y="354394"/>
                  <a:pt x="127" y="290386"/>
                </a:cubicBezTo>
                <a:lnTo>
                  <a:pt x="127" y="126936"/>
                </a:ln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lIns="216000" rIns="216000" bIns="0" anchor="ctr" anchorCtr="0">
            <a:noAutofit/>
          </a:bodyPr>
          <a:lstStyle>
            <a:lvl1pPr algn="ctr">
              <a:defRPr/>
            </a:lvl1p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p>
        </p:txBody>
      </p:sp>
    </p:spTree>
    <p:extLst>
      <p:ext uri="{BB962C8B-B14F-4D97-AF65-F5344CB8AC3E}">
        <p14:creationId xmlns:p14="http://schemas.microsoft.com/office/powerpoint/2010/main" val="21925331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e future is digital">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23" name="Afbeeldingsplaceholder">
            <a:extLst>
              <a:ext uri="{FF2B5EF4-FFF2-40B4-BE49-F238E27FC236}">
                <a16:creationId xmlns:a16="http://schemas.microsoft.com/office/drawing/2014/main" id="{C90E0216-1721-1C19-5B4E-9DE96EA08E68}"/>
              </a:ext>
            </a:extLst>
          </p:cNvPr>
          <p:cNvSpPr>
            <a:spLocks noGrp="1" noRot="1" noMove="1" noResize="1" noEditPoints="1" noAdjustHandles="1" noChangeArrowheads="1" noChangeShapeType="1"/>
          </p:cNvSpPr>
          <p:nvPr>
            <p:ph type="pic" sz="quarter" idx="11"/>
          </p:nvPr>
        </p:nvSpPr>
        <p:spPr>
          <a:xfrm>
            <a:off x="120604" y="115880"/>
            <a:ext cx="11943150" cy="6614305"/>
          </a:xfrm>
          <a:custGeom>
            <a:avLst/>
            <a:gdLst>
              <a:gd name="connsiteX0" fmla="*/ 11816016 w 11943150"/>
              <a:gd name="connsiteY0" fmla="*/ 1 h 6614305"/>
              <a:gd name="connsiteX1" fmla="*/ 11943150 w 11943150"/>
              <a:gd name="connsiteY1" fmla="*/ 126999 h 6614305"/>
              <a:gd name="connsiteX2" fmla="*/ 11943150 w 11943150"/>
              <a:gd name="connsiteY2" fmla="*/ 6476327 h 6614305"/>
              <a:gd name="connsiteX3" fmla="*/ 11816426 w 11943150"/>
              <a:gd name="connsiteY3" fmla="*/ 6603324 h 6614305"/>
              <a:gd name="connsiteX4" fmla="*/ 6521136 w 11943150"/>
              <a:gd name="connsiteY4" fmla="*/ 6614305 h 6614305"/>
              <a:gd name="connsiteX5" fmla="*/ 4949492 w 11943150"/>
              <a:gd name="connsiteY5" fmla="*/ 6614305 h 6614305"/>
              <a:gd name="connsiteX6" fmla="*/ 4822494 w 11943150"/>
              <a:gd name="connsiteY6" fmla="*/ 6487308 h 6614305"/>
              <a:gd name="connsiteX7" fmla="*/ 4822494 w 11943150"/>
              <a:gd name="connsiteY7" fmla="*/ 6430152 h 6614305"/>
              <a:gd name="connsiteX8" fmla="*/ 4695496 w 11943150"/>
              <a:gd name="connsiteY8" fmla="*/ 6303155 h 6614305"/>
              <a:gd name="connsiteX9" fmla="*/ 1743623 w 11943150"/>
              <a:gd name="connsiteY9" fmla="*/ 6303155 h 6614305"/>
              <a:gd name="connsiteX10" fmla="*/ 1616626 w 11943150"/>
              <a:gd name="connsiteY10" fmla="*/ 6176157 h 6614305"/>
              <a:gd name="connsiteX11" fmla="*/ 1616626 w 11943150"/>
              <a:gd name="connsiteY11" fmla="*/ 5938054 h 6614305"/>
              <a:gd name="connsiteX12" fmla="*/ 1743623 w 11943150"/>
              <a:gd name="connsiteY12" fmla="*/ 5811056 h 6614305"/>
              <a:gd name="connsiteX13" fmla="*/ 2451761 w 11943150"/>
              <a:gd name="connsiteY13" fmla="*/ 5811056 h 6614305"/>
              <a:gd name="connsiteX14" fmla="*/ 2578758 w 11943150"/>
              <a:gd name="connsiteY14" fmla="*/ 5684059 h 6614305"/>
              <a:gd name="connsiteX15" fmla="*/ 2578758 w 11943150"/>
              <a:gd name="connsiteY15" fmla="*/ 5334850 h 6614305"/>
              <a:gd name="connsiteX16" fmla="*/ 2451761 w 11943150"/>
              <a:gd name="connsiteY16" fmla="*/ 5207853 h 6614305"/>
              <a:gd name="connsiteX17" fmla="*/ 1743623 w 11943150"/>
              <a:gd name="connsiteY17" fmla="*/ 5207853 h 6614305"/>
              <a:gd name="connsiteX18" fmla="*/ 1616626 w 11943150"/>
              <a:gd name="connsiteY18" fmla="*/ 5080855 h 6614305"/>
              <a:gd name="connsiteX19" fmla="*/ 1616626 w 11943150"/>
              <a:gd name="connsiteY19" fmla="*/ 4725303 h 6614305"/>
              <a:gd name="connsiteX20" fmla="*/ 1489629 w 11943150"/>
              <a:gd name="connsiteY20" fmla="*/ 4598306 h 6614305"/>
              <a:gd name="connsiteX21" fmla="*/ 126997 w 11943150"/>
              <a:gd name="connsiteY21" fmla="*/ 4598306 h 6614305"/>
              <a:gd name="connsiteX22" fmla="*/ 0 w 11943150"/>
              <a:gd name="connsiteY22" fmla="*/ 4471308 h 6614305"/>
              <a:gd name="connsiteX23" fmla="*/ 0 w 11943150"/>
              <a:gd name="connsiteY23" fmla="*/ 758507 h 6614305"/>
              <a:gd name="connsiteX24" fmla="*/ 126997 w 11943150"/>
              <a:gd name="connsiteY24" fmla="*/ 631510 h 6614305"/>
              <a:gd name="connsiteX25" fmla="*/ 1476158 w 11943150"/>
              <a:gd name="connsiteY25" fmla="*/ 631510 h 6614305"/>
              <a:gd name="connsiteX26" fmla="*/ 1603156 w 11943150"/>
              <a:gd name="connsiteY26" fmla="*/ 504513 h 6614305"/>
              <a:gd name="connsiteX27" fmla="*/ 1603156 w 11943150"/>
              <a:gd name="connsiteY27" fmla="*/ 137945 h 6614305"/>
              <a:gd name="connsiteX28" fmla="*/ 1730017 w 11943150"/>
              <a:gd name="connsiteY28" fmla="*/ 10948 h 661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43150" h="6614305">
                <a:moveTo>
                  <a:pt x="11816016" y="1"/>
                </a:moveTo>
                <a:cubicBezTo>
                  <a:pt x="11886200" y="-67"/>
                  <a:pt x="11943150" y="56816"/>
                  <a:pt x="11943150" y="126999"/>
                </a:cubicBezTo>
                <a:lnTo>
                  <a:pt x="11943150" y="6476327"/>
                </a:lnTo>
                <a:cubicBezTo>
                  <a:pt x="11943150" y="6546339"/>
                  <a:pt x="11886473" y="6603154"/>
                  <a:pt x="11816426" y="6603324"/>
                </a:cubicBezTo>
                <a:lnTo>
                  <a:pt x="6521136" y="6614305"/>
                </a:lnTo>
                <a:lnTo>
                  <a:pt x="4949492" y="6614305"/>
                </a:lnTo>
                <a:cubicBezTo>
                  <a:pt x="4879377" y="6614305"/>
                  <a:pt x="4822494" y="6557456"/>
                  <a:pt x="4822494" y="6487308"/>
                </a:cubicBezTo>
                <a:lnTo>
                  <a:pt x="4822494" y="6430152"/>
                </a:lnTo>
                <a:cubicBezTo>
                  <a:pt x="4822494" y="6360037"/>
                  <a:pt x="4765645" y="6303155"/>
                  <a:pt x="4695496" y="6303155"/>
                </a:cubicBezTo>
                <a:lnTo>
                  <a:pt x="1743623" y="6303155"/>
                </a:lnTo>
                <a:cubicBezTo>
                  <a:pt x="1673509" y="6303155"/>
                  <a:pt x="1616626" y="6246306"/>
                  <a:pt x="1616626" y="6176157"/>
                </a:cubicBezTo>
                <a:lnTo>
                  <a:pt x="1616626" y="5938054"/>
                </a:lnTo>
                <a:cubicBezTo>
                  <a:pt x="1616626" y="5867939"/>
                  <a:pt x="1673475" y="5811056"/>
                  <a:pt x="1743623" y="5811056"/>
                </a:cubicBezTo>
                <a:lnTo>
                  <a:pt x="2451761" y="5811056"/>
                </a:lnTo>
                <a:cubicBezTo>
                  <a:pt x="2521875" y="5811056"/>
                  <a:pt x="2578758" y="5754208"/>
                  <a:pt x="2578758" y="5684059"/>
                </a:cubicBezTo>
                <a:lnTo>
                  <a:pt x="2578758" y="5334850"/>
                </a:lnTo>
                <a:cubicBezTo>
                  <a:pt x="2578758" y="5264736"/>
                  <a:pt x="2521909" y="5207853"/>
                  <a:pt x="2451761" y="5207853"/>
                </a:cubicBezTo>
                <a:lnTo>
                  <a:pt x="1743623" y="5207853"/>
                </a:lnTo>
                <a:cubicBezTo>
                  <a:pt x="1673509" y="5207853"/>
                  <a:pt x="1616626" y="5151004"/>
                  <a:pt x="1616626" y="5080855"/>
                </a:cubicBezTo>
                <a:lnTo>
                  <a:pt x="1616626" y="4725303"/>
                </a:lnTo>
                <a:cubicBezTo>
                  <a:pt x="1616626" y="4655189"/>
                  <a:pt x="1559777" y="4598306"/>
                  <a:pt x="1489629" y="4598306"/>
                </a:cubicBezTo>
                <a:lnTo>
                  <a:pt x="126997" y="4598306"/>
                </a:lnTo>
                <a:cubicBezTo>
                  <a:pt x="56883" y="4598306"/>
                  <a:pt x="0" y="4541457"/>
                  <a:pt x="0" y="4471308"/>
                </a:cubicBezTo>
                <a:lnTo>
                  <a:pt x="0" y="758507"/>
                </a:lnTo>
                <a:cubicBezTo>
                  <a:pt x="0" y="688393"/>
                  <a:pt x="56849" y="631510"/>
                  <a:pt x="126997" y="631510"/>
                </a:cubicBezTo>
                <a:lnTo>
                  <a:pt x="1476158" y="631510"/>
                </a:lnTo>
                <a:cubicBezTo>
                  <a:pt x="1546273" y="631510"/>
                  <a:pt x="1603156" y="574661"/>
                  <a:pt x="1603156" y="504513"/>
                </a:cubicBezTo>
                <a:lnTo>
                  <a:pt x="1603156" y="137945"/>
                </a:lnTo>
                <a:cubicBezTo>
                  <a:pt x="1603156" y="67865"/>
                  <a:pt x="1659936" y="11050"/>
                  <a:pt x="1730017" y="10948"/>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6" name="Tekst">
            <a:extLst>
              <a:ext uri="{FF2B5EF4-FFF2-40B4-BE49-F238E27FC236}">
                <a16:creationId xmlns:a16="http://schemas.microsoft.com/office/drawing/2014/main" id="{9A7B3120-C190-9846-DFFC-5FE83455E524}"/>
              </a:ext>
            </a:extLst>
          </p:cNvPr>
          <p:cNvPicPr>
            <a:picLocks noGrp="1" noRot="1" noChangeAspect="1" noMove="1" noResize="1" noEditPoints="1" noAdjustHandles="1" noChangeArrowheads="1" noChangeShapeType="1" noCrop="1"/>
          </p:cNvPicPr>
          <p:nvPr userDrawn="1"/>
        </p:nvPicPr>
        <p:blipFill rotWithShape="1">
          <a:blip r:embed="rId4"/>
          <a:srcRect l="7199" t="10294" r="7199" b="15712"/>
          <a:stretch/>
        </p:blipFill>
        <p:spPr>
          <a:xfrm>
            <a:off x="127000" y="5421631"/>
            <a:ext cx="2491740" cy="975359"/>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5099685"/>
            <a:ext cx="1485302" cy="183600"/>
          </a:xfrm>
          <a:prstGeom prst="roundRect">
            <a:avLst>
              <a:gd name="adj" fmla="val 50000"/>
            </a:avLst>
          </a:prstGeom>
          <a:solidFill>
            <a:schemeClr val="accent2"/>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a:t>
            </a:r>
            <a:endParaRPr lang="nl-NL" dirty="0"/>
          </a:p>
        </p:txBody>
      </p:sp>
      <p:sp>
        <p:nvSpPr>
          <p:cNvPr id="7" name="Tijdelijke aanduiding voor tekst 2">
            <a:extLst>
              <a:ext uri="{FF2B5EF4-FFF2-40B4-BE49-F238E27FC236}">
                <a16:creationId xmlns:a16="http://schemas.microsoft.com/office/drawing/2014/main" id="{3DCCD377-7664-1998-E9A3-CC1A4EDD004A}"/>
              </a:ext>
            </a:extLst>
          </p:cNvPr>
          <p:cNvSpPr>
            <a:spLocks noGrp="1"/>
          </p:cNvSpPr>
          <p:nvPr>
            <p:ph type="body" idx="12" hasCustomPrompt="1"/>
          </p:nvPr>
        </p:nvSpPr>
        <p:spPr>
          <a:xfrm>
            <a:off x="152998" y="4880642"/>
            <a:ext cx="1486800" cy="119135"/>
          </a:xfrm>
        </p:spPr>
        <p:txBody>
          <a:bodyPr anchor="t" anchorCtr="0">
            <a:spAutoFit/>
          </a:bodyPr>
          <a:lstStyle>
            <a:lvl1pPr marL="0" indent="0">
              <a:buNone/>
              <a:defRPr sz="75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411265056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e toekomst leefbaar maken">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39" name="Afbeeldingsplaceholder">
            <a:extLst>
              <a:ext uri="{FF2B5EF4-FFF2-40B4-BE49-F238E27FC236}">
                <a16:creationId xmlns:a16="http://schemas.microsoft.com/office/drawing/2014/main" id="{8053BA1C-82B2-1600-3836-897E937FD31B}"/>
              </a:ext>
            </a:extLst>
          </p:cNvPr>
          <p:cNvSpPr>
            <a:spLocks noGrp="1" noRot="1" noMove="1" noResize="1" noEditPoints="1" noAdjustHandles="1" noChangeArrowheads="1" noChangeShapeType="1"/>
          </p:cNvSpPr>
          <p:nvPr>
            <p:ph type="pic" sz="quarter" idx="11"/>
          </p:nvPr>
        </p:nvSpPr>
        <p:spPr>
          <a:xfrm>
            <a:off x="120420" y="115918"/>
            <a:ext cx="11943129" cy="6614309"/>
          </a:xfrm>
          <a:custGeom>
            <a:avLst/>
            <a:gdLst>
              <a:gd name="connsiteX0" fmla="*/ 11816001 w 11943129"/>
              <a:gd name="connsiteY0" fmla="*/ 1 h 6614309"/>
              <a:gd name="connsiteX1" fmla="*/ 11943129 w 11943129"/>
              <a:gd name="connsiteY1" fmla="*/ 126981 h 6614309"/>
              <a:gd name="connsiteX2" fmla="*/ 11943129 w 11943129"/>
              <a:gd name="connsiteY2" fmla="*/ 6476354 h 6614309"/>
              <a:gd name="connsiteX3" fmla="*/ 11816413 w 11943129"/>
              <a:gd name="connsiteY3" fmla="*/ 6603335 h 6614309"/>
              <a:gd name="connsiteX4" fmla="*/ 6521102 w 11943129"/>
              <a:gd name="connsiteY4" fmla="*/ 6614309 h 6614309"/>
              <a:gd name="connsiteX5" fmla="*/ 4936760 w 11943129"/>
              <a:gd name="connsiteY5" fmla="*/ 6614309 h 6614309"/>
              <a:gd name="connsiteX6" fmla="*/ 4809781 w 11943129"/>
              <a:gd name="connsiteY6" fmla="*/ 6487328 h 6614309"/>
              <a:gd name="connsiteX7" fmla="*/ 4809781 w 11943129"/>
              <a:gd name="connsiteY7" fmla="*/ 6430193 h 6614309"/>
              <a:gd name="connsiteX8" fmla="*/ 4682799 w 11943129"/>
              <a:gd name="connsiteY8" fmla="*/ 6303213 h 6614309"/>
              <a:gd name="connsiteX9" fmla="*/ 3394431 w 11943129"/>
              <a:gd name="connsiteY9" fmla="*/ 6303213 h 6614309"/>
              <a:gd name="connsiteX10" fmla="*/ 3267450 w 11943129"/>
              <a:gd name="connsiteY10" fmla="*/ 6176232 h 6614309"/>
              <a:gd name="connsiteX11" fmla="*/ 3267450 w 11943129"/>
              <a:gd name="connsiteY11" fmla="*/ 5938129 h 6614309"/>
              <a:gd name="connsiteX12" fmla="*/ 3140470 w 11943129"/>
              <a:gd name="connsiteY12" fmla="*/ 5811149 h 6614309"/>
              <a:gd name="connsiteX13" fmla="*/ 2832757 w 11943129"/>
              <a:gd name="connsiteY13" fmla="*/ 5811149 h 6614309"/>
              <a:gd name="connsiteX14" fmla="*/ 2705777 w 11943129"/>
              <a:gd name="connsiteY14" fmla="*/ 5684168 h 6614309"/>
              <a:gd name="connsiteX15" fmla="*/ 2705777 w 11943129"/>
              <a:gd name="connsiteY15" fmla="*/ 5334972 h 6614309"/>
              <a:gd name="connsiteX16" fmla="*/ 2578796 w 11943129"/>
              <a:gd name="connsiteY16" fmla="*/ 5207992 h 6614309"/>
              <a:gd name="connsiteX17" fmla="*/ 1426205 w 11943129"/>
              <a:gd name="connsiteY17" fmla="*/ 5207992 h 6614309"/>
              <a:gd name="connsiteX18" fmla="*/ 1299225 w 11943129"/>
              <a:gd name="connsiteY18" fmla="*/ 5081012 h 6614309"/>
              <a:gd name="connsiteX19" fmla="*/ 1299225 w 11943129"/>
              <a:gd name="connsiteY19" fmla="*/ 5030231 h 6614309"/>
              <a:gd name="connsiteX20" fmla="*/ 1426205 w 11943129"/>
              <a:gd name="connsiteY20" fmla="*/ 4903251 h 6614309"/>
              <a:gd name="connsiteX21" fmla="*/ 1489695 w 11943129"/>
              <a:gd name="connsiteY21" fmla="*/ 4903251 h 6614309"/>
              <a:gd name="connsiteX22" fmla="*/ 1616676 w 11943129"/>
              <a:gd name="connsiteY22" fmla="*/ 4776270 h 6614309"/>
              <a:gd name="connsiteX23" fmla="*/ 1616676 w 11943129"/>
              <a:gd name="connsiteY23" fmla="*/ 4725490 h 6614309"/>
              <a:gd name="connsiteX24" fmla="*/ 1489695 w 11943129"/>
              <a:gd name="connsiteY24" fmla="*/ 4598510 h 6614309"/>
              <a:gd name="connsiteX25" fmla="*/ 126980 w 11943129"/>
              <a:gd name="connsiteY25" fmla="*/ 4598510 h 6614309"/>
              <a:gd name="connsiteX26" fmla="*/ 0 w 11943129"/>
              <a:gd name="connsiteY26" fmla="*/ 4471529 h 6614309"/>
              <a:gd name="connsiteX27" fmla="*/ 0 w 11943129"/>
              <a:gd name="connsiteY27" fmla="*/ 758471 h 6614309"/>
              <a:gd name="connsiteX28" fmla="*/ 126980 w 11943129"/>
              <a:gd name="connsiteY28" fmla="*/ 631490 h 6614309"/>
              <a:gd name="connsiteX29" fmla="*/ 1476132 w 11943129"/>
              <a:gd name="connsiteY29" fmla="*/ 631490 h 6614309"/>
              <a:gd name="connsiteX30" fmla="*/ 1476162 w 11943129"/>
              <a:gd name="connsiteY30" fmla="*/ 631490 h 6614309"/>
              <a:gd name="connsiteX31" fmla="*/ 1603142 w 11943129"/>
              <a:gd name="connsiteY31" fmla="*/ 504510 h 6614309"/>
              <a:gd name="connsiteX32" fmla="*/ 1603142 w 11943129"/>
              <a:gd name="connsiteY32" fmla="*/ 137926 h 6614309"/>
              <a:gd name="connsiteX33" fmla="*/ 1729975 w 11943129"/>
              <a:gd name="connsiteY33" fmla="*/ 10946 h 661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943129" h="6614309">
                <a:moveTo>
                  <a:pt x="11816001" y="1"/>
                </a:moveTo>
                <a:cubicBezTo>
                  <a:pt x="11886200" y="-87"/>
                  <a:pt x="11943129" y="56813"/>
                  <a:pt x="11943129" y="126981"/>
                </a:cubicBezTo>
                <a:lnTo>
                  <a:pt x="11943129" y="6476354"/>
                </a:lnTo>
                <a:cubicBezTo>
                  <a:pt x="11943129" y="6546376"/>
                  <a:pt x="11886435" y="6603187"/>
                  <a:pt x="11816413" y="6603335"/>
                </a:cubicBezTo>
                <a:lnTo>
                  <a:pt x="6521102" y="6614309"/>
                </a:lnTo>
                <a:lnTo>
                  <a:pt x="4936760" y="6614309"/>
                </a:lnTo>
                <a:cubicBezTo>
                  <a:pt x="4866620" y="6614309"/>
                  <a:pt x="4809781" y="6557467"/>
                  <a:pt x="4809781" y="6487328"/>
                </a:cubicBezTo>
                <a:lnTo>
                  <a:pt x="4809781" y="6430193"/>
                </a:lnTo>
                <a:cubicBezTo>
                  <a:pt x="4809781" y="6360053"/>
                  <a:pt x="4752939" y="6303213"/>
                  <a:pt x="4682799" y="6303213"/>
                </a:cubicBezTo>
                <a:lnTo>
                  <a:pt x="3394431" y="6303213"/>
                </a:lnTo>
                <a:cubicBezTo>
                  <a:pt x="3324291" y="6303213"/>
                  <a:pt x="3267450" y="6246371"/>
                  <a:pt x="3267450" y="6176232"/>
                </a:cubicBezTo>
                <a:lnTo>
                  <a:pt x="3267450" y="5938129"/>
                </a:lnTo>
                <a:cubicBezTo>
                  <a:pt x="3267450" y="5867990"/>
                  <a:pt x="3210609" y="5811149"/>
                  <a:pt x="3140470" y="5811149"/>
                </a:cubicBezTo>
                <a:lnTo>
                  <a:pt x="2832757" y="5811149"/>
                </a:lnTo>
                <a:cubicBezTo>
                  <a:pt x="2762618" y="5811149"/>
                  <a:pt x="2705777" y="5754308"/>
                  <a:pt x="2705777" y="5684168"/>
                </a:cubicBezTo>
                <a:lnTo>
                  <a:pt x="2705777" y="5334972"/>
                </a:lnTo>
                <a:cubicBezTo>
                  <a:pt x="2705777" y="5264833"/>
                  <a:pt x="2648936" y="5207992"/>
                  <a:pt x="2578796" y="5207992"/>
                </a:cubicBezTo>
                <a:lnTo>
                  <a:pt x="1426205" y="5207992"/>
                </a:lnTo>
                <a:cubicBezTo>
                  <a:pt x="1356066" y="5207992"/>
                  <a:pt x="1299225" y="5151151"/>
                  <a:pt x="1299225" y="5081012"/>
                </a:cubicBezTo>
                <a:lnTo>
                  <a:pt x="1299225" y="5030231"/>
                </a:lnTo>
                <a:cubicBezTo>
                  <a:pt x="1299225" y="4960092"/>
                  <a:pt x="1356066" y="4903251"/>
                  <a:pt x="1426205" y="4903251"/>
                </a:cubicBezTo>
                <a:lnTo>
                  <a:pt x="1489695" y="4903251"/>
                </a:lnTo>
                <a:cubicBezTo>
                  <a:pt x="1559835" y="4903251"/>
                  <a:pt x="1616676" y="4846410"/>
                  <a:pt x="1616676" y="4776270"/>
                </a:cubicBezTo>
                <a:lnTo>
                  <a:pt x="1616676" y="4725490"/>
                </a:lnTo>
                <a:cubicBezTo>
                  <a:pt x="1616676" y="4655351"/>
                  <a:pt x="1559835" y="4598510"/>
                  <a:pt x="1489695" y="4598510"/>
                </a:cubicBezTo>
                <a:lnTo>
                  <a:pt x="126980" y="4598510"/>
                </a:lnTo>
                <a:cubicBezTo>
                  <a:pt x="56841" y="4598510"/>
                  <a:pt x="0" y="4541668"/>
                  <a:pt x="0" y="4471529"/>
                </a:cubicBezTo>
                <a:lnTo>
                  <a:pt x="0" y="758471"/>
                </a:lnTo>
                <a:cubicBezTo>
                  <a:pt x="0" y="688331"/>
                  <a:pt x="56841" y="631490"/>
                  <a:pt x="126980" y="631490"/>
                </a:cubicBezTo>
                <a:lnTo>
                  <a:pt x="1476132" y="631490"/>
                </a:lnTo>
                <a:lnTo>
                  <a:pt x="1476162" y="631490"/>
                </a:lnTo>
                <a:cubicBezTo>
                  <a:pt x="1546301" y="631490"/>
                  <a:pt x="1603142" y="574649"/>
                  <a:pt x="1603142" y="504510"/>
                </a:cubicBezTo>
                <a:lnTo>
                  <a:pt x="1603142" y="137926"/>
                </a:lnTo>
                <a:cubicBezTo>
                  <a:pt x="1603142" y="67846"/>
                  <a:pt x="1659924" y="11004"/>
                  <a:pt x="1729975" y="10946"/>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2" name="Tekst">
            <a:extLst>
              <a:ext uri="{FF2B5EF4-FFF2-40B4-BE49-F238E27FC236}">
                <a16:creationId xmlns:a16="http://schemas.microsoft.com/office/drawing/2014/main" id="{09927AC8-B93B-065A-0ED4-A82534B2968A}"/>
              </a:ext>
            </a:extLst>
          </p:cNvPr>
          <p:cNvPicPr>
            <a:picLocks noGrp="1" noRot="1" noChangeAspect="1" noMove="1" noResize="1" noEditPoints="1" noAdjustHandles="1" noChangeArrowheads="1" noChangeShapeType="1" noCrop="1"/>
          </p:cNvPicPr>
          <p:nvPr userDrawn="1"/>
        </p:nvPicPr>
        <p:blipFill rotWithShape="1">
          <a:blip r:embed="rId4"/>
          <a:srcRect l="6299" t="12753" r="6413" b="22872"/>
          <a:stretch/>
        </p:blipFill>
        <p:spPr>
          <a:xfrm>
            <a:off x="132080" y="5442126"/>
            <a:ext cx="3057809" cy="843680"/>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5099685"/>
            <a:ext cx="1061122" cy="183600"/>
          </a:xfrm>
          <a:prstGeom prst="roundRect">
            <a:avLst>
              <a:gd name="adj" fmla="val 50000"/>
            </a:avLst>
          </a:prstGeom>
          <a:solidFill>
            <a:schemeClr val="accent3"/>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a:t>
            </a:r>
            <a:endParaRPr lang="nl-NL" dirty="0"/>
          </a:p>
        </p:txBody>
      </p:sp>
      <p:sp>
        <p:nvSpPr>
          <p:cNvPr id="7" name="Tijdelijke aanduiding voor tekst 2">
            <a:extLst>
              <a:ext uri="{FF2B5EF4-FFF2-40B4-BE49-F238E27FC236}">
                <a16:creationId xmlns:a16="http://schemas.microsoft.com/office/drawing/2014/main" id="{3DCCD377-7664-1998-E9A3-CC1A4EDD004A}"/>
              </a:ext>
            </a:extLst>
          </p:cNvPr>
          <p:cNvSpPr>
            <a:spLocks noGrp="1"/>
          </p:cNvSpPr>
          <p:nvPr>
            <p:ph type="body" idx="12" hasCustomPrompt="1"/>
          </p:nvPr>
        </p:nvSpPr>
        <p:spPr>
          <a:xfrm>
            <a:off x="152998" y="4880642"/>
            <a:ext cx="1486800" cy="119135"/>
          </a:xfrm>
        </p:spPr>
        <p:txBody>
          <a:bodyPr anchor="t" anchorCtr="0">
            <a:spAutoFit/>
          </a:bodyPr>
          <a:lstStyle>
            <a:lvl1pPr marL="0" indent="0">
              <a:buNone/>
              <a:defRPr sz="75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136310496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novatieve, ambitieuze ondernemers ...">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12" name="Afbeeldingsplaceholder">
            <a:extLst>
              <a:ext uri="{FF2B5EF4-FFF2-40B4-BE49-F238E27FC236}">
                <a16:creationId xmlns:a16="http://schemas.microsoft.com/office/drawing/2014/main" id="{242B0549-178D-5698-029C-9ED9ABD856FF}"/>
              </a:ext>
            </a:extLst>
          </p:cNvPr>
          <p:cNvSpPr>
            <a:spLocks noGrp="1" noRot="1" noMove="1" noResize="1" noEditPoints="1" noAdjustHandles="1" noChangeArrowheads="1" noChangeShapeType="1"/>
          </p:cNvSpPr>
          <p:nvPr>
            <p:ph type="pic" sz="quarter" idx="11"/>
          </p:nvPr>
        </p:nvSpPr>
        <p:spPr>
          <a:xfrm>
            <a:off x="120448" y="116520"/>
            <a:ext cx="11943325" cy="6614407"/>
          </a:xfrm>
          <a:custGeom>
            <a:avLst/>
            <a:gdLst>
              <a:gd name="connsiteX0" fmla="*/ 11816203 w 11943325"/>
              <a:gd name="connsiteY0" fmla="*/ 1 h 6614407"/>
              <a:gd name="connsiteX1" fmla="*/ 11943325 w 11943325"/>
              <a:gd name="connsiteY1" fmla="*/ 126977 h 6614407"/>
              <a:gd name="connsiteX2" fmla="*/ 11943325 w 11943325"/>
              <a:gd name="connsiteY2" fmla="*/ 6476461 h 6614407"/>
              <a:gd name="connsiteX3" fmla="*/ 11816595 w 11943325"/>
              <a:gd name="connsiteY3" fmla="*/ 6603437 h 6614407"/>
              <a:gd name="connsiteX4" fmla="*/ 6521174 w 11943325"/>
              <a:gd name="connsiteY4" fmla="*/ 6614407 h 6614407"/>
              <a:gd name="connsiteX5" fmla="*/ 4939969 w 11943325"/>
              <a:gd name="connsiteY5" fmla="*/ 6614407 h 6614407"/>
              <a:gd name="connsiteX6" fmla="*/ 4812995 w 11943325"/>
              <a:gd name="connsiteY6" fmla="*/ 6487431 h 6614407"/>
              <a:gd name="connsiteX7" fmla="*/ 4812995 w 11943325"/>
              <a:gd name="connsiteY7" fmla="*/ 6430275 h 6614407"/>
              <a:gd name="connsiteX8" fmla="*/ 4939969 w 11943325"/>
              <a:gd name="connsiteY8" fmla="*/ 6303300 h 6614407"/>
              <a:gd name="connsiteX9" fmla="*/ 5368555 w 11943325"/>
              <a:gd name="connsiteY9" fmla="*/ 6303300 h 6614407"/>
              <a:gd name="connsiteX10" fmla="*/ 5495529 w 11943325"/>
              <a:gd name="connsiteY10" fmla="*/ 6176324 h 6614407"/>
              <a:gd name="connsiteX11" fmla="*/ 5495529 w 11943325"/>
              <a:gd name="connsiteY11" fmla="*/ 6001715 h 6614407"/>
              <a:gd name="connsiteX12" fmla="*/ 5622505 w 11943325"/>
              <a:gd name="connsiteY12" fmla="*/ 5874739 h 6614407"/>
              <a:gd name="connsiteX13" fmla="*/ 6330662 w 11943325"/>
              <a:gd name="connsiteY13" fmla="*/ 5874739 h 6614407"/>
              <a:gd name="connsiteX14" fmla="*/ 6457637 w 11943325"/>
              <a:gd name="connsiteY14" fmla="*/ 5747764 h 6614407"/>
              <a:gd name="connsiteX15" fmla="*/ 6457637 w 11943325"/>
              <a:gd name="connsiteY15" fmla="*/ 5398544 h 6614407"/>
              <a:gd name="connsiteX16" fmla="*/ 6330662 w 11943325"/>
              <a:gd name="connsiteY16" fmla="*/ 5271569 h 6614407"/>
              <a:gd name="connsiteX17" fmla="*/ 5139955 w 11943325"/>
              <a:gd name="connsiteY17" fmla="*/ 5271569 h 6614407"/>
              <a:gd name="connsiteX18" fmla="*/ 5012979 w 11943325"/>
              <a:gd name="connsiteY18" fmla="*/ 5144594 h 6614407"/>
              <a:gd name="connsiteX19" fmla="*/ 5012979 w 11943325"/>
              <a:gd name="connsiteY19" fmla="*/ 4858862 h 6614407"/>
              <a:gd name="connsiteX20" fmla="*/ 5139955 w 11943325"/>
              <a:gd name="connsiteY20" fmla="*/ 4731886 h 6614407"/>
              <a:gd name="connsiteX21" fmla="*/ 5171416 w 11943325"/>
              <a:gd name="connsiteY21" fmla="*/ 4731886 h 6614407"/>
              <a:gd name="connsiteX22" fmla="*/ 5298392 w 11943325"/>
              <a:gd name="connsiteY22" fmla="*/ 4604911 h 6614407"/>
              <a:gd name="connsiteX23" fmla="*/ 5298392 w 11943325"/>
              <a:gd name="connsiteY23" fmla="*/ 4314296 h 6614407"/>
              <a:gd name="connsiteX24" fmla="*/ 5171465 w 11943325"/>
              <a:gd name="connsiteY24" fmla="*/ 4187320 h 6614407"/>
              <a:gd name="connsiteX25" fmla="*/ 1743520 w 11943325"/>
              <a:gd name="connsiteY25" fmla="*/ 4185921 h 6614407"/>
              <a:gd name="connsiteX26" fmla="*/ 1616593 w 11943325"/>
              <a:gd name="connsiteY26" fmla="*/ 4058946 h 6614407"/>
              <a:gd name="connsiteX27" fmla="*/ 1616593 w 11943325"/>
              <a:gd name="connsiteY27" fmla="*/ 3877931 h 6614407"/>
              <a:gd name="connsiteX28" fmla="*/ 1489618 w 11943325"/>
              <a:gd name="connsiteY28" fmla="*/ 3750956 h 6614407"/>
              <a:gd name="connsiteX29" fmla="*/ 126975 w 11943325"/>
              <a:gd name="connsiteY29" fmla="*/ 3750956 h 6614407"/>
              <a:gd name="connsiteX30" fmla="*/ 0 w 11943325"/>
              <a:gd name="connsiteY30" fmla="*/ 3623980 h 6614407"/>
              <a:gd name="connsiteX31" fmla="*/ 0 w 11943325"/>
              <a:gd name="connsiteY31" fmla="*/ 758492 h 6614407"/>
              <a:gd name="connsiteX32" fmla="*/ 126975 w 11943325"/>
              <a:gd name="connsiteY32" fmla="*/ 631516 h 6614407"/>
              <a:gd name="connsiteX33" fmla="*/ 1476145 w 11943325"/>
              <a:gd name="connsiteY33" fmla="*/ 631516 h 6614407"/>
              <a:gd name="connsiteX34" fmla="*/ 1603120 w 11943325"/>
              <a:gd name="connsiteY34" fmla="*/ 504541 h 6614407"/>
              <a:gd name="connsiteX35" fmla="*/ 1603120 w 11943325"/>
              <a:gd name="connsiteY35" fmla="*/ 137922 h 6614407"/>
              <a:gd name="connsiteX36" fmla="*/ 1729973 w 11943325"/>
              <a:gd name="connsiteY36" fmla="*/ 10946 h 661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943325" h="6614407">
                <a:moveTo>
                  <a:pt x="11816203" y="1"/>
                </a:moveTo>
                <a:cubicBezTo>
                  <a:pt x="11886390" y="-73"/>
                  <a:pt x="11943325" y="56789"/>
                  <a:pt x="11943325" y="126977"/>
                </a:cubicBezTo>
                <a:lnTo>
                  <a:pt x="11943325" y="6476461"/>
                </a:lnTo>
                <a:cubicBezTo>
                  <a:pt x="11943325" y="6546502"/>
                  <a:pt x="11886635" y="6603314"/>
                  <a:pt x="11816595" y="6603437"/>
                </a:cubicBezTo>
                <a:lnTo>
                  <a:pt x="6521174" y="6614407"/>
                </a:lnTo>
                <a:lnTo>
                  <a:pt x="4939969" y="6614407"/>
                </a:lnTo>
                <a:cubicBezTo>
                  <a:pt x="4869831" y="6614407"/>
                  <a:pt x="4812995" y="6557545"/>
                  <a:pt x="4812995" y="6487431"/>
                </a:cubicBezTo>
                <a:lnTo>
                  <a:pt x="4812995" y="6430275"/>
                </a:lnTo>
                <a:cubicBezTo>
                  <a:pt x="4812995" y="6360137"/>
                  <a:pt x="4869855" y="6303300"/>
                  <a:pt x="4939969" y="6303300"/>
                </a:cubicBezTo>
                <a:lnTo>
                  <a:pt x="5368555" y="6303300"/>
                </a:lnTo>
                <a:cubicBezTo>
                  <a:pt x="5438692" y="6303300"/>
                  <a:pt x="5495529" y="6246438"/>
                  <a:pt x="5495529" y="6176324"/>
                </a:cubicBezTo>
                <a:lnTo>
                  <a:pt x="5495529" y="6001715"/>
                </a:lnTo>
                <a:cubicBezTo>
                  <a:pt x="5495529" y="5931576"/>
                  <a:pt x="5552392" y="5874739"/>
                  <a:pt x="5622505" y="5874739"/>
                </a:cubicBezTo>
                <a:lnTo>
                  <a:pt x="6330662" y="5874739"/>
                </a:lnTo>
                <a:cubicBezTo>
                  <a:pt x="6400800" y="5874739"/>
                  <a:pt x="6457637" y="5817877"/>
                  <a:pt x="6457637" y="5747764"/>
                </a:cubicBezTo>
                <a:lnTo>
                  <a:pt x="6457637" y="5398544"/>
                </a:lnTo>
                <a:cubicBezTo>
                  <a:pt x="6457637" y="5328406"/>
                  <a:pt x="6400776" y="5271569"/>
                  <a:pt x="6330662" y="5271569"/>
                </a:cubicBezTo>
                <a:lnTo>
                  <a:pt x="5139955" y="5271569"/>
                </a:lnTo>
                <a:cubicBezTo>
                  <a:pt x="5069816" y="5271569"/>
                  <a:pt x="5012979" y="5214708"/>
                  <a:pt x="5012979" y="5144594"/>
                </a:cubicBezTo>
                <a:lnTo>
                  <a:pt x="5012979" y="4858862"/>
                </a:lnTo>
                <a:cubicBezTo>
                  <a:pt x="5012979" y="4788724"/>
                  <a:pt x="5069841" y="4731886"/>
                  <a:pt x="5139955" y="4731886"/>
                </a:cubicBezTo>
                <a:lnTo>
                  <a:pt x="5171416" y="4731886"/>
                </a:lnTo>
                <a:cubicBezTo>
                  <a:pt x="5241555" y="4731886"/>
                  <a:pt x="5298392" y="4675025"/>
                  <a:pt x="5298392" y="4604911"/>
                </a:cubicBezTo>
                <a:lnTo>
                  <a:pt x="5298392" y="4314296"/>
                </a:lnTo>
                <a:cubicBezTo>
                  <a:pt x="5298392" y="4244182"/>
                  <a:pt x="5241578" y="4187345"/>
                  <a:pt x="5171465" y="4187320"/>
                </a:cubicBezTo>
                <a:lnTo>
                  <a:pt x="1743520" y="4185921"/>
                </a:lnTo>
                <a:cubicBezTo>
                  <a:pt x="1673406" y="4185897"/>
                  <a:pt x="1616593" y="4129035"/>
                  <a:pt x="1616593" y="4058946"/>
                </a:cubicBezTo>
                <a:lnTo>
                  <a:pt x="1616593" y="3877931"/>
                </a:lnTo>
                <a:cubicBezTo>
                  <a:pt x="1616593" y="3807792"/>
                  <a:pt x="1559732" y="3750956"/>
                  <a:pt x="1489618" y="3750956"/>
                </a:cubicBezTo>
                <a:lnTo>
                  <a:pt x="126975" y="3750956"/>
                </a:lnTo>
                <a:cubicBezTo>
                  <a:pt x="56837" y="3750956"/>
                  <a:pt x="0" y="3694094"/>
                  <a:pt x="0" y="3623980"/>
                </a:cubicBezTo>
                <a:lnTo>
                  <a:pt x="0" y="758492"/>
                </a:lnTo>
                <a:cubicBezTo>
                  <a:pt x="0" y="688353"/>
                  <a:pt x="56862" y="631516"/>
                  <a:pt x="126975" y="631516"/>
                </a:cubicBezTo>
                <a:lnTo>
                  <a:pt x="1476145" y="631516"/>
                </a:lnTo>
                <a:cubicBezTo>
                  <a:pt x="1546283" y="631516"/>
                  <a:pt x="1603120" y="574655"/>
                  <a:pt x="1603120" y="504541"/>
                </a:cubicBezTo>
                <a:lnTo>
                  <a:pt x="1603120" y="137922"/>
                </a:lnTo>
                <a:cubicBezTo>
                  <a:pt x="1603120" y="67833"/>
                  <a:pt x="1659884" y="11020"/>
                  <a:pt x="1729973" y="10946"/>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13" name="Tekst">
            <a:extLst>
              <a:ext uri="{FF2B5EF4-FFF2-40B4-BE49-F238E27FC236}">
                <a16:creationId xmlns:a16="http://schemas.microsoft.com/office/drawing/2014/main" id="{4BCE8CA7-D6C4-5E14-3DA7-7C2D144373BF}"/>
              </a:ext>
            </a:extLst>
          </p:cNvPr>
          <p:cNvPicPr>
            <a:picLocks noGrp="1" noRot="1" noChangeAspect="1" noMove="1" noResize="1" noEditPoints="1" noAdjustHandles="1" noChangeArrowheads="1" noChangeShapeType="1" noCrop="1"/>
          </p:cNvPicPr>
          <p:nvPr userDrawn="1"/>
        </p:nvPicPr>
        <p:blipFill rotWithShape="1">
          <a:blip r:embed="rId4"/>
          <a:srcRect l="2833" t="5681" r="3917" b="11962"/>
          <a:stretch/>
        </p:blipFill>
        <p:spPr>
          <a:xfrm>
            <a:off x="124519" y="4375674"/>
            <a:ext cx="6346123" cy="1933907"/>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4006215"/>
            <a:ext cx="148911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Datum | PLAATS</a:t>
            </a:r>
            <a:endParaRPr lang="nl-NL" dirty="0"/>
          </a:p>
        </p:txBody>
      </p:sp>
    </p:spTree>
    <p:extLst>
      <p:ext uri="{BB962C8B-B14F-4D97-AF65-F5344CB8AC3E}">
        <p14:creationId xmlns:p14="http://schemas.microsoft.com/office/powerpoint/2010/main" val="26514140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oofdstukaanduiding">
    <p:bg>
      <p:bgPr>
        <a:solidFill>
          <a:schemeClr val="accent1"/>
        </a:solidFill>
        <a:effectLst/>
      </p:bgPr>
    </p:bg>
    <p:spTree>
      <p:nvGrpSpPr>
        <p:cNvPr id="1" name=""/>
        <p:cNvGrpSpPr/>
        <p:nvPr/>
      </p:nvGrpSpPr>
      <p:grpSpPr>
        <a:xfrm>
          <a:off x="0" y="0"/>
          <a:ext cx="0" cy="0"/>
          <a:chOff x="0" y="0"/>
          <a:chExt cx="0" cy="0"/>
        </a:xfrm>
      </p:grpSpPr>
      <p:sp>
        <p:nvSpPr>
          <p:cNvPr id="9" name="Line">
            <a:extLst>
              <a:ext uri="{FF2B5EF4-FFF2-40B4-BE49-F238E27FC236}">
                <a16:creationId xmlns:a16="http://schemas.microsoft.com/office/drawing/2014/main" id="{DC0E20B3-3625-DA46-84E3-84A8DEFDD80C}"/>
              </a:ext>
            </a:extLst>
          </p:cNvPr>
          <p:cNvSpPr/>
          <p:nvPr/>
        </p:nvSpPr>
        <p:spPr>
          <a:xfrm flipH="1" flipV="1">
            <a:off x="6096000" y="5728763"/>
            <a:ext cx="0" cy="478835"/>
          </a:xfrm>
          <a:prstGeom prst="line">
            <a:avLst/>
          </a:prstGeom>
          <a:ln w="12700">
            <a:solidFill>
              <a:schemeClr val="accent1"/>
            </a:solidFill>
            <a:miter/>
          </a:ln>
        </p:spPr>
        <p:txBody>
          <a:bodyPr lIns="45719" rIns="45719"/>
          <a:lstStyle/>
          <a:p>
            <a:endParaRPr/>
          </a:p>
        </p:txBody>
      </p:sp>
      <p:sp>
        <p:nvSpPr>
          <p:cNvPr id="7" name="Title 2">
            <a:extLst>
              <a:ext uri="{FF2B5EF4-FFF2-40B4-BE49-F238E27FC236}">
                <a16:creationId xmlns:a16="http://schemas.microsoft.com/office/drawing/2014/main" id="{59D77B75-AF97-8B6A-AE23-D804F34901A9}"/>
              </a:ext>
            </a:extLst>
          </p:cNvPr>
          <p:cNvSpPr>
            <a:spLocks noGrp="1"/>
          </p:cNvSpPr>
          <p:nvPr>
            <p:ph type="ctrTitle"/>
          </p:nvPr>
        </p:nvSpPr>
        <p:spPr>
          <a:xfrm>
            <a:off x="639097" y="4306532"/>
            <a:ext cx="9144000" cy="766763"/>
          </a:xfrm>
          <a:prstGeom prst="rect">
            <a:avLst/>
          </a:prstGeom>
        </p:spPr>
        <p:txBody>
          <a:bodyPr>
            <a:normAutofit/>
          </a:bodyPr>
          <a:lstStyle/>
          <a:p>
            <a:pPr algn="l"/>
            <a:r>
              <a:rPr lang="nl-NL" sz="3600">
                <a:solidFill>
                  <a:schemeClr val="tx2"/>
                </a:solidFill>
              </a:rPr>
              <a:t>Klik om stijl te bewerken</a:t>
            </a:r>
            <a:endParaRPr lang="en-US" sz="3600">
              <a:solidFill>
                <a:schemeClr val="tx2"/>
              </a:solidFill>
            </a:endParaRPr>
          </a:p>
        </p:txBody>
      </p:sp>
      <p:sp>
        <p:nvSpPr>
          <p:cNvPr id="10" name="Subtitle 3">
            <a:extLst>
              <a:ext uri="{FF2B5EF4-FFF2-40B4-BE49-F238E27FC236}">
                <a16:creationId xmlns:a16="http://schemas.microsoft.com/office/drawing/2014/main" id="{91730012-3E60-0C5F-BCA2-123979E98B34}"/>
              </a:ext>
            </a:extLst>
          </p:cNvPr>
          <p:cNvSpPr>
            <a:spLocks noGrp="1"/>
          </p:cNvSpPr>
          <p:nvPr>
            <p:ph type="subTitle" idx="1" hasCustomPrompt="1"/>
          </p:nvPr>
        </p:nvSpPr>
        <p:spPr>
          <a:xfrm>
            <a:off x="639097" y="5098987"/>
            <a:ext cx="9144000" cy="458685"/>
          </a:xfrm>
          <a:prstGeom prst="rect">
            <a:avLst/>
          </a:prstGeom>
        </p:spPr>
        <p:txBody>
          <a:bodyPr>
            <a:normAutofit/>
          </a:bodyPr>
          <a:lstStyle>
            <a:lvl1pPr marL="0" indent="0">
              <a:buNone/>
              <a:defRPr sz="2400">
                <a:solidFill>
                  <a:schemeClr val="bg2"/>
                </a:solidFill>
              </a:defRPr>
            </a:lvl1pPr>
          </a:lstStyle>
          <a:p>
            <a:pPr algn="l"/>
            <a:r>
              <a:rPr lang="en-US" b="0" err="1">
                <a:solidFill>
                  <a:schemeClr val="bg2"/>
                </a:solidFill>
              </a:rPr>
              <a:t>Subtitel</a:t>
            </a:r>
            <a:r>
              <a:rPr lang="en-US" b="0">
                <a:solidFill>
                  <a:schemeClr val="bg2"/>
                </a:solidFill>
              </a:rPr>
              <a:t> – </a:t>
            </a:r>
            <a:r>
              <a:rPr lang="en-US" b="0" err="1">
                <a:solidFill>
                  <a:schemeClr val="bg2"/>
                </a:solidFill>
              </a:rPr>
              <a:t>vervang</a:t>
            </a:r>
            <a:r>
              <a:rPr lang="en-US" b="0">
                <a:solidFill>
                  <a:schemeClr val="bg2"/>
                </a:solidFill>
              </a:rPr>
              <a:t> de </a:t>
            </a:r>
            <a:r>
              <a:rPr lang="en-US" b="0" err="1">
                <a:solidFill>
                  <a:schemeClr val="bg2"/>
                </a:solidFill>
              </a:rPr>
              <a:t>foto</a:t>
            </a:r>
            <a:r>
              <a:rPr lang="en-US" b="0">
                <a:solidFill>
                  <a:schemeClr val="bg2"/>
                </a:solidFill>
              </a:rPr>
              <a:t> achter </a:t>
            </a:r>
            <a:r>
              <a:rPr lang="en-US" b="0" err="1">
                <a:solidFill>
                  <a:schemeClr val="bg2"/>
                </a:solidFill>
              </a:rPr>
              <a:t>deze</a:t>
            </a:r>
            <a:r>
              <a:rPr lang="en-US" b="0">
                <a:solidFill>
                  <a:schemeClr val="bg2"/>
                </a:solidFill>
              </a:rPr>
              <a:t> </a:t>
            </a:r>
            <a:r>
              <a:rPr lang="en-US" b="0" err="1">
                <a:solidFill>
                  <a:schemeClr val="bg2"/>
                </a:solidFill>
              </a:rPr>
              <a:t>witte</a:t>
            </a:r>
            <a:r>
              <a:rPr lang="en-US" b="0">
                <a:solidFill>
                  <a:schemeClr val="bg2"/>
                </a:solidFill>
              </a:rPr>
              <a:t> balk</a:t>
            </a:r>
          </a:p>
        </p:txBody>
      </p:sp>
    </p:spTree>
    <p:extLst>
      <p:ext uri="{BB962C8B-B14F-4D97-AF65-F5344CB8AC3E}">
        <p14:creationId xmlns:p14="http://schemas.microsoft.com/office/powerpoint/2010/main" val="2206889118"/>
      </p:ext>
    </p:extLst>
  </p:cSld>
  <p:clrMapOvr>
    <a:masterClrMapping/>
  </p:clrMapOvr>
  <p:extLst>
    <p:ext uri="{DCECCB84-F9BA-43D5-87BE-67443E8EF086}">
      <p15:sldGuideLst xmlns:p15="http://schemas.microsoft.com/office/powerpoint/2012/main">
        <p15:guide id="2" pos="3840">
          <p15:clr>
            <a:srgbClr val="FBAE40"/>
          </p15:clr>
        </p15:guide>
        <p15:guide id="3" orient="horz" pos="22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Werken aan de gezonde mens">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13" name="Afbeeldingsplaceholder">
            <a:extLst>
              <a:ext uri="{FF2B5EF4-FFF2-40B4-BE49-F238E27FC236}">
                <a16:creationId xmlns:a16="http://schemas.microsoft.com/office/drawing/2014/main" id="{4B8AD32B-DBA5-7F9F-A60E-16ECD9173D0A}"/>
              </a:ext>
            </a:extLst>
          </p:cNvPr>
          <p:cNvSpPr>
            <a:spLocks noGrp="1" noRot="1" noMove="1" noResize="1" noEditPoints="1" noAdjustHandles="1" noChangeArrowheads="1" noChangeShapeType="1"/>
          </p:cNvSpPr>
          <p:nvPr>
            <p:ph type="pic" sz="quarter" idx="11"/>
          </p:nvPr>
        </p:nvSpPr>
        <p:spPr>
          <a:xfrm>
            <a:off x="120411" y="116856"/>
            <a:ext cx="11943319" cy="6614396"/>
          </a:xfrm>
          <a:custGeom>
            <a:avLst/>
            <a:gdLst>
              <a:gd name="connsiteX0" fmla="*/ 11816192 w 11943319"/>
              <a:gd name="connsiteY0" fmla="*/ 1 h 6614396"/>
              <a:gd name="connsiteX1" fmla="*/ 11943319 w 11943319"/>
              <a:gd name="connsiteY1" fmla="*/ 126997 h 6614396"/>
              <a:gd name="connsiteX2" fmla="*/ 11943319 w 11943319"/>
              <a:gd name="connsiteY2" fmla="*/ 6476442 h 6614396"/>
              <a:gd name="connsiteX3" fmla="*/ 11816583 w 11943319"/>
              <a:gd name="connsiteY3" fmla="*/ 6603437 h 6614396"/>
              <a:gd name="connsiteX4" fmla="*/ 6521211 w 11943319"/>
              <a:gd name="connsiteY4" fmla="*/ 6614396 h 6614396"/>
              <a:gd name="connsiteX5" fmla="*/ 4936850 w 11943319"/>
              <a:gd name="connsiteY5" fmla="*/ 6614396 h 6614396"/>
              <a:gd name="connsiteX6" fmla="*/ 4809855 w 11943319"/>
              <a:gd name="connsiteY6" fmla="*/ 6487400 h 6614396"/>
              <a:gd name="connsiteX7" fmla="*/ 4809855 w 11943319"/>
              <a:gd name="connsiteY7" fmla="*/ 6430266 h 6614396"/>
              <a:gd name="connsiteX8" fmla="*/ 4682858 w 11943319"/>
              <a:gd name="connsiteY8" fmla="*/ 6303270 h 6614396"/>
              <a:gd name="connsiteX9" fmla="*/ 3711923 w 11943319"/>
              <a:gd name="connsiteY9" fmla="*/ 6303270 h 6614396"/>
              <a:gd name="connsiteX10" fmla="*/ 3584927 w 11943319"/>
              <a:gd name="connsiteY10" fmla="*/ 6176275 h 6614396"/>
              <a:gd name="connsiteX11" fmla="*/ 3584927 w 11943319"/>
              <a:gd name="connsiteY11" fmla="*/ 5938187 h 6614396"/>
              <a:gd name="connsiteX12" fmla="*/ 3457931 w 11943319"/>
              <a:gd name="connsiteY12" fmla="*/ 5811192 h 6614396"/>
              <a:gd name="connsiteX13" fmla="*/ 2705744 w 11943319"/>
              <a:gd name="connsiteY13" fmla="*/ 5811192 h 6614396"/>
              <a:gd name="connsiteX14" fmla="*/ 2578749 w 11943319"/>
              <a:gd name="connsiteY14" fmla="*/ 5684196 h 6614396"/>
              <a:gd name="connsiteX15" fmla="*/ 2578749 w 11943319"/>
              <a:gd name="connsiteY15" fmla="*/ 5334990 h 6614396"/>
              <a:gd name="connsiteX16" fmla="*/ 2451753 w 11943319"/>
              <a:gd name="connsiteY16" fmla="*/ 5207995 h 6614396"/>
              <a:gd name="connsiteX17" fmla="*/ 1807092 w 11943319"/>
              <a:gd name="connsiteY17" fmla="*/ 5207995 h 6614396"/>
              <a:gd name="connsiteX18" fmla="*/ 1680096 w 11943319"/>
              <a:gd name="connsiteY18" fmla="*/ 5080999 h 6614396"/>
              <a:gd name="connsiteX19" fmla="*/ 1680096 w 11943319"/>
              <a:gd name="connsiteY19" fmla="*/ 4934976 h 6614396"/>
              <a:gd name="connsiteX20" fmla="*/ 1648341 w 11943319"/>
              <a:gd name="connsiteY20" fmla="*/ 4903221 h 6614396"/>
              <a:gd name="connsiteX21" fmla="*/ 1616585 w 11943319"/>
              <a:gd name="connsiteY21" fmla="*/ 4871465 h 6614396"/>
              <a:gd name="connsiteX22" fmla="*/ 1616585 w 11943319"/>
              <a:gd name="connsiteY22" fmla="*/ 4725443 h 6614396"/>
              <a:gd name="connsiteX23" fmla="*/ 1489590 w 11943319"/>
              <a:gd name="connsiteY23" fmla="*/ 4598447 h 6614396"/>
              <a:gd name="connsiteX24" fmla="*/ 126996 w 11943319"/>
              <a:gd name="connsiteY24" fmla="*/ 4598447 h 6614396"/>
              <a:gd name="connsiteX25" fmla="*/ 0 w 11943319"/>
              <a:gd name="connsiteY25" fmla="*/ 4471451 h 6614396"/>
              <a:gd name="connsiteX26" fmla="*/ 0 w 11943319"/>
              <a:gd name="connsiteY26" fmla="*/ 758513 h 6614396"/>
              <a:gd name="connsiteX27" fmla="*/ 126996 w 11943319"/>
              <a:gd name="connsiteY27" fmla="*/ 631518 h 6614396"/>
              <a:gd name="connsiteX28" fmla="*/ 1476185 w 11943319"/>
              <a:gd name="connsiteY28" fmla="*/ 631518 h 6614396"/>
              <a:gd name="connsiteX29" fmla="*/ 1603180 w 11943319"/>
              <a:gd name="connsiteY29" fmla="*/ 504522 h 6614396"/>
              <a:gd name="connsiteX30" fmla="*/ 1603180 w 11943319"/>
              <a:gd name="connsiteY30" fmla="*/ 137955 h 6614396"/>
              <a:gd name="connsiteX31" fmla="*/ 1730020 w 11943319"/>
              <a:gd name="connsiteY31" fmla="*/ 10959 h 661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943319" h="6614396">
                <a:moveTo>
                  <a:pt x="11816192" y="1"/>
                </a:moveTo>
                <a:cubicBezTo>
                  <a:pt x="11886367" y="-77"/>
                  <a:pt x="11943319" y="56796"/>
                  <a:pt x="11943319" y="126997"/>
                </a:cubicBezTo>
                <a:lnTo>
                  <a:pt x="11943319" y="6476442"/>
                </a:lnTo>
                <a:cubicBezTo>
                  <a:pt x="11943319" y="6546460"/>
                  <a:pt x="11886627" y="6603281"/>
                  <a:pt x="11816583" y="6603437"/>
                </a:cubicBezTo>
                <a:lnTo>
                  <a:pt x="6521211" y="6614396"/>
                </a:lnTo>
                <a:lnTo>
                  <a:pt x="4936850" y="6614396"/>
                </a:lnTo>
                <a:cubicBezTo>
                  <a:pt x="4866727" y="6614396"/>
                  <a:pt x="4809855" y="6557549"/>
                  <a:pt x="4809855" y="6487400"/>
                </a:cubicBezTo>
                <a:lnTo>
                  <a:pt x="4809855" y="6430266"/>
                </a:lnTo>
                <a:cubicBezTo>
                  <a:pt x="4809855" y="6360144"/>
                  <a:pt x="4753007" y="6303270"/>
                  <a:pt x="4682858" y="6303270"/>
                </a:cubicBezTo>
                <a:lnTo>
                  <a:pt x="3711923" y="6303270"/>
                </a:lnTo>
                <a:cubicBezTo>
                  <a:pt x="3641801" y="6303270"/>
                  <a:pt x="3584927" y="6246423"/>
                  <a:pt x="3584927" y="6176275"/>
                </a:cubicBezTo>
                <a:lnTo>
                  <a:pt x="3584927" y="5938187"/>
                </a:lnTo>
                <a:cubicBezTo>
                  <a:pt x="3584927" y="5868065"/>
                  <a:pt x="3528080" y="5811192"/>
                  <a:pt x="3457931" y="5811192"/>
                </a:cubicBezTo>
                <a:lnTo>
                  <a:pt x="2705744" y="5811192"/>
                </a:lnTo>
                <a:cubicBezTo>
                  <a:pt x="2635622" y="5811192"/>
                  <a:pt x="2578749" y="5754344"/>
                  <a:pt x="2578749" y="5684196"/>
                </a:cubicBezTo>
                <a:lnTo>
                  <a:pt x="2578749" y="5334990"/>
                </a:lnTo>
                <a:cubicBezTo>
                  <a:pt x="2578749" y="5264868"/>
                  <a:pt x="2521901" y="5207995"/>
                  <a:pt x="2451753" y="5207995"/>
                </a:cubicBezTo>
                <a:lnTo>
                  <a:pt x="1807092" y="5207995"/>
                </a:lnTo>
                <a:cubicBezTo>
                  <a:pt x="1736970" y="5207995"/>
                  <a:pt x="1680096" y="5151148"/>
                  <a:pt x="1680096" y="5080999"/>
                </a:cubicBezTo>
                <a:lnTo>
                  <a:pt x="1680096" y="4934976"/>
                </a:lnTo>
                <a:cubicBezTo>
                  <a:pt x="1680096" y="4917433"/>
                  <a:pt x="1665884" y="4903221"/>
                  <a:pt x="1648341" y="4903221"/>
                </a:cubicBezTo>
                <a:cubicBezTo>
                  <a:pt x="1630797" y="4903221"/>
                  <a:pt x="1616585" y="4889009"/>
                  <a:pt x="1616585" y="4871465"/>
                </a:cubicBezTo>
                <a:lnTo>
                  <a:pt x="1616585" y="4725443"/>
                </a:lnTo>
                <a:cubicBezTo>
                  <a:pt x="1616585" y="4655320"/>
                  <a:pt x="1559738" y="4598447"/>
                  <a:pt x="1489590" y="4598447"/>
                </a:cubicBezTo>
                <a:lnTo>
                  <a:pt x="126996" y="4598447"/>
                </a:lnTo>
                <a:cubicBezTo>
                  <a:pt x="56873" y="4598447"/>
                  <a:pt x="0" y="4541599"/>
                  <a:pt x="0" y="4471451"/>
                </a:cubicBezTo>
                <a:lnTo>
                  <a:pt x="0" y="758513"/>
                </a:lnTo>
                <a:cubicBezTo>
                  <a:pt x="0" y="688391"/>
                  <a:pt x="56847" y="631518"/>
                  <a:pt x="126996" y="631518"/>
                </a:cubicBezTo>
                <a:lnTo>
                  <a:pt x="1476185" y="631518"/>
                </a:lnTo>
                <a:cubicBezTo>
                  <a:pt x="1546307" y="631518"/>
                  <a:pt x="1603180" y="574670"/>
                  <a:pt x="1603180" y="504522"/>
                </a:cubicBezTo>
                <a:lnTo>
                  <a:pt x="1603180" y="137955"/>
                </a:lnTo>
                <a:cubicBezTo>
                  <a:pt x="1603180" y="67885"/>
                  <a:pt x="1659950" y="11037"/>
                  <a:pt x="1730020" y="10959"/>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2" name="Tekst">
            <a:extLst>
              <a:ext uri="{FF2B5EF4-FFF2-40B4-BE49-F238E27FC236}">
                <a16:creationId xmlns:a16="http://schemas.microsoft.com/office/drawing/2014/main" id="{938190E1-593B-955D-6A2D-91EF93F243C3}"/>
              </a:ext>
            </a:extLst>
          </p:cNvPr>
          <p:cNvPicPr>
            <a:picLocks noGrp="1" noRot="1" noChangeAspect="1" noMove="1" noResize="1" noEditPoints="1" noAdjustHandles="1" noChangeArrowheads="1" noChangeShapeType="1" noCrop="1"/>
          </p:cNvPicPr>
          <p:nvPr userDrawn="1"/>
        </p:nvPicPr>
        <p:blipFill rotWithShape="1">
          <a:blip r:embed="rId4"/>
          <a:srcRect l="4902" t="14256" r="5570" b="17448"/>
          <a:stretch/>
        </p:blipFill>
        <p:spPr>
          <a:xfrm>
            <a:off x="118909" y="5463361"/>
            <a:ext cx="3443242" cy="895067"/>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7" y="5099685"/>
            <a:ext cx="1555787" cy="183600"/>
          </a:xfrm>
          <a:prstGeom prst="roundRect">
            <a:avLst>
              <a:gd name="adj" fmla="val 50000"/>
            </a:avLst>
          </a:prstGeom>
          <a:solidFill>
            <a:schemeClr val="accent4"/>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a:t>
            </a:r>
            <a:endParaRPr lang="nl-NL" dirty="0"/>
          </a:p>
        </p:txBody>
      </p:sp>
      <p:sp>
        <p:nvSpPr>
          <p:cNvPr id="7" name="Tijdelijke aanduiding voor tekst 2">
            <a:extLst>
              <a:ext uri="{FF2B5EF4-FFF2-40B4-BE49-F238E27FC236}">
                <a16:creationId xmlns:a16="http://schemas.microsoft.com/office/drawing/2014/main" id="{3DCCD377-7664-1998-E9A3-CC1A4EDD004A}"/>
              </a:ext>
            </a:extLst>
          </p:cNvPr>
          <p:cNvSpPr>
            <a:spLocks noGrp="1"/>
          </p:cNvSpPr>
          <p:nvPr>
            <p:ph type="body" idx="12" hasCustomPrompt="1"/>
          </p:nvPr>
        </p:nvSpPr>
        <p:spPr>
          <a:xfrm>
            <a:off x="152998" y="4880642"/>
            <a:ext cx="1486800" cy="119135"/>
          </a:xfrm>
        </p:spPr>
        <p:txBody>
          <a:bodyPr anchor="t" anchorCtr="0">
            <a:spAutoFit/>
          </a:bodyPr>
          <a:lstStyle>
            <a:lvl1pPr marL="0" indent="0">
              <a:buNone/>
              <a:defRPr sz="75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33242107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rie i's">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9344806E-44BD-C80A-A0B3-DCD936446204}"/>
              </a:ext>
            </a:extLst>
          </p:cNvPr>
          <p:cNvSpPr>
            <a:spLocks noGrp="1" noRot="1" noMove="1" noResize="1" noEditPoints="1" noAdjustHandles="1" noChangeArrowheads="1" noChangeShapeType="1"/>
          </p:cNvSpPr>
          <p:nvPr userDrawn="1"/>
        </p:nvSpPr>
        <p:spPr>
          <a:xfrm flipH="1">
            <a:off x="63977" y="63500"/>
            <a:ext cx="12064045" cy="6731000"/>
          </a:xfrm>
          <a:custGeom>
            <a:avLst/>
            <a:gdLst>
              <a:gd name="connsiteX0" fmla="*/ 11937045 w 12064045"/>
              <a:gd name="connsiteY0" fmla="*/ 0 h 6731000"/>
              <a:gd name="connsiteX1" fmla="*/ 6242685 w 12064045"/>
              <a:gd name="connsiteY1" fmla="*/ 0 h 6731000"/>
              <a:gd name="connsiteX2" fmla="*/ 6242685 w 12064045"/>
              <a:gd name="connsiteY2" fmla="*/ 391 h 6731000"/>
              <a:gd name="connsiteX3" fmla="*/ 1787191 w 12064045"/>
              <a:gd name="connsiteY3" fmla="*/ 391 h 6731000"/>
              <a:gd name="connsiteX4" fmla="*/ 1660206 w 12064045"/>
              <a:gd name="connsiteY4" fmla="*/ 127376 h 6731000"/>
              <a:gd name="connsiteX5" fmla="*/ 1660206 w 12064045"/>
              <a:gd name="connsiteY5" fmla="*/ 552777 h 6731000"/>
              <a:gd name="connsiteX6" fmla="*/ 1533220 w 12064045"/>
              <a:gd name="connsiteY6" fmla="*/ 679762 h 6731000"/>
              <a:gd name="connsiteX7" fmla="*/ 126985 w 12064045"/>
              <a:gd name="connsiteY7" fmla="*/ 679762 h 6731000"/>
              <a:gd name="connsiteX8" fmla="*/ 0 w 12064045"/>
              <a:gd name="connsiteY8" fmla="*/ 806874 h 6731000"/>
              <a:gd name="connsiteX9" fmla="*/ 6095 w 12064045"/>
              <a:gd name="connsiteY9" fmla="*/ 6603752 h 6731000"/>
              <a:gd name="connsiteX10" fmla="*/ 133081 w 12064045"/>
              <a:gd name="connsiteY10" fmla="*/ 6730610 h 6731000"/>
              <a:gd name="connsiteX11" fmla="*/ 6242685 w 12064045"/>
              <a:gd name="connsiteY11" fmla="*/ 6730610 h 6731000"/>
              <a:gd name="connsiteX12" fmla="*/ 6242685 w 12064045"/>
              <a:gd name="connsiteY12" fmla="*/ 6731000 h 6731000"/>
              <a:gd name="connsiteX13" fmla="*/ 11930949 w 12064045"/>
              <a:gd name="connsiteY13" fmla="*/ 6731000 h 6731000"/>
              <a:gd name="connsiteX14" fmla="*/ 11937045 w 12064045"/>
              <a:gd name="connsiteY14" fmla="*/ 6731000 h 6731000"/>
              <a:gd name="connsiteX15" fmla="*/ 12064045 w 12064045"/>
              <a:gd name="connsiteY15" fmla="*/ 6604000 h 6731000"/>
              <a:gd name="connsiteX16" fmla="*/ 12064045 w 12064045"/>
              <a:gd name="connsiteY16" fmla="*/ 127000 h 6731000"/>
              <a:gd name="connsiteX17" fmla="*/ 11937045 w 12064045"/>
              <a:gd name="connsiteY17"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64045" h="6731000">
                <a:moveTo>
                  <a:pt x="11937045" y="0"/>
                </a:moveTo>
                <a:lnTo>
                  <a:pt x="6242685" y="0"/>
                </a:lnTo>
                <a:lnTo>
                  <a:pt x="6242685" y="391"/>
                </a:lnTo>
                <a:lnTo>
                  <a:pt x="1787191" y="391"/>
                </a:lnTo>
                <a:cubicBezTo>
                  <a:pt x="1717031" y="391"/>
                  <a:pt x="1660206" y="57217"/>
                  <a:pt x="1660206" y="127376"/>
                </a:cubicBezTo>
                <a:lnTo>
                  <a:pt x="1660206" y="552777"/>
                </a:lnTo>
                <a:cubicBezTo>
                  <a:pt x="1660206" y="622936"/>
                  <a:pt x="1603380" y="679762"/>
                  <a:pt x="1533220" y="679762"/>
                </a:cubicBezTo>
                <a:lnTo>
                  <a:pt x="126985" y="679762"/>
                </a:lnTo>
                <a:cubicBezTo>
                  <a:pt x="56826" y="679762"/>
                  <a:pt x="-63" y="736715"/>
                  <a:pt x="0" y="806874"/>
                </a:cubicBezTo>
                <a:cubicBezTo>
                  <a:pt x="2032" y="2739167"/>
                  <a:pt x="4063" y="4671459"/>
                  <a:pt x="6095" y="6603752"/>
                </a:cubicBezTo>
                <a:cubicBezTo>
                  <a:pt x="6159" y="6673848"/>
                  <a:pt x="62985" y="6730610"/>
                  <a:pt x="133081" y="6730610"/>
                </a:cubicBezTo>
                <a:lnTo>
                  <a:pt x="6242685" y="6730610"/>
                </a:lnTo>
                <a:lnTo>
                  <a:pt x="6242685" y="6731000"/>
                </a:lnTo>
                <a:lnTo>
                  <a:pt x="11930949" y="6731000"/>
                </a:lnTo>
                <a:lnTo>
                  <a:pt x="11937045" y="6731000"/>
                </a:lnTo>
                <a:cubicBezTo>
                  <a:pt x="12007213" y="6731000"/>
                  <a:pt x="12064045" y="6674168"/>
                  <a:pt x="12064045" y="6604000"/>
                </a:cubicBezTo>
                <a:lnTo>
                  <a:pt x="12064045" y="127000"/>
                </a:lnTo>
                <a:cubicBezTo>
                  <a:pt x="12064045" y="56833"/>
                  <a:pt x="12007213" y="0"/>
                  <a:pt x="11937045" y="0"/>
                </a:cubicBezTo>
                <a:close/>
              </a:path>
            </a:pathLst>
          </a:custGeom>
          <a:solidFill>
            <a:schemeClr val="bg1"/>
          </a:solidFill>
          <a:ln w="0" cap="flat">
            <a:noFill/>
            <a:prstDash val="solid"/>
            <a:miter/>
          </a:ln>
        </p:spPr>
        <p:txBody>
          <a:bodyPr rtlCol="0" anchor="ctr"/>
          <a:lstStyle/>
          <a:p>
            <a:endParaRPr lang="en-GB"/>
          </a:p>
        </p:txBody>
      </p:sp>
      <p:pic>
        <p:nvPicPr>
          <p:cNvPr id="6" name="Logo">
            <a:extLst>
              <a:ext uri="{FF2B5EF4-FFF2-40B4-BE49-F238E27FC236}">
                <a16:creationId xmlns:a16="http://schemas.microsoft.com/office/drawing/2014/main" id="{5AE7DC46-F571-4C0E-591B-70F88DA25C69}"/>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3177008"/>
            <a:ext cx="4536000" cy="503984"/>
          </a:xfrm>
        </p:spPr>
        <p:txBody>
          <a:bodyPr anchor="ctr" anchorCtr="0"/>
          <a:lstStyle>
            <a:lvl1pPr algn="l">
              <a:defRPr sz="3000"/>
            </a:lvl1pPr>
          </a:lstStyle>
          <a:p>
            <a:r>
              <a:rPr lang="nl-NL"/>
              <a:t>Titel</a:t>
            </a:r>
            <a:endParaRPr lang="nl-NL" dirty="0"/>
          </a:p>
        </p:txBody>
      </p:sp>
      <p:sp>
        <p:nvSpPr>
          <p:cNvPr id="21" name="Tijdelijke aanduiding voor afbeelding 20">
            <a:extLst>
              <a:ext uri="{FF2B5EF4-FFF2-40B4-BE49-F238E27FC236}">
                <a16:creationId xmlns:a16="http://schemas.microsoft.com/office/drawing/2014/main" id="{5E9D6C20-A1E9-E726-ED8A-B8E80466B1B4}"/>
              </a:ext>
            </a:extLst>
          </p:cNvPr>
          <p:cNvSpPr>
            <a:spLocks noGrp="1"/>
          </p:cNvSpPr>
          <p:nvPr>
            <p:ph type="pic" sz="quarter" idx="19"/>
          </p:nvPr>
        </p:nvSpPr>
        <p:spPr>
          <a:xfrm>
            <a:off x="5866128" y="127001"/>
            <a:ext cx="6142992" cy="2146808"/>
          </a:xfrm>
          <a:custGeom>
            <a:avLst/>
            <a:gdLst>
              <a:gd name="connsiteX0" fmla="*/ 211504 w 6142992"/>
              <a:gd name="connsiteY0" fmla="*/ 0 h 2146808"/>
              <a:gd name="connsiteX1" fmla="*/ 980442 w 6142992"/>
              <a:gd name="connsiteY1" fmla="*/ 0 h 2146808"/>
              <a:gd name="connsiteX2" fmla="*/ 3891330 w 6142992"/>
              <a:gd name="connsiteY2" fmla="*/ 0 h 2146808"/>
              <a:gd name="connsiteX3" fmla="*/ 4368167 w 6142992"/>
              <a:gd name="connsiteY3" fmla="*/ 0 h 2146808"/>
              <a:gd name="connsiteX4" fmla="*/ 4495167 w 6142992"/>
              <a:gd name="connsiteY4" fmla="*/ 127000 h 2146808"/>
              <a:gd name="connsiteX5" fmla="*/ 4495167 w 6142992"/>
              <a:gd name="connsiteY5" fmla="*/ 558800 h 2146808"/>
              <a:gd name="connsiteX6" fmla="*/ 4622167 w 6142992"/>
              <a:gd name="connsiteY6" fmla="*/ 685800 h 2146808"/>
              <a:gd name="connsiteX7" fmla="*/ 6015992 w 6142992"/>
              <a:gd name="connsiteY7" fmla="*/ 685800 h 2146808"/>
              <a:gd name="connsiteX8" fmla="*/ 6142992 w 6142992"/>
              <a:gd name="connsiteY8" fmla="*/ 812800 h 2146808"/>
              <a:gd name="connsiteX9" fmla="*/ 6142992 w 6142992"/>
              <a:gd name="connsiteY9" fmla="*/ 972593 h 2146808"/>
              <a:gd name="connsiteX10" fmla="*/ 6142992 w 6142992"/>
              <a:gd name="connsiteY10" fmla="*/ 1817547 h 2146808"/>
              <a:gd name="connsiteX11" fmla="*/ 6142992 w 6142992"/>
              <a:gd name="connsiteY11" fmla="*/ 1935304 h 2146808"/>
              <a:gd name="connsiteX12" fmla="*/ 5931488 w 6142992"/>
              <a:gd name="connsiteY12" fmla="*/ 2146808 h 2146808"/>
              <a:gd name="connsiteX13" fmla="*/ 211504 w 6142992"/>
              <a:gd name="connsiteY13" fmla="*/ 2146808 h 2146808"/>
              <a:gd name="connsiteX14" fmla="*/ 0 w 6142992"/>
              <a:gd name="connsiteY14" fmla="*/ 1935304 h 2146808"/>
              <a:gd name="connsiteX15" fmla="*/ 0 w 6142992"/>
              <a:gd name="connsiteY15" fmla="*/ 211504 h 2146808"/>
              <a:gd name="connsiteX16" fmla="*/ 211504 w 6142992"/>
              <a:gd name="connsiteY16" fmla="*/ 0 h 214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42992" h="2146808">
                <a:moveTo>
                  <a:pt x="211504" y="0"/>
                </a:moveTo>
                <a:lnTo>
                  <a:pt x="980442" y="0"/>
                </a:lnTo>
                <a:lnTo>
                  <a:pt x="3891330" y="0"/>
                </a:lnTo>
                <a:lnTo>
                  <a:pt x="4368167" y="0"/>
                </a:lnTo>
                <a:cubicBezTo>
                  <a:pt x="4438017" y="0"/>
                  <a:pt x="4495167" y="56833"/>
                  <a:pt x="4495167" y="127000"/>
                </a:cubicBezTo>
                <a:lnTo>
                  <a:pt x="4495167" y="558800"/>
                </a:lnTo>
                <a:cubicBezTo>
                  <a:pt x="4495167" y="628968"/>
                  <a:pt x="4552317" y="685800"/>
                  <a:pt x="4622167" y="685800"/>
                </a:cubicBezTo>
                <a:lnTo>
                  <a:pt x="6015992" y="685800"/>
                </a:lnTo>
                <a:cubicBezTo>
                  <a:pt x="6085842" y="685800"/>
                  <a:pt x="6142992" y="742633"/>
                  <a:pt x="6142992" y="812800"/>
                </a:cubicBezTo>
                <a:lnTo>
                  <a:pt x="6142992" y="972593"/>
                </a:lnTo>
                <a:lnTo>
                  <a:pt x="6142992" y="1817547"/>
                </a:lnTo>
                <a:lnTo>
                  <a:pt x="6142992" y="1935304"/>
                </a:lnTo>
                <a:cubicBezTo>
                  <a:pt x="6142992" y="2052114"/>
                  <a:pt x="6048298" y="2146808"/>
                  <a:pt x="5931488" y="2146808"/>
                </a:cubicBezTo>
                <a:lnTo>
                  <a:pt x="211504" y="2146808"/>
                </a:lnTo>
                <a:cubicBezTo>
                  <a:pt x="94694" y="2146808"/>
                  <a:pt x="0" y="2052114"/>
                  <a:pt x="0" y="1935304"/>
                </a:cubicBezTo>
                <a:lnTo>
                  <a:pt x="0" y="211504"/>
                </a:lnTo>
                <a:cubicBezTo>
                  <a:pt x="0" y="94694"/>
                  <a:pt x="94694" y="0"/>
                  <a:pt x="21150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2" name="Tijdelijke aanduiding voor afbeelding 11">
            <a:extLst>
              <a:ext uri="{FF2B5EF4-FFF2-40B4-BE49-F238E27FC236}">
                <a16:creationId xmlns:a16="http://schemas.microsoft.com/office/drawing/2014/main" id="{1EFBB957-C56D-3783-5E39-DBC05B4E28F4}"/>
              </a:ext>
            </a:extLst>
          </p:cNvPr>
          <p:cNvSpPr>
            <a:spLocks noGrp="1"/>
          </p:cNvSpPr>
          <p:nvPr>
            <p:ph type="pic" sz="quarter" idx="20"/>
          </p:nvPr>
        </p:nvSpPr>
        <p:spPr>
          <a:xfrm>
            <a:off x="5866128" y="2355597"/>
            <a:ext cx="6142992" cy="2146808"/>
          </a:xfrm>
          <a:prstGeom prst="roundRect">
            <a:avLst>
              <a:gd name="adj" fmla="val 9852"/>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3" name="Tijdelijke aanduiding voor afbeelding 12">
            <a:extLst>
              <a:ext uri="{FF2B5EF4-FFF2-40B4-BE49-F238E27FC236}">
                <a16:creationId xmlns:a16="http://schemas.microsoft.com/office/drawing/2014/main" id="{FD1DDD1A-31D6-F617-755C-10E9F07D47FC}"/>
              </a:ext>
            </a:extLst>
          </p:cNvPr>
          <p:cNvSpPr>
            <a:spLocks noGrp="1"/>
          </p:cNvSpPr>
          <p:nvPr>
            <p:ph type="pic" sz="quarter" idx="21"/>
          </p:nvPr>
        </p:nvSpPr>
        <p:spPr>
          <a:xfrm>
            <a:off x="5866128" y="4584192"/>
            <a:ext cx="6142992" cy="2146808"/>
          </a:xfrm>
          <a:prstGeom prst="roundRect">
            <a:avLst>
              <a:gd name="adj" fmla="val 9852"/>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2" name="Tijdelijke aanduiding voor tekst 8">
            <a:extLst>
              <a:ext uri="{FF2B5EF4-FFF2-40B4-BE49-F238E27FC236}">
                <a16:creationId xmlns:a16="http://schemas.microsoft.com/office/drawing/2014/main" id="{6C759515-462C-D5FA-F843-2FD7CB6BF4C7}"/>
              </a:ext>
            </a:extLst>
          </p:cNvPr>
          <p:cNvSpPr>
            <a:spLocks noGrp="1"/>
          </p:cNvSpPr>
          <p:nvPr>
            <p:ph type="body" sz="quarter" idx="13" hasCustomPrompt="1"/>
          </p:nvPr>
        </p:nvSpPr>
        <p:spPr>
          <a:xfrm>
            <a:off x="6134977" y="1340169"/>
            <a:ext cx="2340000" cy="317523"/>
          </a:xfrm>
        </p:spPr>
        <p:txBody>
          <a:bodyPr wrap="square">
            <a:spAutoFit/>
          </a:bodyPr>
          <a:lstStyle>
            <a:lvl1pPr>
              <a:defRPr sz="2000" b="1">
                <a:solidFill>
                  <a:schemeClr val="bg1"/>
                </a:solidFill>
                <a:latin typeface="+mn-lt"/>
              </a:defRPr>
            </a:lvl1pPr>
          </a:lstStyle>
          <a:p>
            <a:pPr lvl="0"/>
            <a:r>
              <a:rPr lang="nl-NL"/>
              <a:t>Tekst</a:t>
            </a:r>
            <a:endParaRPr lang="nl-NL" dirty="0"/>
          </a:p>
        </p:txBody>
      </p:sp>
      <p:sp>
        <p:nvSpPr>
          <p:cNvPr id="28" name="Tijdelijke aanduiding voor tekst 8">
            <a:extLst>
              <a:ext uri="{FF2B5EF4-FFF2-40B4-BE49-F238E27FC236}">
                <a16:creationId xmlns:a16="http://schemas.microsoft.com/office/drawing/2014/main" id="{631522B9-E2B8-37A5-8623-A07497D501D1}"/>
              </a:ext>
            </a:extLst>
          </p:cNvPr>
          <p:cNvSpPr>
            <a:spLocks noGrp="1"/>
          </p:cNvSpPr>
          <p:nvPr>
            <p:ph type="body" sz="quarter" idx="22" hasCustomPrompt="1"/>
          </p:nvPr>
        </p:nvSpPr>
        <p:spPr>
          <a:xfrm>
            <a:off x="6134977" y="1750041"/>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30" name="Tijdelijke aanduiding voor tekst 8">
            <a:extLst>
              <a:ext uri="{FF2B5EF4-FFF2-40B4-BE49-F238E27FC236}">
                <a16:creationId xmlns:a16="http://schemas.microsoft.com/office/drawing/2014/main" id="{AA8FCC21-DB64-DAD9-08B4-B464B3CC4928}"/>
              </a:ext>
            </a:extLst>
          </p:cNvPr>
          <p:cNvSpPr>
            <a:spLocks noGrp="1"/>
          </p:cNvSpPr>
          <p:nvPr>
            <p:ph type="body" sz="quarter" idx="24" hasCustomPrompt="1"/>
          </p:nvPr>
        </p:nvSpPr>
        <p:spPr>
          <a:xfrm>
            <a:off x="6134977" y="3568764"/>
            <a:ext cx="2340000" cy="317523"/>
          </a:xfrm>
        </p:spPr>
        <p:txBody>
          <a:bodyPr wrap="square">
            <a:spAutoFit/>
          </a:bodyPr>
          <a:lstStyle>
            <a:lvl1pPr>
              <a:defRPr sz="2000" b="1">
                <a:solidFill>
                  <a:schemeClr val="bg1"/>
                </a:solidFill>
                <a:latin typeface="+mn-lt"/>
              </a:defRPr>
            </a:lvl1pPr>
          </a:lstStyle>
          <a:p>
            <a:pPr lvl="0"/>
            <a:r>
              <a:rPr lang="nl-NL"/>
              <a:t>Tekst</a:t>
            </a:r>
            <a:endParaRPr lang="nl-NL" dirty="0"/>
          </a:p>
        </p:txBody>
      </p:sp>
      <p:sp>
        <p:nvSpPr>
          <p:cNvPr id="31" name="Tijdelijke aanduiding voor tekst 8">
            <a:extLst>
              <a:ext uri="{FF2B5EF4-FFF2-40B4-BE49-F238E27FC236}">
                <a16:creationId xmlns:a16="http://schemas.microsoft.com/office/drawing/2014/main" id="{4A6524F9-CD4F-C48A-75F9-8EC16FB0C36E}"/>
              </a:ext>
            </a:extLst>
          </p:cNvPr>
          <p:cNvSpPr>
            <a:spLocks noGrp="1"/>
          </p:cNvSpPr>
          <p:nvPr>
            <p:ph type="body" sz="quarter" idx="25" hasCustomPrompt="1"/>
          </p:nvPr>
        </p:nvSpPr>
        <p:spPr>
          <a:xfrm>
            <a:off x="6134977" y="397863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33" name="Tijdelijke aanduiding voor tekst 8">
            <a:extLst>
              <a:ext uri="{FF2B5EF4-FFF2-40B4-BE49-F238E27FC236}">
                <a16:creationId xmlns:a16="http://schemas.microsoft.com/office/drawing/2014/main" id="{27AC645A-7C35-E5C9-88DA-FA88C25C7DF2}"/>
              </a:ext>
            </a:extLst>
          </p:cNvPr>
          <p:cNvSpPr>
            <a:spLocks noGrp="1"/>
          </p:cNvSpPr>
          <p:nvPr>
            <p:ph type="body" sz="quarter" idx="27" hasCustomPrompt="1"/>
          </p:nvPr>
        </p:nvSpPr>
        <p:spPr>
          <a:xfrm>
            <a:off x="6134977" y="5807922"/>
            <a:ext cx="2340000" cy="317523"/>
          </a:xfrm>
        </p:spPr>
        <p:txBody>
          <a:bodyPr wrap="square">
            <a:spAutoFit/>
          </a:bodyPr>
          <a:lstStyle>
            <a:lvl1pPr>
              <a:defRPr sz="2000" b="1">
                <a:solidFill>
                  <a:schemeClr val="bg1"/>
                </a:solidFill>
                <a:latin typeface="+mn-lt"/>
              </a:defRPr>
            </a:lvl1pPr>
          </a:lstStyle>
          <a:p>
            <a:pPr lvl="0"/>
            <a:r>
              <a:rPr lang="nl-NL"/>
              <a:t>Tekst</a:t>
            </a:r>
            <a:endParaRPr lang="nl-NL" dirty="0"/>
          </a:p>
        </p:txBody>
      </p:sp>
      <p:sp>
        <p:nvSpPr>
          <p:cNvPr id="34" name="Tijdelijke aanduiding voor tekst 8">
            <a:extLst>
              <a:ext uri="{FF2B5EF4-FFF2-40B4-BE49-F238E27FC236}">
                <a16:creationId xmlns:a16="http://schemas.microsoft.com/office/drawing/2014/main" id="{47FA5E21-E7B6-1F1A-374F-090E399E11A3}"/>
              </a:ext>
            </a:extLst>
          </p:cNvPr>
          <p:cNvSpPr>
            <a:spLocks noGrp="1"/>
          </p:cNvSpPr>
          <p:nvPr>
            <p:ph type="body" sz="quarter" idx="28" hasCustomPrompt="1"/>
          </p:nvPr>
        </p:nvSpPr>
        <p:spPr>
          <a:xfrm>
            <a:off x="6134977" y="6217794"/>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Tree>
    <p:extLst>
      <p:ext uri="{BB962C8B-B14F-4D97-AF65-F5344CB8AC3E}">
        <p14:creationId xmlns:p14="http://schemas.microsoft.com/office/powerpoint/2010/main" val="210443354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rie eco's">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3961440" y="557262"/>
            <a:ext cx="7560000" cy="503984"/>
          </a:xfrm>
        </p:spPr>
        <p:txBody>
          <a:bodyPr anchor="t" anchorCtr="0"/>
          <a:lstStyle>
            <a:lvl1pPr algn="r">
              <a:defRPr sz="3000"/>
            </a:lvl1pPr>
          </a:lstStyle>
          <a:p>
            <a:r>
              <a:rPr lang="nl-NL"/>
              <a:t>Titel</a:t>
            </a:r>
            <a:endParaRPr lang="nl-NL" dirty="0"/>
          </a:p>
        </p:txBody>
      </p:sp>
      <p:sp>
        <p:nvSpPr>
          <p:cNvPr id="13" name="Tijdelijke aanduiding voor afbeelding 12">
            <a:extLst>
              <a:ext uri="{FF2B5EF4-FFF2-40B4-BE49-F238E27FC236}">
                <a16:creationId xmlns:a16="http://schemas.microsoft.com/office/drawing/2014/main" id="{FD1DDD1A-31D6-F617-755C-10E9F07D47FC}"/>
              </a:ext>
            </a:extLst>
          </p:cNvPr>
          <p:cNvSpPr>
            <a:spLocks noGrp="1"/>
          </p:cNvSpPr>
          <p:nvPr>
            <p:ph type="pic" sz="quarter" idx="21"/>
          </p:nvPr>
        </p:nvSpPr>
        <p:spPr>
          <a:xfrm>
            <a:off x="247648" y="2430892"/>
            <a:ext cx="3663952" cy="4005468"/>
          </a:xfrm>
          <a:prstGeom prst="roundRect">
            <a:avLst>
              <a:gd name="adj" fmla="val 5277"/>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0" name="Tijdelijke aanduiding voor tekst 8">
            <a:extLst>
              <a:ext uri="{FF2B5EF4-FFF2-40B4-BE49-F238E27FC236}">
                <a16:creationId xmlns:a16="http://schemas.microsoft.com/office/drawing/2014/main" id="{AA8FCC21-DB64-DAD9-08B4-B464B3CC4928}"/>
              </a:ext>
            </a:extLst>
          </p:cNvPr>
          <p:cNvSpPr>
            <a:spLocks noGrp="1"/>
          </p:cNvSpPr>
          <p:nvPr>
            <p:ph type="body" sz="quarter" idx="24" hasCustomPrompt="1"/>
          </p:nvPr>
        </p:nvSpPr>
        <p:spPr>
          <a:xfrm>
            <a:off x="465697" y="5666804"/>
            <a:ext cx="2340000" cy="317523"/>
          </a:xfrm>
        </p:spPr>
        <p:txBody>
          <a:bodyPr wrap="square" anchor="b" anchorCtr="0">
            <a:spAutoFit/>
          </a:bodyPr>
          <a:lstStyle>
            <a:lvl1pPr>
              <a:defRPr sz="2000" b="1">
                <a:solidFill>
                  <a:schemeClr val="bg1"/>
                </a:solidFill>
                <a:latin typeface="+mn-lt"/>
              </a:defRPr>
            </a:lvl1pPr>
          </a:lstStyle>
          <a:p>
            <a:pPr lvl="0"/>
            <a:r>
              <a:rPr lang="nl-NL"/>
              <a:t>Tekst</a:t>
            </a:r>
            <a:endParaRPr lang="nl-NL" dirty="0"/>
          </a:p>
        </p:txBody>
      </p:sp>
      <p:sp>
        <p:nvSpPr>
          <p:cNvPr id="31" name="Tijdelijke aanduiding voor tekst 8">
            <a:extLst>
              <a:ext uri="{FF2B5EF4-FFF2-40B4-BE49-F238E27FC236}">
                <a16:creationId xmlns:a16="http://schemas.microsoft.com/office/drawing/2014/main" id="{4A6524F9-CD4F-C48A-75F9-8EC16FB0C36E}"/>
              </a:ext>
            </a:extLst>
          </p:cNvPr>
          <p:cNvSpPr>
            <a:spLocks noGrp="1"/>
          </p:cNvSpPr>
          <p:nvPr>
            <p:ph type="body" sz="quarter" idx="25" hasCustomPrompt="1"/>
          </p:nvPr>
        </p:nvSpPr>
        <p:spPr>
          <a:xfrm>
            <a:off x="465697" y="608175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2" name="Tijdelijke aanduiding voor afbeelding 1">
            <a:extLst>
              <a:ext uri="{FF2B5EF4-FFF2-40B4-BE49-F238E27FC236}">
                <a16:creationId xmlns:a16="http://schemas.microsoft.com/office/drawing/2014/main" id="{520AE496-C44D-8BCE-EC22-6569A609FC7A}"/>
              </a:ext>
            </a:extLst>
          </p:cNvPr>
          <p:cNvSpPr>
            <a:spLocks noGrp="1"/>
          </p:cNvSpPr>
          <p:nvPr>
            <p:ph type="pic" sz="quarter" idx="26"/>
          </p:nvPr>
        </p:nvSpPr>
        <p:spPr>
          <a:xfrm>
            <a:off x="7857488" y="2430892"/>
            <a:ext cx="3663952" cy="4005468"/>
          </a:xfrm>
          <a:prstGeom prst="roundRect">
            <a:avLst>
              <a:gd name="adj" fmla="val 5277"/>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 name="Tijdelijke aanduiding voor tekst 8">
            <a:extLst>
              <a:ext uri="{FF2B5EF4-FFF2-40B4-BE49-F238E27FC236}">
                <a16:creationId xmlns:a16="http://schemas.microsoft.com/office/drawing/2014/main" id="{86077B2E-DC7B-21D1-4049-5E0BD3820361}"/>
              </a:ext>
            </a:extLst>
          </p:cNvPr>
          <p:cNvSpPr>
            <a:spLocks noGrp="1"/>
          </p:cNvSpPr>
          <p:nvPr>
            <p:ph type="body" sz="quarter" idx="27" hasCustomPrompt="1"/>
          </p:nvPr>
        </p:nvSpPr>
        <p:spPr>
          <a:xfrm>
            <a:off x="8075537" y="5666804"/>
            <a:ext cx="2340000" cy="317523"/>
          </a:xfrm>
        </p:spPr>
        <p:txBody>
          <a:bodyPr wrap="square" anchor="b" anchorCtr="0">
            <a:spAutoFit/>
          </a:bodyPr>
          <a:lstStyle>
            <a:lvl1pPr>
              <a:defRPr sz="2000" b="1">
                <a:solidFill>
                  <a:schemeClr val="bg1"/>
                </a:solidFill>
                <a:latin typeface="+mn-lt"/>
              </a:defRPr>
            </a:lvl1pPr>
          </a:lstStyle>
          <a:p>
            <a:pPr lvl="0"/>
            <a:r>
              <a:rPr lang="nl-NL"/>
              <a:t>Tekst</a:t>
            </a:r>
            <a:endParaRPr lang="nl-NL" dirty="0"/>
          </a:p>
        </p:txBody>
      </p:sp>
      <p:sp>
        <p:nvSpPr>
          <p:cNvPr id="7" name="Tijdelijke aanduiding voor tekst 8">
            <a:extLst>
              <a:ext uri="{FF2B5EF4-FFF2-40B4-BE49-F238E27FC236}">
                <a16:creationId xmlns:a16="http://schemas.microsoft.com/office/drawing/2014/main" id="{AA35B4D7-F55F-B4FC-54FC-7B80B0D652D3}"/>
              </a:ext>
            </a:extLst>
          </p:cNvPr>
          <p:cNvSpPr>
            <a:spLocks noGrp="1"/>
          </p:cNvSpPr>
          <p:nvPr>
            <p:ph type="body" sz="quarter" idx="28" hasCustomPrompt="1"/>
          </p:nvPr>
        </p:nvSpPr>
        <p:spPr>
          <a:xfrm>
            <a:off x="8075537" y="608175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9" name="Tijdelijke aanduiding voor afbeelding 8">
            <a:extLst>
              <a:ext uri="{FF2B5EF4-FFF2-40B4-BE49-F238E27FC236}">
                <a16:creationId xmlns:a16="http://schemas.microsoft.com/office/drawing/2014/main" id="{CCCA9AFD-5885-4013-A1EF-D1609692000F}"/>
              </a:ext>
            </a:extLst>
          </p:cNvPr>
          <p:cNvSpPr>
            <a:spLocks noGrp="1"/>
          </p:cNvSpPr>
          <p:nvPr>
            <p:ph type="pic" sz="quarter" idx="29"/>
          </p:nvPr>
        </p:nvSpPr>
        <p:spPr>
          <a:xfrm>
            <a:off x="4052568" y="2430892"/>
            <a:ext cx="3663952" cy="4005468"/>
          </a:xfrm>
          <a:prstGeom prst="roundRect">
            <a:avLst>
              <a:gd name="adj" fmla="val 5277"/>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0" name="Tijdelijke aanduiding voor tekst 8">
            <a:extLst>
              <a:ext uri="{FF2B5EF4-FFF2-40B4-BE49-F238E27FC236}">
                <a16:creationId xmlns:a16="http://schemas.microsoft.com/office/drawing/2014/main" id="{A0455B6E-410A-AD68-0C98-E827ED77FC5C}"/>
              </a:ext>
            </a:extLst>
          </p:cNvPr>
          <p:cNvSpPr>
            <a:spLocks noGrp="1"/>
          </p:cNvSpPr>
          <p:nvPr>
            <p:ph type="body" sz="quarter" idx="30" hasCustomPrompt="1"/>
          </p:nvPr>
        </p:nvSpPr>
        <p:spPr>
          <a:xfrm>
            <a:off x="4270617" y="5666804"/>
            <a:ext cx="2340000" cy="317523"/>
          </a:xfrm>
        </p:spPr>
        <p:txBody>
          <a:bodyPr wrap="square" anchor="b" anchorCtr="0">
            <a:spAutoFit/>
          </a:bodyPr>
          <a:lstStyle>
            <a:lvl1pPr>
              <a:defRPr sz="2000" b="1">
                <a:solidFill>
                  <a:schemeClr val="bg1"/>
                </a:solidFill>
                <a:latin typeface="+mn-lt"/>
              </a:defRPr>
            </a:lvl1pPr>
          </a:lstStyle>
          <a:p>
            <a:pPr lvl="0"/>
            <a:r>
              <a:rPr lang="nl-NL"/>
              <a:t>Tekst</a:t>
            </a:r>
            <a:endParaRPr lang="nl-NL" dirty="0"/>
          </a:p>
        </p:txBody>
      </p:sp>
      <p:sp>
        <p:nvSpPr>
          <p:cNvPr id="11" name="Tijdelijke aanduiding voor tekst 8">
            <a:extLst>
              <a:ext uri="{FF2B5EF4-FFF2-40B4-BE49-F238E27FC236}">
                <a16:creationId xmlns:a16="http://schemas.microsoft.com/office/drawing/2014/main" id="{1A093F01-926C-1F99-EB22-DD9ED0C22AAF}"/>
              </a:ext>
            </a:extLst>
          </p:cNvPr>
          <p:cNvSpPr>
            <a:spLocks noGrp="1"/>
          </p:cNvSpPr>
          <p:nvPr>
            <p:ph type="body" sz="quarter" idx="31" hasCustomPrompt="1"/>
          </p:nvPr>
        </p:nvSpPr>
        <p:spPr>
          <a:xfrm>
            <a:off x="4270617" y="608175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Tree>
    <p:extLst>
      <p:ext uri="{BB962C8B-B14F-4D97-AF65-F5344CB8AC3E}">
        <p14:creationId xmlns:p14="http://schemas.microsoft.com/office/powerpoint/2010/main" val="338162368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Hoofdstuk Lichtblauw">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4"/>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43778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64407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175577"/>
            <a:ext cx="664014" cy="182744"/>
          </a:xfrm>
          <a:prstGeom prst="roundRect">
            <a:avLst>
              <a:gd name="adj" fmla="val 50000"/>
            </a:avLst>
          </a:prstGeom>
          <a:solidFill>
            <a:schemeClr val="bg1"/>
          </a:solidFill>
        </p:spPr>
        <p:txBody>
          <a:bodyPr wrap="none" lIns="108000" tIns="7200" rIns="108000" bIns="7200" anchor="ctr" anchorCtr="0">
            <a:spAutoFit/>
          </a:bodyPr>
          <a:lstStyle>
            <a:lvl1pPr marL="0" indent="0" algn="l">
              <a:lnSpc>
                <a:spcPct val="100000"/>
              </a:lnSpc>
              <a:buNone/>
              <a:defRPr sz="750" b="1" cap="all"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ivisie</a:t>
            </a:r>
          </a:p>
        </p:txBody>
      </p:sp>
      <p:sp>
        <p:nvSpPr>
          <p:cNvPr id="2" name="Tijdelijke aanduiding voor tekst 2">
            <a:extLst>
              <a:ext uri="{FF2B5EF4-FFF2-40B4-BE49-F238E27FC236}">
                <a16:creationId xmlns:a16="http://schemas.microsoft.com/office/drawing/2014/main" id="{6EFEF2A0-F6EB-6D53-4F51-1362942845DC}"/>
              </a:ext>
            </a:extLst>
          </p:cNvPr>
          <p:cNvSpPr>
            <a:spLocks noGrp="1"/>
          </p:cNvSpPr>
          <p:nvPr>
            <p:ph type="body" idx="11" hasCustomPrompt="1"/>
          </p:nvPr>
        </p:nvSpPr>
        <p:spPr>
          <a:xfrm>
            <a:off x="152998" y="1963706"/>
            <a:ext cx="4536000" cy="119135"/>
          </a:xfrm>
        </p:spPr>
        <p:txBody>
          <a:bodyPr anchor="t" anchorCtr="0">
            <a:spAutoFit/>
          </a:bodyPr>
          <a:lstStyle>
            <a:lvl1pPr marL="0" indent="0">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3" name="Tijdelijke aanduiding voor voettekst 2">
            <a:extLst>
              <a:ext uri="{FF2B5EF4-FFF2-40B4-BE49-F238E27FC236}">
                <a16:creationId xmlns:a16="http://schemas.microsoft.com/office/drawing/2014/main" id="{07CEA9C8-F2AB-41D1-BC12-19936CA9C9FE}"/>
              </a:ext>
            </a:extLst>
          </p:cNvPr>
          <p:cNvSpPr>
            <a:spLocks noGrp="1"/>
          </p:cNvSpPr>
          <p:nvPr>
            <p:ph type="ftr" sz="quarter" idx="12"/>
          </p:nvPr>
        </p:nvSpPr>
        <p:spPr/>
        <p:txBody>
          <a:bodyPr/>
          <a:lstStyle/>
          <a:p>
            <a:endParaRPr lang="nl-NL" dirty="0"/>
          </a:p>
        </p:txBody>
      </p:sp>
      <p:sp>
        <p:nvSpPr>
          <p:cNvPr id="4" name="Tijdelijke aanduiding voor dianummer 3">
            <a:extLst>
              <a:ext uri="{FF2B5EF4-FFF2-40B4-BE49-F238E27FC236}">
                <a16:creationId xmlns:a16="http://schemas.microsoft.com/office/drawing/2014/main" id="{A5748D79-1649-4905-1747-AD0B5632718F}"/>
              </a:ext>
            </a:extLst>
          </p:cNvPr>
          <p:cNvSpPr>
            <a:spLocks noGrp="1"/>
          </p:cNvSpPr>
          <p:nvPr>
            <p:ph type="sldNum" sz="quarter" idx="13"/>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73124229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Hoofdstuk Oranje">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2"/>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43778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64407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175577"/>
            <a:ext cx="664014" cy="182744"/>
          </a:xfrm>
          <a:prstGeom prst="roundRect">
            <a:avLst>
              <a:gd name="adj" fmla="val 50000"/>
            </a:avLst>
          </a:prstGeom>
          <a:solidFill>
            <a:schemeClr val="bg1"/>
          </a:solidFill>
        </p:spPr>
        <p:txBody>
          <a:bodyPr wrap="none" lIns="108000" tIns="7200" rIns="108000" bIns="7200" anchor="ctr" anchorCtr="0">
            <a:spAutoFit/>
          </a:bodyPr>
          <a:lstStyle>
            <a:lvl1pPr marL="0" indent="0" algn="l">
              <a:lnSpc>
                <a:spcPct val="100000"/>
              </a:lnSpc>
              <a:buNone/>
              <a:defRPr sz="750" b="1" cap="all" baseline="0">
                <a:solidFill>
                  <a:schemeClr val="accent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ivisie</a:t>
            </a:r>
          </a:p>
        </p:txBody>
      </p:sp>
      <p:sp>
        <p:nvSpPr>
          <p:cNvPr id="2" name="Tijdelijke aanduiding voor tekst 2">
            <a:extLst>
              <a:ext uri="{FF2B5EF4-FFF2-40B4-BE49-F238E27FC236}">
                <a16:creationId xmlns:a16="http://schemas.microsoft.com/office/drawing/2014/main" id="{5DCAE896-7A8F-539D-127B-7C7609C06605}"/>
              </a:ext>
            </a:extLst>
          </p:cNvPr>
          <p:cNvSpPr>
            <a:spLocks noGrp="1"/>
          </p:cNvSpPr>
          <p:nvPr>
            <p:ph type="body" idx="11" hasCustomPrompt="1"/>
          </p:nvPr>
        </p:nvSpPr>
        <p:spPr>
          <a:xfrm>
            <a:off x="152998" y="1963706"/>
            <a:ext cx="4536000" cy="119135"/>
          </a:xfrm>
        </p:spPr>
        <p:txBody>
          <a:bodyPr anchor="t" anchorCtr="0">
            <a:spAutoFit/>
          </a:bodyPr>
          <a:lstStyle>
            <a:lvl1pPr marL="0" indent="0">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3" name="Tijdelijke aanduiding voor voettekst 2">
            <a:extLst>
              <a:ext uri="{FF2B5EF4-FFF2-40B4-BE49-F238E27FC236}">
                <a16:creationId xmlns:a16="http://schemas.microsoft.com/office/drawing/2014/main" id="{7CB356A9-F893-1569-D7AC-36A1C8D5EED5}"/>
              </a:ext>
            </a:extLst>
          </p:cNvPr>
          <p:cNvSpPr>
            <a:spLocks noGrp="1"/>
          </p:cNvSpPr>
          <p:nvPr>
            <p:ph type="ftr" sz="quarter" idx="12"/>
          </p:nvPr>
        </p:nvSpPr>
        <p:spPr/>
        <p:txBody>
          <a:bodyPr/>
          <a:lstStyle/>
          <a:p>
            <a:endParaRPr lang="nl-NL" dirty="0"/>
          </a:p>
        </p:txBody>
      </p:sp>
      <p:sp>
        <p:nvSpPr>
          <p:cNvPr id="4" name="Tijdelijke aanduiding voor dianummer 3">
            <a:extLst>
              <a:ext uri="{FF2B5EF4-FFF2-40B4-BE49-F238E27FC236}">
                <a16:creationId xmlns:a16="http://schemas.microsoft.com/office/drawing/2014/main" id="{A4FE9DB3-F066-EEF7-69B6-B4B74649A654}"/>
              </a:ext>
            </a:extLst>
          </p:cNvPr>
          <p:cNvSpPr>
            <a:spLocks noGrp="1"/>
          </p:cNvSpPr>
          <p:nvPr>
            <p:ph type="sldNum" sz="quarter" idx="13"/>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75982400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Hoofdstuk Groen">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3"/>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43778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64407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175577"/>
            <a:ext cx="664014" cy="182744"/>
          </a:xfrm>
          <a:prstGeom prst="roundRect">
            <a:avLst>
              <a:gd name="adj" fmla="val 50000"/>
            </a:avLst>
          </a:prstGeom>
          <a:solidFill>
            <a:schemeClr val="bg1"/>
          </a:solidFill>
        </p:spPr>
        <p:txBody>
          <a:bodyPr wrap="none" lIns="108000" tIns="7200" rIns="108000" bIns="7200" anchor="ctr" anchorCtr="0">
            <a:spAutoFit/>
          </a:bodyPr>
          <a:lstStyle>
            <a:lvl1pPr marL="0" indent="0" algn="l">
              <a:lnSpc>
                <a:spcPct val="100000"/>
              </a:lnSpc>
              <a:buNone/>
              <a:defRPr sz="750" b="1" cap="all" baseline="0">
                <a:solidFill>
                  <a:schemeClr val="accent3"/>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ivisie</a:t>
            </a:r>
          </a:p>
        </p:txBody>
      </p:sp>
      <p:sp>
        <p:nvSpPr>
          <p:cNvPr id="2" name="Tijdelijke aanduiding voor tekst 2">
            <a:extLst>
              <a:ext uri="{FF2B5EF4-FFF2-40B4-BE49-F238E27FC236}">
                <a16:creationId xmlns:a16="http://schemas.microsoft.com/office/drawing/2014/main" id="{5DCAE896-7A8F-539D-127B-7C7609C06605}"/>
              </a:ext>
            </a:extLst>
          </p:cNvPr>
          <p:cNvSpPr>
            <a:spLocks noGrp="1"/>
          </p:cNvSpPr>
          <p:nvPr>
            <p:ph type="body" idx="11" hasCustomPrompt="1"/>
          </p:nvPr>
        </p:nvSpPr>
        <p:spPr>
          <a:xfrm>
            <a:off x="152998" y="1963706"/>
            <a:ext cx="4536000" cy="119135"/>
          </a:xfrm>
        </p:spPr>
        <p:txBody>
          <a:bodyPr anchor="t" anchorCtr="0">
            <a:spAutoFit/>
          </a:bodyPr>
          <a:lstStyle>
            <a:lvl1pPr marL="0" indent="0">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3" name="Tijdelijke aanduiding voor voettekst 2">
            <a:extLst>
              <a:ext uri="{FF2B5EF4-FFF2-40B4-BE49-F238E27FC236}">
                <a16:creationId xmlns:a16="http://schemas.microsoft.com/office/drawing/2014/main" id="{344E71C6-249E-F581-2130-FC7276D3BAED}"/>
              </a:ext>
            </a:extLst>
          </p:cNvPr>
          <p:cNvSpPr>
            <a:spLocks noGrp="1"/>
          </p:cNvSpPr>
          <p:nvPr>
            <p:ph type="ftr" sz="quarter" idx="12"/>
          </p:nvPr>
        </p:nvSpPr>
        <p:spPr/>
        <p:txBody>
          <a:bodyPr/>
          <a:lstStyle/>
          <a:p>
            <a:endParaRPr lang="nl-NL" dirty="0"/>
          </a:p>
        </p:txBody>
      </p:sp>
      <p:sp>
        <p:nvSpPr>
          <p:cNvPr id="4" name="Tijdelijke aanduiding voor dianummer 3">
            <a:extLst>
              <a:ext uri="{FF2B5EF4-FFF2-40B4-BE49-F238E27FC236}">
                <a16:creationId xmlns:a16="http://schemas.microsoft.com/office/drawing/2014/main" id="{55281369-865E-81B1-F12E-A8D277C09001}"/>
              </a:ext>
            </a:extLst>
          </p:cNvPr>
          <p:cNvSpPr>
            <a:spLocks noGrp="1"/>
          </p:cNvSpPr>
          <p:nvPr>
            <p:ph type="sldNum" sz="quarter" idx="13"/>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264789465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houdsopgave 10 onderwerpen">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D241DC53-8932-4409-275C-920AFA434D73}"/>
              </a:ext>
            </a:extLst>
          </p:cNvPr>
          <p:cNvSpPr>
            <a:spLocks noGrp="1" noRot="1" noMove="1" noResize="1" noEditPoints="1" noAdjustHandles="1" noChangeArrowheads="1" noChangeShapeType="1"/>
          </p:cNvSpPr>
          <p:nvPr userDrawn="1"/>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AD862033-4B5D-3FBF-39C5-AFBD786F10C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1628775"/>
            <a:ext cx="5400000" cy="503984"/>
          </a:xfrm>
        </p:spPr>
        <p:txBody>
          <a:bodyPr vert="horz"/>
          <a:lstStyle>
            <a:lvl1pPr>
              <a:defRPr>
                <a:solidFill>
                  <a:schemeClr val="bg1"/>
                </a:solidFill>
              </a:defRPr>
            </a:lvl1pPr>
          </a:lstStyle>
          <a:p>
            <a:r>
              <a:rPr lang="nl-NL"/>
              <a:t>Inhoudsopgave</a:t>
            </a:r>
            <a:endParaRPr lang="nl-NL" dirty="0"/>
          </a:p>
        </p:txBody>
      </p:sp>
      <p:sp>
        <p:nvSpPr>
          <p:cNvPr id="12" name="Text Placeholder 2">
            <a:extLst>
              <a:ext uri="{FF2B5EF4-FFF2-40B4-BE49-F238E27FC236}">
                <a16:creationId xmlns:a16="http://schemas.microsoft.com/office/drawing/2014/main" id="{639D643A-A65B-AA06-B726-9E110825E89A}"/>
              </a:ext>
            </a:extLst>
          </p:cNvPr>
          <p:cNvSpPr>
            <a:spLocks noGrp="1"/>
          </p:cNvSpPr>
          <p:nvPr>
            <p:ph type="body" idx="1" hasCustomPrompt="1"/>
          </p:nvPr>
        </p:nvSpPr>
        <p:spPr>
          <a:xfrm>
            <a:off x="695325" y="283559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3" name="Text Placeholder 2">
            <a:extLst>
              <a:ext uri="{FF2B5EF4-FFF2-40B4-BE49-F238E27FC236}">
                <a16:creationId xmlns:a16="http://schemas.microsoft.com/office/drawing/2014/main" id="{10A071AC-AE91-3994-36EC-D7DB38066252}"/>
              </a:ext>
            </a:extLst>
          </p:cNvPr>
          <p:cNvSpPr>
            <a:spLocks noGrp="1"/>
          </p:cNvSpPr>
          <p:nvPr>
            <p:ph type="body" idx="16" hasCustomPrompt="1"/>
          </p:nvPr>
        </p:nvSpPr>
        <p:spPr>
          <a:xfrm>
            <a:off x="695325" y="334295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4" name="Text Placeholder 2">
            <a:extLst>
              <a:ext uri="{FF2B5EF4-FFF2-40B4-BE49-F238E27FC236}">
                <a16:creationId xmlns:a16="http://schemas.microsoft.com/office/drawing/2014/main" id="{CB0ABB0A-E7B5-0072-1CC2-8B0E8341A7AF}"/>
              </a:ext>
            </a:extLst>
          </p:cNvPr>
          <p:cNvSpPr>
            <a:spLocks noGrp="1"/>
          </p:cNvSpPr>
          <p:nvPr>
            <p:ph type="body" idx="17" hasCustomPrompt="1"/>
          </p:nvPr>
        </p:nvSpPr>
        <p:spPr>
          <a:xfrm>
            <a:off x="695325" y="385032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5" name="Text Placeholder 2">
            <a:extLst>
              <a:ext uri="{FF2B5EF4-FFF2-40B4-BE49-F238E27FC236}">
                <a16:creationId xmlns:a16="http://schemas.microsoft.com/office/drawing/2014/main" id="{CDAB40C9-E9F1-6C20-2E99-6604DE500737}"/>
              </a:ext>
            </a:extLst>
          </p:cNvPr>
          <p:cNvSpPr>
            <a:spLocks noGrp="1"/>
          </p:cNvSpPr>
          <p:nvPr>
            <p:ph type="body" idx="18" hasCustomPrompt="1"/>
          </p:nvPr>
        </p:nvSpPr>
        <p:spPr>
          <a:xfrm>
            <a:off x="695325" y="435768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6" name="Text Placeholder 2">
            <a:extLst>
              <a:ext uri="{FF2B5EF4-FFF2-40B4-BE49-F238E27FC236}">
                <a16:creationId xmlns:a16="http://schemas.microsoft.com/office/drawing/2014/main" id="{5B7916D5-B48C-BFFD-9247-1A7ABD80D017}"/>
              </a:ext>
            </a:extLst>
          </p:cNvPr>
          <p:cNvSpPr>
            <a:spLocks noGrp="1"/>
          </p:cNvSpPr>
          <p:nvPr>
            <p:ph type="body" idx="19" hasCustomPrompt="1"/>
          </p:nvPr>
        </p:nvSpPr>
        <p:spPr>
          <a:xfrm>
            <a:off x="695325" y="486505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7" name="Text Placeholder 20">
            <a:extLst>
              <a:ext uri="{FF2B5EF4-FFF2-40B4-BE49-F238E27FC236}">
                <a16:creationId xmlns:a16="http://schemas.microsoft.com/office/drawing/2014/main" id="{6B98646E-4575-FE7A-5CF7-F4F7B47FF867}"/>
              </a:ext>
            </a:extLst>
          </p:cNvPr>
          <p:cNvSpPr>
            <a:spLocks noGrp="1"/>
          </p:cNvSpPr>
          <p:nvPr>
            <p:ph type="body" sz="quarter" idx="13" hasCustomPrompt="1"/>
          </p:nvPr>
        </p:nvSpPr>
        <p:spPr>
          <a:xfrm>
            <a:off x="1278255" y="2869248"/>
            <a:ext cx="3852000" cy="2520000"/>
          </a:xfrm>
        </p:spPr>
        <p:txBody>
          <a:bodyPr/>
          <a:lstStyle>
            <a:lvl1pPr>
              <a:spcAft>
                <a:spcPts val="2500"/>
              </a:spcAft>
              <a:defRPr>
                <a:solidFill>
                  <a:schemeClr val="bg1"/>
                </a:solidFill>
              </a:defRPr>
            </a:lvl1pPr>
            <a:lvl2pPr>
              <a:spcAft>
                <a:spcPts val="2500"/>
              </a:spcAft>
              <a:defRPr>
                <a:solidFill>
                  <a:schemeClr val="bg1"/>
                </a:solidFill>
              </a:defRPr>
            </a:lvl2pPr>
            <a:lvl3pPr>
              <a:spcAft>
                <a:spcPts val="2500"/>
              </a:spcAft>
              <a:defRPr>
                <a:solidFill>
                  <a:schemeClr val="bg1"/>
                </a:solidFill>
              </a:defRPr>
            </a:lvl3pPr>
            <a:lvl4pPr>
              <a:spcAft>
                <a:spcPts val="2500"/>
              </a:spcAft>
              <a:defRPr>
                <a:solidFill>
                  <a:schemeClr val="bg1"/>
                </a:solidFill>
              </a:defRPr>
            </a:lvl4pPr>
            <a:lvl5pPr>
              <a:spcAft>
                <a:spcPts val="2500"/>
              </a:spcAft>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8" name="Text Placeholder 2">
            <a:extLst>
              <a:ext uri="{FF2B5EF4-FFF2-40B4-BE49-F238E27FC236}">
                <a16:creationId xmlns:a16="http://schemas.microsoft.com/office/drawing/2014/main" id="{310618C3-57EA-CE75-78B7-FE8F111EDBDE}"/>
              </a:ext>
            </a:extLst>
          </p:cNvPr>
          <p:cNvSpPr>
            <a:spLocks noGrp="1"/>
          </p:cNvSpPr>
          <p:nvPr>
            <p:ph type="body" idx="20" hasCustomPrompt="1"/>
          </p:nvPr>
        </p:nvSpPr>
        <p:spPr>
          <a:xfrm>
            <a:off x="6078740" y="283559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9" name="Text Placeholder 2">
            <a:extLst>
              <a:ext uri="{FF2B5EF4-FFF2-40B4-BE49-F238E27FC236}">
                <a16:creationId xmlns:a16="http://schemas.microsoft.com/office/drawing/2014/main" id="{B6C5F0D9-7DA1-6A75-CD39-93DA326684D3}"/>
              </a:ext>
            </a:extLst>
          </p:cNvPr>
          <p:cNvSpPr>
            <a:spLocks noGrp="1"/>
          </p:cNvSpPr>
          <p:nvPr>
            <p:ph type="body" idx="21" hasCustomPrompt="1"/>
          </p:nvPr>
        </p:nvSpPr>
        <p:spPr>
          <a:xfrm>
            <a:off x="6078740" y="334295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0" name="Text Placeholder 2">
            <a:extLst>
              <a:ext uri="{FF2B5EF4-FFF2-40B4-BE49-F238E27FC236}">
                <a16:creationId xmlns:a16="http://schemas.microsoft.com/office/drawing/2014/main" id="{FF125E1D-7AF6-71AC-8EC3-B31D1FFE33E4}"/>
              </a:ext>
            </a:extLst>
          </p:cNvPr>
          <p:cNvSpPr>
            <a:spLocks noGrp="1"/>
          </p:cNvSpPr>
          <p:nvPr>
            <p:ph type="body" idx="22" hasCustomPrompt="1"/>
          </p:nvPr>
        </p:nvSpPr>
        <p:spPr>
          <a:xfrm>
            <a:off x="6078740" y="385032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1" name="Text Placeholder 2">
            <a:extLst>
              <a:ext uri="{FF2B5EF4-FFF2-40B4-BE49-F238E27FC236}">
                <a16:creationId xmlns:a16="http://schemas.microsoft.com/office/drawing/2014/main" id="{9709D5EA-C8A9-9955-2323-7FD3FD82D1F4}"/>
              </a:ext>
            </a:extLst>
          </p:cNvPr>
          <p:cNvSpPr>
            <a:spLocks noGrp="1"/>
          </p:cNvSpPr>
          <p:nvPr>
            <p:ph type="body" idx="23" hasCustomPrompt="1"/>
          </p:nvPr>
        </p:nvSpPr>
        <p:spPr>
          <a:xfrm>
            <a:off x="6078740" y="435768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2" name="Text Placeholder 2">
            <a:extLst>
              <a:ext uri="{FF2B5EF4-FFF2-40B4-BE49-F238E27FC236}">
                <a16:creationId xmlns:a16="http://schemas.microsoft.com/office/drawing/2014/main" id="{5801E537-13BB-0AA2-71E0-581804C412E6}"/>
              </a:ext>
            </a:extLst>
          </p:cNvPr>
          <p:cNvSpPr>
            <a:spLocks noGrp="1"/>
          </p:cNvSpPr>
          <p:nvPr>
            <p:ph type="body" idx="24" hasCustomPrompt="1"/>
          </p:nvPr>
        </p:nvSpPr>
        <p:spPr>
          <a:xfrm>
            <a:off x="6078740" y="486505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3" name="Text Placeholder 20">
            <a:extLst>
              <a:ext uri="{FF2B5EF4-FFF2-40B4-BE49-F238E27FC236}">
                <a16:creationId xmlns:a16="http://schemas.microsoft.com/office/drawing/2014/main" id="{2BAB7DCA-C198-F8BC-20B1-97702E15B5AB}"/>
              </a:ext>
            </a:extLst>
          </p:cNvPr>
          <p:cNvSpPr>
            <a:spLocks noGrp="1"/>
          </p:cNvSpPr>
          <p:nvPr>
            <p:ph type="body" sz="quarter" idx="25" hasCustomPrompt="1"/>
          </p:nvPr>
        </p:nvSpPr>
        <p:spPr>
          <a:xfrm>
            <a:off x="6661670" y="2869248"/>
            <a:ext cx="3852000" cy="2520000"/>
          </a:xfrm>
        </p:spPr>
        <p:txBody>
          <a:bodyPr/>
          <a:lstStyle>
            <a:lvl1pPr>
              <a:spcAft>
                <a:spcPts val="2500"/>
              </a:spcAft>
              <a:defRPr>
                <a:solidFill>
                  <a:schemeClr val="bg1"/>
                </a:solidFill>
              </a:defRPr>
            </a:lvl1pPr>
            <a:lvl2pPr>
              <a:spcAft>
                <a:spcPts val="2500"/>
              </a:spcAft>
              <a:defRPr>
                <a:solidFill>
                  <a:schemeClr val="bg1"/>
                </a:solidFill>
              </a:defRPr>
            </a:lvl2pPr>
            <a:lvl3pPr>
              <a:spcAft>
                <a:spcPts val="2500"/>
              </a:spcAft>
              <a:defRPr>
                <a:solidFill>
                  <a:schemeClr val="bg1"/>
                </a:solidFill>
              </a:defRPr>
            </a:lvl3pPr>
            <a:lvl4pPr>
              <a:spcAft>
                <a:spcPts val="2500"/>
              </a:spcAft>
              <a:defRPr>
                <a:solidFill>
                  <a:schemeClr val="bg1"/>
                </a:solidFill>
              </a:defRPr>
            </a:lvl4pPr>
            <a:lvl5pPr>
              <a:spcAft>
                <a:spcPts val="2500"/>
              </a:spcAft>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54759764"/>
      </p:ext>
    </p:extLst>
  </p:cSld>
  <p:clrMapOvr>
    <a:masterClrMapping/>
  </p:clrMapOvr>
  <p:extLst>
    <p:ext uri="{DCECCB84-F9BA-43D5-87BE-67443E8EF086}">
      <p15:sldGuideLst xmlns:p15="http://schemas.microsoft.com/office/powerpoint/2012/main">
        <p15:guide id="1" orient="horz" pos="1026">
          <p15:clr>
            <a:srgbClr val="FBAE40"/>
          </p15:clr>
        </p15:guide>
        <p15:guide id="2" pos="438">
          <p15:clr>
            <a:srgbClr val="FBAE40"/>
          </p15:clr>
        </p15:guide>
        <p15:guide id="3" pos="728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4" y="2635885"/>
            <a:ext cx="5400000" cy="503984"/>
          </a:xfrm>
        </p:spPr>
        <p:txBody>
          <a:bodyPr vert="horz"/>
          <a:lstStyle>
            <a:lvl1pPr>
              <a:defRPr/>
            </a:lvl1pPr>
          </a:lstStyle>
          <a:p>
            <a:r>
              <a:rPr lang="nl-NL" dirty="0"/>
              <a:t>Titel</a:t>
            </a:r>
          </a:p>
        </p:txBody>
      </p:sp>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6851650" y="1341438"/>
            <a:ext cx="4716463" cy="431958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2" name="Afbeelding 11">
            <a:extLst>
              <a:ext uri="{FF2B5EF4-FFF2-40B4-BE49-F238E27FC236}">
                <a16:creationId xmlns:a16="http://schemas.microsoft.com/office/drawing/2014/main" id="{236ADF54-02CF-5E15-A09D-8435106A6784}"/>
              </a:ext>
            </a:extLst>
          </p:cNvPr>
          <p:cNvPicPr>
            <a:picLocks noChangeAspect="1"/>
          </p:cNvPicPr>
          <p:nvPr userDrawn="1"/>
        </p:nvPicPr>
        <p:blipFill>
          <a:blip r:embed="rId2"/>
          <a:stretch>
            <a:fillRect/>
          </a:stretch>
        </p:blipFill>
        <p:spPr>
          <a:xfrm>
            <a:off x="12192000" y="1352172"/>
            <a:ext cx="1731414" cy="2853175"/>
          </a:xfrm>
          <a:prstGeom prst="rect">
            <a:avLst/>
          </a:prstGeom>
        </p:spPr>
      </p:pic>
    </p:spTree>
    <p:extLst>
      <p:ext uri="{BB962C8B-B14F-4D97-AF65-F5344CB8AC3E}">
        <p14:creationId xmlns:p14="http://schemas.microsoft.com/office/powerpoint/2010/main" val="2785400655"/>
      </p:ext>
    </p:extLst>
  </p:cSld>
  <p:clrMapOvr>
    <a:masterClrMapping/>
  </p:clrMapOvr>
  <p:extLst>
    <p:ext uri="{DCECCB84-F9BA-43D5-87BE-67443E8EF086}">
      <p15:sldGuideLst xmlns:p15="http://schemas.microsoft.com/office/powerpoint/2012/main">
        <p15:guide id="1" orient="horz" pos="845">
          <p15:clr>
            <a:srgbClr val="FBAE40"/>
          </p15:clr>
        </p15:guide>
        <p15:guide id="2" pos="438">
          <p15:clr>
            <a:srgbClr val="FBAE40"/>
          </p15:clr>
        </p15:guide>
        <p15:guide id="3" pos="7287">
          <p15:clr>
            <a:srgbClr val="FBAE40"/>
          </p15:clr>
        </p15:guide>
        <p15:guide id="4" pos="4316">
          <p15:clr>
            <a:srgbClr val="FBAE40"/>
          </p15:clr>
        </p15:guide>
        <p15:guide id="5" orient="horz" pos="35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inleiding en teks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DB6239-2868-10EB-5A9F-219155FE37BA}"/>
              </a:ext>
            </a:extLst>
          </p:cNvPr>
          <p:cNvGraphicFramePr>
            <a:graphicFrameLocks noChangeAspect="1"/>
          </p:cNvGraphicFramePr>
          <p:nvPr userDrawn="1">
            <p:custDataLst>
              <p:tags r:id="rId1"/>
            </p:custDataLst>
            <p:extLst>
              <p:ext uri="{D42A27DB-BD31-4B8C-83A1-F6EECF244321}">
                <p14:modId xmlns:p14="http://schemas.microsoft.com/office/powerpoint/2010/main" val="335922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F5DB6239-2868-10EB-5A9F-219155FE37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1628775"/>
            <a:ext cx="5400000"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hasCustomPrompt="1"/>
          </p:nvPr>
        </p:nvSpPr>
        <p:spPr>
          <a:xfrm>
            <a:off x="695325" y="3861119"/>
            <a:ext cx="4374515" cy="1440000"/>
          </a:xfrm>
        </p:spPr>
        <p:txBody>
          <a:bodyPr/>
          <a:lstStyle>
            <a:lvl1pPr>
              <a:defRPr>
                <a:solidFill>
                  <a:schemeClr val="tx2"/>
                </a:solidFill>
              </a:defRPr>
            </a:lvl1pPr>
          </a:lstStyle>
          <a:p>
            <a:pPr lvl="0"/>
            <a:r>
              <a:rPr lang="nl-NL" dirty="0"/>
              <a:t>Inleiding</a:t>
            </a:r>
          </a:p>
        </p:txBody>
      </p:sp>
      <p:sp>
        <p:nvSpPr>
          <p:cNvPr id="8" name="Tijdelijke aanduiding voor tekst 8">
            <a:extLst>
              <a:ext uri="{FF2B5EF4-FFF2-40B4-BE49-F238E27FC236}">
                <a16:creationId xmlns:a16="http://schemas.microsoft.com/office/drawing/2014/main" id="{9252D704-6BC8-C741-DFF5-B632B4765648}"/>
              </a:ext>
            </a:extLst>
          </p:cNvPr>
          <p:cNvSpPr>
            <a:spLocks noGrp="1"/>
          </p:cNvSpPr>
          <p:nvPr>
            <p:ph type="body" sz="quarter" idx="14"/>
          </p:nvPr>
        </p:nvSpPr>
        <p:spPr>
          <a:xfrm>
            <a:off x="5537200" y="3861119"/>
            <a:ext cx="6030913" cy="1440000"/>
          </a:xfrm>
        </p:spPr>
        <p:txBody>
          <a:bodyPr/>
          <a:lstStyle>
            <a:lvl1pPr>
              <a:lnSpc>
                <a:spcPct val="112000"/>
              </a:lnSpc>
              <a:defRPr sz="1000">
                <a:solidFill>
                  <a:schemeClr val="tx2"/>
                </a:solidFill>
              </a:defRPr>
            </a:lvl1pPr>
            <a:lvl2pPr>
              <a:lnSpc>
                <a:spcPct val="112000"/>
              </a:lnSpc>
              <a:defRPr sz="1000">
                <a:solidFill>
                  <a:schemeClr val="tx2"/>
                </a:solidFill>
              </a:defRPr>
            </a:lvl2pPr>
            <a:lvl3pPr>
              <a:lnSpc>
                <a:spcPct val="112000"/>
              </a:lnSpc>
              <a:defRPr sz="1000">
                <a:solidFill>
                  <a:schemeClr val="tx2"/>
                </a:solidFill>
              </a:defRPr>
            </a:lvl3pPr>
            <a:lvl4pPr>
              <a:lnSpc>
                <a:spcPct val="112000"/>
              </a:lnSpc>
              <a:defRPr sz="1000">
                <a:solidFill>
                  <a:schemeClr val="tx2"/>
                </a:solidFill>
              </a:defRPr>
            </a:lvl4pPr>
            <a:lvl5pPr>
              <a:lnSpc>
                <a:spcPct val="112000"/>
              </a:lnSpc>
              <a:defRPr sz="1000">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22" name="Afbeelding 21">
            <a:extLst>
              <a:ext uri="{FF2B5EF4-FFF2-40B4-BE49-F238E27FC236}">
                <a16:creationId xmlns:a16="http://schemas.microsoft.com/office/drawing/2014/main" id="{224619ED-F4FF-29CB-31C2-988E0EDE2E1F}"/>
              </a:ext>
            </a:extLst>
          </p:cNvPr>
          <p:cNvPicPr>
            <a:picLocks noChangeAspect="1"/>
          </p:cNvPicPr>
          <p:nvPr userDrawn="1"/>
        </p:nvPicPr>
        <p:blipFill>
          <a:blip r:embed="rId5"/>
          <a:stretch>
            <a:fillRect/>
          </a:stretch>
        </p:blipFill>
        <p:spPr>
          <a:xfrm>
            <a:off x="12192000" y="3546732"/>
            <a:ext cx="1731414" cy="2853175"/>
          </a:xfrm>
          <a:prstGeom prst="rect">
            <a:avLst/>
          </a:prstGeom>
        </p:spPr>
      </p:pic>
    </p:spTree>
    <p:extLst>
      <p:ext uri="{BB962C8B-B14F-4D97-AF65-F5344CB8AC3E}">
        <p14:creationId xmlns:p14="http://schemas.microsoft.com/office/powerpoint/2010/main" val="1363793537"/>
      </p:ext>
    </p:extLst>
  </p:cSld>
  <p:clrMapOvr>
    <a:masterClrMapping/>
  </p:clrMapOvr>
  <p:extLst>
    <p:ext uri="{DCECCB84-F9BA-43D5-87BE-67443E8EF086}">
      <p15:sldGuideLst xmlns:p15="http://schemas.microsoft.com/office/powerpoint/2012/main">
        <p15:guide id="1" orient="horz" pos="1026">
          <p15:clr>
            <a:srgbClr val="FBAE40"/>
          </p15:clr>
        </p15:guide>
        <p15:guide id="2" pos="438">
          <p15:clr>
            <a:srgbClr val="FBAE40"/>
          </p15:clr>
        </p15:guide>
        <p15:guide id="3" pos="728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inleiding en tekst donker">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D241DC53-8932-4409-275C-920AFA434D73}"/>
              </a:ext>
            </a:extLst>
          </p:cNvPr>
          <p:cNvSpPr>
            <a:spLocks noGrp="1" noRot="1" noMove="1" noResize="1" noEditPoints="1" noAdjustHandles="1" noChangeArrowheads="1" noChangeShapeType="1"/>
          </p:cNvSpPr>
          <p:nvPr userDrawn="1"/>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AD862033-4B5D-3FBF-39C5-AFBD786F10C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1628775"/>
            <a:ext cx="5400000" cy="503984"/>
          </a:xfrm>
        </p:spPr>
        <p:txBody>
          <a:bodyPr vert="horz"/>
          <a:lstStyle>
            <a:lvl1pPr>
              <a:defRPr>
                <a:solidFill>
                  <a:schemeClr val="bg1"/>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hasCustomPrompt="1"/>
          </p:nvPr>
        </p:nvSpPr>
        <p:spPr>
          <a:xfrm>
            <a:off x="695325" y="3861119"/>
            <a:ext cx="4374515" cy="1345882"/>
          </a:xfrm>
        </p:spPr>
        <p:txBody>
          <a:bodyPr/>
          <a:lstStyle>
            <a:lvl1pPr>
              <a:defRPr>
                <a:solidFill>
                  <a:schemeClr val="bg1"/>
                </a:solidFill>
              </a:defRPr>
            </a:lvl1pPr>
          </a:lstStyle>
          <a:p>
            <a:pPr lvl="0"/>
            <a:r>
              <a:rPr lang="nl-NL" dirty="0"/>
              <a:t>Inleiding</a:t>
            </a:r>
          </a:p>
        </p:txBody>
      </p:sp>
      <p:sp>
        <p:nvSpPr>
          <p:cNvPr id="8" name="Tijdelijke aanduiding voor tekst 8">
            <a:extLst>
              <a:ext uri="{FF2B5EF4-FFF2-40B4-BE49-F238E27FC236}">
                <a16:creationId xmlns:a16="http://schemas.microsoft.com/office/drawing/2014/main" id="{9252D704-6BC8-C741-DFF5-B632B4765648}"/>
              </a:ext>
            </a:extLst>
          </p:cNvPr>
          <p:cNvSpPr>
            <a:spLocks noGrp="1"/>
          </p:cNvSpPr>
          <p:nvPr>
            <p:ph type="body" sz="quarter" idx="14"/>
          </p:nvPr>
        </p:nvSpPr>
        <p:spPr>
          <a:xfrm>
            <a:off x="5537200" y="3861119"/>
            <a:ext cx="6030913" cy="1345882"/>
          </a:xfrm>
        </p:spPr>
        <p:txBody>
          <a:bodyPr/>
          <a:lstStyle>
            <a:lvl1pPr>
              <a:lnSpc>
                <a:spcPct val="112000"/>
              </a:lnSpc>
              <a:defRPr sz="1000">
                <a:solidFill>
                  <a:schemeClr val="bg1"/>
                </a:solidFill>
              </a:defRPr>
            </a:lvl1pPr>
            <a:lvl2pPr>
              <a:lnSpc>
                <a:spcPct val="112000"/>
              </a:lnSpc>
              <a:defRPr sz="1000">
                <a:solidFill>
                  <a:schemeClr val="bg1"/>
                </a:solidFill>
              </a:defRPr>
            </a:lvl2pPr>
            <a:lvl3pPr>
              <a:lnSpc>
                <a:spcPct val="112000"/>
              </a:lnSpc>
              <a:defRPr sz="1000">
                <a:solidFill>
                  <a:schemeClr val="bg1"/>
                </a:solidFill>
              </a:defRPr>
            </a:lvl3pPr>
            <a:lvl4pPr>
              <a:lnSpc>
                <a:spcPct val="112000"/>
              </a:lnSpc>
              <a:defRPr sz="1000">
                <a:solidFill>
                  <a:schemeClr val="bg1"/>
                </a:solidFill>
              </a:defRPr>
            </a:lvl4pPr>
            <a:lvl5pPr>
              <a:lnSpc>
                <a:spcPct val="112000"/>
              </a:lnSpc>
              <a:defRPr sz="1000">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0" name="Afbeelding 9">
            <a:extLst>
              <a:ext uri="{FF2B5EF4-FFF2-40B4-BE49-F238E27FC236}">
                <a16:creationId xmlns:a16="http://schemas.microsoft.com/office/drawing/2014/main" id="{4A2A807A-5F57-18AC-336F-FF99A15D3A43}"/>
              </a:ext>
            </a:extLst>
          </p:cNvPr>
          <p:cNvPicPr>
            <a:picLocks noChangeAspect="1"/>
          </p:cNvPicPr>
          <p:nvPr userDrawn="1"/>
        </p:nvPicPr>
        <p:blipFill>
          <a:blip r:embed="rId4"/>
          <a:stretch>
            <a:fillRect/>
          </a:stretch>
        </p:blipFill>
        <p:spPr>
          <a:xfrm>
            <a:off x="12192000" y="3546732"/>
            <a:ext cx="1731414" cy="2853175"/>
          </a:xfrm>
          <a:prstGeom prst="rect">
            <a:avLst/>
          </a:prstGeom>
        </p:spPr>
      </p:pic>
    </p:spTree>
    <p:extLst>
      <p:ext uri="{BB962C8B-B14F-4D97-AF65-F5344CB8AC3E}">
        <p14:creationId xmlns:p14="http://schemas.microsoft.com/office/powerpoint/2010/main" val="65886130"/>
      </p:ext>
    </p:extLst>
  </p:cSld>
  <p:clrMapOvr>
    <a:masterClrMapping/>
  </p:clrMapOvr>
  <p:extLst>
    <p:ext uri="{DCECCB84-F9BA-43D5-87BE-67443E8EF086}">
      <p15:sldGuideLst xmlns:p15="http://schemas.microsoft.com/office/powerpoint/2012/main">
        <p15:guide id="1" orient="horz" pos="1026">
          <p15:clr>
            <a:srgbClr val="FBAE40"/>
          </p15:clr>
        </p15:guide>
        <p15:guide id="2" pos="438">
          <p15:clr>
            <a:srgbClr val="FBAE40"/>
          </p15:clr>
        </p15:guide>
        <p15:guide id="3" pos="728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met tekst en afbeelding">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p:nvPicPr>
        <p:blipFill>
          <a:blip r:embed="rId2"/>
          <a:stretch>
            <a:fillRect/>
          </a:stretch>
        </p:blipFill>
        <p:spPr>
          <a:xfrm>
            <a:off x="10335003" y="-1525"/>
            <a:ext cx="1862049" cy="1671070"/>
          </a:xfrm>
          <a:prstGeom prst="rect">
            <a:avLst/>
          </a:prstGeom>
          <a:ln w="12700">
            <a:miter lim="400000"/>
          </a:ln>
        </p:spPr>
      </p:pic>
      <p:sp>
        <p:nvSpPr>
          <p:cNvPr id="2" name="Title 1">
            <a:extLst>
              <a:ext uri="{FF2B5EF4-FFF2-40B4-BE49-F238E27FC236}">
                <a16:creationId xmlns:a16="http://schemas.microsoft.com/office/drawing/2014/main" id="{6EB0851B-D2D8-D743-AAB6-DF84A039F6EE}"/>
              </a:ext>
            </a:extLst>
          </p:cNvPr>
          <p:cNvSpPr>
            <a:spLocks noGrp="1"/>
          </p:cNvSpPr>
          <p:nvPr>
            <p:ph type="title"/>
          </p:nvPr>
        </p:nvSpPr>
        <p:spPr>
          <a:xfrm>
            <a:off x="850426" y="414000"/>
            <a:ext cx="10512000" cy="659829"/>
          </a:xfrm>
          <a:prstGeom prst="rect">
            <a:avLst/>
          </a:prstGeom>
        </p:spPr>
        <p:txBody>
          <a:bodyPr>
            <a:normAutofit/>
          </a:bodyPr>
          <a:lstStyle>
            <a:lvl1pPr>
              <a:defRPr sz="3600"/>
            </a:lvl1pPr>
          </a:lstStyle>
          <a:p>
            <a:r>
              <a:rPr lang="en-US"/>
              <a:t>Click to edit Master title style</a:t>
            </a:r>
          </a:p>
        </p:txBody>
      </p:sp>
      <p:sp>
        <p:nvSpPr>
          <p:cNvPr id="12" name="Picture Placeholder 11">
            <a:extLst>
              <a:ext uri="{FF2B5EF4-FFF2-40B4-BE49-F238E27FC236}">
                <a16:creationId xmlns:a16="http://schemas.microsoft.com/office/drawing/2014/main" id="{80617991-0BF1-A143-82C8-279BD3B92C68}"/>
              </a:ext>
            </a:extLst>
          </p:cNvPr>
          <p:cNvSpPr>
            <a:spLocks noGrp="1"/>
          </p:cNvSpPr>
          <p:nvPr>
            <p:ph type="pic" sz="quarter" idx="10" hasCustomPrompt="1"/>
          </p:nvPr>
        </p:nvSpPr>
        <p:spPr>
          <a:xfrm>
            <a:off x="6285600" y="1990800"/>
            <a:ext cx="5076826" cy="4176713"/>
          </a:xfrm>
          <a:prstGeom prst="rect">
            <a:avLst/>
          </a:prstGeom>
        </p:spPr>
        <p:txBody>
          <a:bodyPr/>
          <a:lstStyle>
            <a:lvl1pPr>
              <a:defRPr/>
            </a:lvl1pPr>
          </a:lstStyle>
          <a:p>
            <a:r>
              <a:rPr lang="en-US" err="1"/>
              <a:t>Plaats</a:t>
            </a:r>
            <a:r>
              <a:rPr lang="en-US"/>
              <a:t> </a:t>
            </a:r>
            <a:r>
              <a:rPr lang="en-US" err="1"/>
              <a:t>hier</a:t>
            </a:r>
            <a:r>
              <a:rPr lang="en-US"/>
              <a:t> </a:t>
            </a:r>
            <a:r>
              <a:rPr lang="en-US" err="1"/>
              <a:t>een</a:t>
            </a:r>
            <a:r>
              <a:rPr lang="en-US"/>
              <a:t> </a:t>
            </a:r>
            <a:r>
              <a:rPr lang="en-US" err="1"/>
              <a:t>afbeelding</a:t>
            </a:r>
            <a:r>
              <a:rPr lang="en-US"/>
              <a:t> of extra </a:t>
            </a:r>
            <a:r>
              <a:rPr lang="en-US" err="1"/>
              <a:t>tekst</a:t>
            </a:r>
            <a:endParaRPr lang="en-US"/>
          </a:p>
        </p:txBody>
      </p:sp>
      <p:sp>
        <p:nvSpPr>
          <p:cNvPr id="14" name="Text Placeholder 13">
            <a:extLst>
              <a:ext uri="{FF2B5EF4-FFF2-40B4-BE49-F238E27FC236}">
                <a16:creationId xmlns:a16="http://schemas.microsoft.com/office/drawing/2014/main" id="{49C4D6C1-92A6-2441-9043-9F9866E59830}"/>
              </a:ext>
            </a:extLst>
          </p:cNvPr>
          <p:cNvSpPr>
            <a:spLocks noGrp="1"/>
          </p:cNvSpPr>
          <p:nvPr>
            <p:ph type="body" sz="quarter" idx="11" hasCustomPrompt="1"/>
          </p:nvPr>
        </p:nvSpPr>
        <p:spPr>
          <a:xfrm>
            <a:off x="850426" y="1080000"/>
            <a:ext cx="10512000" cy="431800"/>
          </a:xfrm>
          <a:prstGeom prst="rect">
            <a:avLst/>
          </a:prstGeom>
        </p:spPr>
        <p:txBody>
          <a:bodyPr>
            <a:noAutofit/>
          </a:bodyPr>
          <a:lstStyle>
            <a:lvl1pPr marL="0" indent="0">
              <a:buNone/>
              <a:defRPr sz="2400">
                <a:solidFill>
                  <a:schemeClr val="bg2"/>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pic>
        <p:nvPicPr>
          <p:cNvPr id="5" name="Picture 4">
            <a:extLst>
              <a:ext uri="{FF2B5EF4-FFF2-40B4-BE49-F238E27FC236}">
                <a16:creationId xmlns:a16="http://schemas.microsoft.com/office/drawing/2014/main" id="{72FD96E4-D44C-3C48-A1D5-1732CA45C16D}"/>
              </a:ext>
            </a:extLst>
          </p:cNvPr>
          <p:cNvPicPr>
            <a:picLocks noChangeAspect="1"/>
          </p:cNvPicPr>
          <p:nvPr/>
        </p:nvPicPr>
        <p:blipFill>
          <a:blip r:embed="rId3"/>
          <a:stretch>
            <a:fillRect/>
          </a:stretch>
        </p:blipFill>
        <p:spPr>
          <a:xfrm>
            <a:off x="9731" y="1739565"/>
            <a:ext cx="12192000" cy="51771"/>
          </a:xfrm>
          <a:prstGeom prst="rect">
            <a:avLst/>
          </a:prstGeom>
        </p:spPr>
      </p:pic>
      <p:sp>
        <p:nvSpPr>
          <p:cNvPr id="8" name="Content Placeholder 7">
            <a:extLst>
              <a:ext uri="{FF2B5EF4-FFF2-40B4-BE49-F238E27FC236}">
                <a16:creationId xmlns:a16="http://schemas.microsoft.com/office/drawing/2014/main" id="{D34B1CCE-533D-8B40-B319-3F2CD93C2698}"/>
              </a:ext>
            </a:extLst>
          </p:cNvPr>
          <p:cNvSpPr>
            <a:spLocks noGrp="1"/>
          </p:cNvSpPr>
          <p:nvPr>
            <p:ph sz="quarter" idx="12"/>
          </p:nvPr>
        </p:nvSpPr>
        <p:spPr>
          <a:xfrm>
            <a:off x="849600" y="1990800"/>
            <a:ext cx="5076000" cy="41751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jdelijke aanduiding voor dianummer 2">
            <a:extLst>
              <a:ext uri="{FF2B5EF4-FFF2-40B4-BE49-F238E27FC236}">
                <a16:creationId xmlns:a16="http://schemas.microsoft.com/office/drawing/2014/main" id="{0788763F-0171-B7DF-1D17-A8141B70F188}"/>
              </a:ext>
            </a:extLst>
          </p:cNvPr>
          <p:cNvSpPr txBox="1">
            <a:spLocks/>
          </p:cNvSpPr>
          <p:nvPr userDrawn="1"/>
        </p:nvSpPr>
        <p:spPr>
          <a:xfrm>
            <a:off x="11465560" y="6573205"/>
            <a:ext cx="559101" cy="175775"/>
          </a:xfrm>
          <a:prstGeom prst="rect">
            <a:avLst/>
          </a:prstGeom>
        </p:spPr>
        <p:txBody>
          <a:bodyPr anchor="ctr" anchorCtr="0"/>
          <a:lstStyle>
            <a:defPPr>
              <a:defRPr lang="en-US"/>
            </a:defPPr>
            <a:lvl1pPr marL="0" algn="l" defTabSz="914400" rtl="0" eaLnBrk="1" latinLnBrk="0" hangingPunct="1">
              <a:defRPr sz="800" i="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sz="1000" b="1" i="0">
                <a:solidFill>
                  <a:schemeClr val="accent1"/>
                </a:solidFill>
                <a:latin typeface="Muli" panose="00000500000000000000" pitchFamily="2" charset="0"/>
              </a:rPr>
              <a:t>|  </a:t>
            </a:r>
            <a:fld id="{45E449D3-B577-44D2-89AE-17D980B37AF7}" type="slidenum">
              <a:rPr lang="nl-NL" sz="1000" b="1" i="0" smtClean="0">
                <a:solidFill>
                  <a:schemeClr val="accent1"/>
                </a:solidFill>
                <a:latin typeface="Muli" panose="00000500000000000000" pitchFamily="2" charset="0"/>
              </a:rPr>
              <a:pPr algn="r"/>
              <a:t>‹#›</a:t>
            </a:fld>
            <a:r>
              <a:rPr lang="nl-NL" sz="1000" i="0">
                <a:solidFill>
                  <a:schemeClr val="bg2"/>
                </a:solidFill>
                <a:latin typeface="Muli" panose="00000500000000000000" pitchFamily="2" charset="0"/>
              </a:rPr>
              <a:t> </a:t>
            </a:r>
          </a:p>
        </p:txBody>
      </p:sp>
      <p:sp>
        <p:nvSpPr>
          <p:cNvPr id="11" name="Tijdelijke aanduiding voor tekst 10">
            <a:extLst>
              <a:ext uri="{FF2B5EF4-FFF2-40B4-BE49-F238E27FC236}">
                <a16:creationId xmlns:a16="http://schemas.microsoft.com/office/drawing/2014/main" id="{E5AE5DC9-8F4D-ACF8-BD70-62E853ACAEA7}"/>
              </a:ext>
            </a:extLst>
          </p:cNvPr>
          <p:cNvSpPr>
            <a:spLocks noGrp="1"/>
          </p:cNvSpPr>
          <p:nvPr>
            <p:ph type="body" sz="quarter" idx="14" hasCustomPrompt="1"/>
          </p:nvPr>
        </p:nvSpPr>
        <p:spPr>
          <a:xfrm>
            <a:off x="7485062" y="6573205"/>
            <a:ext cx="4183697" cy="175775"/>
          </a:xfrm>
          <a:prstGeom prst="rect">
            <a:avLst/>
          </a:prstGeom>
        </p:spPr>
        <p:txBody>
          <a:bodyPr anchor="ctr">
            <a:noAutofit/>
          </a:bodyPr>
          <a:lstStyle>
            <a:lvl1pPr marL="0" indent="0" algn="r">
              <a:buNone/>
              <a:defRPr sz="1000">
                <a:solidFill>
                  <a:schemeClr val="accent1"/>
                </a:solidFill>
              </a:defRPr>
            </a:lvl1pPr>
            <a:lvl2pPr marL="457200" indent="0" algn="r">
              <a:buNone/>
              <a:defRPr sz="1000">
                <a:solidFill>
                  <a:schemeClr val="accent1"/>
                </a:solidFill>
              </a:defRPr>
            </a:lvl2pPr>
            <a:lvl3pPr marL="914400" indent="0" algn="r">
              <a:buNone/>
              <a:defRPr sz="1000">
                <a:solidFill>
                  <a:schemeClr val="accent1"/>
                </a:solidFill>
              </a:defRPr>
            </a:lvl3pPr>
            <a:lvl4pPr marL="1371600" indent="0" algn="r">
              <a:buNone/>
              <a:defRPr sz="1000">
                <a:solidFill>
                  <a:schemeClr val="accent1"/>
                </a:solidFill>
              </a:defRPr>
            </a:lvl4pPr>
            <a:lvl5pPr marL="1828800" indent="0" algn="r">
              <a:buNone/>
              <a:defRPr sz="1000">
                <a:solidFill>
                  <a:schemeClr val="accent1"/>
                </a:solidFill>
              </a:defRPr>
            </a:lvl5pPr>
          </a:lstStyle>
          <a:p>
            <a:pPr lvl="0"/>
            <a:r>
              <a:rPr lang="nl-NL"/>
              <a:t>Hoofdstuk aanduiding</a:t>
            </a:r>
          </a:p>
        </p:txBody>
      </p:sp>
      <p:sp>
        <p:nvSpPr>
          <p:cNvPr id="13" name="Tijdelijke aanduiding voor tekst 12" descr="Bronvermelding">
            <a:extLst>
              <a:ext uri="{FF2B5EF4-FFF2-40B4-BE49-F238E27FC236}">
                <a16:creationId xmlns:a16="http://schemas.microsoft.com/office/drawing/2014/main" id="{1984DF87-8865-5696-3BBB-A084032D08BA}"/>
              </a:ext>
            </a:extLst>
          </p:cNvPr>
          <p:cNvSpPr>
            <a:spLocks noGrp="1"/>
          </p:cNvSpPr>
          <p:nvPr>
            <p:ph type="body" sz="quarter" idx="16"/>
          </p:nvPr>
        </p:nvSpPr>
        <p:spPr>
          <a:xfrm>
            <a:off x="6284912" y="6197600"/>
            <a:ext cx="5077514" cy="169377"/>
          </a:xfrm>
          <a:prstGeom prst="rect">
            <a:avLst/>
          </a:prstGeom>
        </p:spPr>
        <p:txBody>
          <a:bodyPr anchor="ctr"/>
          <a:lstStyle>
            <a:lvl1pPr marL="0" indent="0" algn="r">
              <a:buNone/>
              <a:defRPr sz="1000" i="1">
                <a:solidFill>
                  <a:schemeClr val="bg2"/>
                </a:solidFill>
              </a:defRPr>
            </a:lvl1pPr>
            <a:lvl2pPr marL="457200" indent="0" algn="r">
              <a:buNone/>
              <a:defRPr sz="1000" i="1">
                <a:solidFill>
                  <a:schemeClr val="bg2"/>
                </a:solidFill>
              </a:defRPr>
            </a:lvl2pPr>
            <a:lvl3pPr marL="914400" indent="0" algn="r">
              <a:buNone/>
              <a:defRPr sz="1000" i="1">
                <a:solidFill>
                  <a:schemeClr val="bg2"/>
                </a:solidFill>
              </a:defRPr>
            </a:lvl3pPr>
            <a:lvl4pPr marL="1371600" indent="0" algn="r">
              <a:buNone/>
              <a:defRPr sz="1000" i="1">
                <a:solidFill>
                  <a:schemeClr val="bg2"/>
                </a:solidFill>
              </a:defRPr>
            </a:lvl4pPr>
            <a:lvl5pPr marL="1828800" indent="0" algn="r">
              <a:buNone/>
              <a:defRPr sz="1000" i="1">
                <a:solidFill>
                  <a:schemeClr val="bg2"/>
                </a:solidFill>
              </a:defRPr>
            </a:lvl5pPr>
          </a:lstStyle>
          <a:p>
            <a:pPr lvl="0"/>
            <a:r>
              <a:rPr lang="nl-NL"/>
              <a:t>Klikken om de tekststijl van het model te bewerken</a:t>
            </a:r>
          </a:p>
        </p:txBody>
      </p:sp>
    </p:spTree>
    <p:extLst>
      <p:ext uri="{BB962C8B-B14F-4D97-AF65-F5344CB8AC3E}">
        <p14:creationId xmlns:p14="http://schemas.microsoft.com/office/powerpoint/2010/main" val="1759627334"/>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guide id="3" orient="horz" pos="22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fbeelding en tekst">
    <p:spTree>
      <p:nvGrpSpPr>
        <p:cNvPr id="1" name=""/>
        <p:cNvGrpSpPr/>
        <p:nvPr/>
      </p:nvGrpSpPr>
      <p:grpSpPr>
        <a:xfrm>
          <a:off x="0" y="0"/>
          <a:ext cx="0" cy="0"/>
          <a:chOff x="0" y="0"/>
          <a:chExt cx="0" cy="0"/>
        </a:xfrm>
      </p:grpSpPr>
      <p:sp>
        <p:nvSpPr>
          <p:cNvPr id="16" name="Vrije vorm: vorm 15">
            <a:extLst>
              <a:ext uri="{FF2B5EF4-FFF2-40B4-BE49-F238E27FC236}">
                <a16:creationId xmlns:a16="http://schemas.microsoft.com/office/drawing/2014/main" id="{CA392DAE-485C-AC03-A923-4A0D897A17B7}"/>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sp>
        <p:nvSpPr>
          <p:cNvPr id="14" name="Afbeeldingsplaceholder">
            <a:extLst>
              <a:ext uri="{FF2B5EF4-FFF2-40B4-BE49-F238E27FC236}">
                <a16:creationId xmlns:a16="http://schemas.microsoft.com/office/drawing/2014/main" id="{9DE4F0B2-E5E3-5C4B-F951-8FECC40C2686}"/>
              </a:ext>
            </a:extLst>
          </p:cNvPr>
          <p:cNvSpPr>
            <a:spLocks noGrp="1" noRot="1" noMove="1" noResize="1" noEditPoints="1" noAdjustHandles="1" noChangeArrowheads="1" noChangeShapeType="1"/>
          </p:cNvSpPr>
          <p:nvPr>
            <p:ph type="pic" sz="quarter" idx="14"/>
          </p:nvPr>
        </p:nvSpPr>
        <p:spPr>
          <a:xfrm>
            <a:off x="127000" y="127000"/>
            <a:ext cx="4597400" cy="6604000"/>
          </a:xfrm>
          <a:custGeom>
            <a:avLst/>
            <a:gdLst>
              <a:gd name="connsiteX0" fmla="*/ 1758950 w 4597400"/>
              <a:gd name="connsiteY0" fmla="*/ 0 h 6604000"/>
              <a:gd name="connsiteX1" fmla="*/ 3876675 w 4597400"/>
              <a:gd name="connsiteY1" fmla="*/ 0 h 6604000"/>
              <a:gd name="connsiteX2" fmla="*/ 4003675 w 4597400"/>
              <a:gd name="connsiteY2" fmla="*/ 127000 h 6604000"/>
              <a:gd name="connsiteX3" fmla="*/ 4003675 w 4597400"/>
              <a:gd name="connsiteY3" fmla="*/ 441325 h 6604000"/>
              <a:gd name="connsiteX4" fmla="*/ 4130675 w 4597400"/>
              <a:gd name="connsiteY4" fmla="*/ 568325 h 6604000"/>
              <a:gd name="connsiteX5" fmla="*/ 4470400 w 4597400"/>
              <a:gd name="connsiteY5" fmla="*/ 568325 h 6604000"/>
              <a:gd name="connsiteX6" fmla="*/ 4597400 w 4597400"/>
              <a:gd name="connsiteY6" fmla="*/ 695325 h 6604000"/>
              <a:gd name="connsiteX7" fmla="*/ 4597400 w 4597400"/>
              <a:gd name="connsiteY7" fmla="*/ 6019991 h 6604000"/>
              <a:gd name="connsiteX8" fmla="*/ 4470400 w 4597400"/>
              <a:gd name="connsiteY8" fmla="*/ 6146991 h 6604000"/>
              <a:gd name="connsiteX9" fmla="*/ 3914140 w 4597400"/>
              <a:gd name="connsiteY9" fmla="*/ 6146991 h 6604000"/>
              <a:gd name="connsiteX10" fmla="*/ 3787140 w 4597400"/>
              <a:gd name="connsiteY10" fmla="*/ 6273991 h 6604000"/>
              <a:gd name="connsiteX11" fmla="*/ 3787140 w 4597400"/>
              <a:gd name="connsiteY11" fmla="*/ 6477000 h 6604000"/>
              <a:gd name="connsiteX12" fmla="*/ 3660140 w 4597400"/>
              <a:gd name="connsiteY12" fmla="*/ 6604000 h 6604000"/>
              <a:gd name="connsiteX13" fmla="*/ 127000 w 4597400"/>
              <a:gd name="connsiteY13" fmla="*/ 6604000 h 6604000"/>
              <a:gd name="connsiteX14" fmla="*/ 0 w 4597400"/>
              <a:gd name="connsiteY14" fmla="*/ 6477000 h 6604000"/>
              <a:gd name="connsiteX15" fmla="*/ 0 w 4597400"/>
              <a:gd name="connsiteY15" fmla="*/ 822325 h 6604000"/>
              <a:gd name="connsiteX16" fmla="*/ 127000 w 4597400"/>
              <a:gd name="connsiteY16" fmla="*/ 695325 h 6604000"/>
              <a:gd name="connsiteX17" fmla="*/ 1504950 w 4597400"/>
              <a:gd name="connsiteY17" fmla="*/ 695325 h 6604000"/>
              <a:gd name="connsiteX18" fmla="*/ 1631950 w 4597400"/>
              <a:gd name="connsiteY18" fmla="*/ 568325 h 6604000"/>
              <a:gd name="connsiteX19" fmla="*/ 1631950 w 4597400"/>
              <a:gd name="connsiteY19" fmla="*/ 127000 h 6604000"/>
              <a:gd name="connsiteX20" fmla="*/ 1758950 w 4597400"/>
              <a:gd name="connsiteY20"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97400" h="6604000">
                <a:moveTo>
                  <a:pt x="1758950" y="0"/>
                </a:moveTo>
                <a:lnTo>
                  <a:pt x="3876675" y="0"/>
                </a:lnTo>
                <a:cubicBezTo>
                  <a:pt x="3946525" y="0"/>
                  <a:pt x="4003675" y="56833"/>
                  <a:pt x="4003675" y="127000"/>
                </a:cubicBezTo>
                <a:lnTo>
                  <a:pt x="4003675" y="441325"/>
                </a:lnTo>
                <a:cubicBezTo>
                  <a:pt x="4003675" y="511493"/>
                  <a:pt x="4060825" y="568325"/>
                  <a:pt x="4130675" y="568325"/>
                </a:cubicBezTo>
                <a:lnTo>
                  <a:pt x="4470400" y="568325"/>
                </a:lnTo>
                <a:cubicBezTo>
                  <a:pt x="4540250" y="568325"/>
                  <a:pt x="4597400" y="625158"/>
                  <a:pt x="4597400" y="695325"/>
                </a:cubicBezTo>
                <a:lnTo>
                  <a:pt x="4597400" y="6019991"/>
                </a:lnTo>
                <a:cubicBezTo>
                  <a:pt x="4597400" y="6090095"/>
                  <a:pt x="4540250" y="6146991"/>
                  <a:pt x="4470400" y="6146991"/>
                </a:cubicBezTo>
                <a:lnTo>
                  <a:pt x="3914140" y="6146991"/>
                </a:lnTo>
                <a:cubicBezTo>
                  <a:pt x="3844290" y="6146991"/>
                  <a:pt x="3787140" y="6203823"/>
                  <a:pt x="3787140" y="6273991"/>
                </a:cubicBezTo>
                <a:lnTo>
                  <a:pt x="3787140" y="6477000"/>
                </a:lnTo>
                <a:cubicBezTo>
                  <a:pt x="3787140" y="6547168"/>
                  <a:pt x="3730625" y="6604000"/>
                  <a:pt x="3660140" y="6604000"/>
                </a:cubicBezTo>
                <a:lnTo>
                  <a:pt x="127000" y="6604000"/>
                </a:lnTo>
                <a:cubicBezTo>
                  <a:pt x="57150" y="6604000"/>
                  <a:pt x="0" y="6547168"/>
                  <a:pt x="0" y="6477000"/>
                </a:cubicBezTo>
                <a:lnTo>
                  <a:pt x="0" y="822325"/>
                </a:lnTo>
                <a:cubicBezTo>
                  <a:pt x="0" y="752158"/>
                  <a:pt x="57150" y="695325"/>
                  <a:pt x="127000" y="695325"/>
                </a:cubicBezTo>
                <a:lnTo>
                  <a:pt x="1504950" y="695325"/>
                </a:lnTo>
                <a:cubicBezTo>
                  <a:pt x="1574800" y="695325"/>
                  <a:pt x="1631950" y="638493"/>
                  <a:pt x="1631950" y="568325"/>
                </a:cubicBezTo>
                <a:lnTo>
                  <a:pt x="1631950" y="127000"/>
                </a:lnTo>
                <a:cubicBezTo>
                  <a:pt x="1631950" y="56833"/>
                  <a:pt x="1689100" y="0"/>
                  <a:pt x="175895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17" name="Logo">
            <a:extLst>
              <a:ext uri="{FF2B5EF4-FFF2-40B4-BE49-F238E27FC236}">
                <a16:creationId xmlns:a16="http://schemas.microsoft.com/office/drawing/2014/main" id="{5B31E6FF-A20F-E3F2-A345-468A383583EE}"/>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5340350" y="1457325"/>
            <a:ext cx="6227570"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5340350" y="3943350"/>
            <a:ext cx="6227763" cy="17176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Ondertitel 2">
            <a:extLst>
              <a:ext uri="{FF2B5EF4-FFF2-40B4-BE49-F238E27FC236}">
                <a16:creationId xmlns:a16="http://schemas.microsoft.com/office/drawing/2014/main" id="{E84D2E3A-ED5E-EA46-0E28-A013DA6FEFE7}"/>
              </a:ext>
            </a:extLst>
          </p:cNvPr>
          <p:cNvSpPr>
            <a:spLocks noGrp="1"/>
          </p:cNvSpPr>
          <p:nvPr>
            <p:ph type="subTitle" idx="1" hasCustomPrompt="1"/>
          </p:nvPr>
        </p:nvSpPr>
        <p:spPr>
          <a:xfrm>
            <a:off x="5340349" y="3372480"/>
            <a:ext cx="6227763"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pic>
        <p:nvPicPr>
          <p:cNvPr id="18" name="Afbeelding 17">
            <a:extLst>
              <a:ext uri="{FF2B5EF4-FFF2-40B4-BE49-F238E27FC236}">
                <a16:creationId xmlns:a16="http://schemas.microsoft.com/office/drawing/2014/main" id="{9FE87218-D5DB-2AD7-8F82-94BA7F32C655}"/>
              </a:ext>
            </a:extLst>
          </p:cNvPr>
          <p:cNvPicPr>
            <a:picLocks noChangeAspect="1"/>
          </p:cNvPicPr>
          <p:nvPr userDrawn="1"/>
        </p:nvPicPr>
        <p:blipFill>
          <a:blip r:embed="rId4"/>
          <a:stretch>
            <a:fillRect/>
          </a:stretch>
        </p:blipFill>
        <p:spPr>
          <a:xfrm>
            <a:off x="12192000" y="3546732"/>
            <a:ext cx="1731414" cy="2853175"/>
          </a:xfrm>
          <a:prstGeom prst="rect">
            <a:avLst/>
          </a:prstGeom>
        </p:spPr>
      </p:pic>
    </p:spTree>
    <p:extLst>
      <p:ext uri="{BB962C8B-B14F-4D97-AF65-F5344CB8AC3E}">
        <p14:creationId xmlns:p14="http://schemas.microsoft.com/office/powerpoint/2010/main" val="1198671297"/>
      </p:ext>
    </p:extLst>
  </p:cSld>
  <p:clrMapOvr>
    <a:masterClrMapping/>
  </p:clrMapOvr>
  <p:extLst>
    <p:ext uri="{DCECCB84-F9BA-43D5-87BE-67443E8EF086}">
      <p15:sldGuideLst xmlns:p15="http://schemas.microsoft.com/office/powerpoint/2012/main">
        <p15:guide id="1" orient="horz" pos="918">
          <p15:clr>
            <a:srgbClr val="FBAE40"/>
          </p15:clr>
        </p15:guide>
        <p15:guide id="2" pos="438">
          <p15:clr>
            <a:srgbClr val="FBAE40"/>
          </p15:clr>
        </p15:guide>
        <p15:guide id="3" pos="7287">
          <p15:clr>
            <a:srgbClr val="FBAE40"/>
          </p15:clr>
        </p15:guide>
        <p15:guide id="4" pos="336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p:spTree>
      <p:nvGrpSpPr>
        <p:cNvPr id="1" name=""/>
        <p:cNvGrpSpPr/>
        <p:nvPr/>
      </p:nvGrpSpPr>
      <p:grpSpPr>
        <a:xfrm>
          <a:off x="0" y="0"/>
          <a:ext cx="0" cy="0"/>
          <a:chOff x="0" y="0"/>
          <a:chExt cx="0" cy="0"/>
        </a:xfrm>
      </p:grpSpPr>
      <p:sp>
        <p:nvSpPr>
          <p:cNvPr id="21" name="Vrije vorm: vorm 20">
            <a:extLst>
              <a:ext uri="{FF2B5EF4-FFF2-40B4-BE49-F238E27FC236}">
                <a16:creationId xmlns:a16="http://schemas.microsoft.com/office/drawing/2014/main" id="{A4EF0114-F3C9-81BA-027F-CF2776716DE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6225CA74-4108-5489-665E-C6D77944E2A2}"/>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16" name="Afbeeldingsplaceholder">
            <a:extLst>
              <a:ext uri="{FF2B5EF4-FFF2-40B4-BE49-F238E27FC236}">
                <a16:creationId xmlns:a16="http://schemas.microsoft.com/office/drawing/2014/main" id="{97DCCFD9-DBD2-9D7B-F836-948D5FEB722F}"/>
              </a:ext>
            </a:extLst>
          </p:cNvPr>
          <p:cNvSpPr>
            <a:spLocks noGrp="1" noRot="1" noMove="1" noResize="1" noEditPoints="1" noAdjustHandles="1" noChangeArrowheads="1" noChangeShapeType="1"/>
          </p:cNvSpPr>
          <p:nvPr>
            <p:ph type="pic" sz="quarter" idx="14"/>
          </p:nvPr>
        </p:nvSpPr>
        <p:spPr>
          <a:xfrm>
            <a:off x="7467600" y="127000"/>
            <a:ext cx="4597400" cy="6604000"/>
          </a:xfrm>
          <a:custGeom>
            <a:avLst/>
            <a:gdLst>
              <a:gd name="connsiteX0" fmla="*/ 720725 w 4597400"/>
              <a:gd name="connsiteY0" fmla="*/ 0 h 6604000"/>
              <a:gd name="connsiteX1" fmla="*/ 2838450 w 4597400"/>
              <a:gd name="connsiteY1" fmla="*/ 0 h 6604000"/>
              <a:gd name="connsiteX2" fmla="*/ 2965450 w 4597400"/>
              <a:gd name="connsiteY2" fmla="*/ 127000 h 6604000"/>
              <a:gd name="connsiteX3" fmla="*/ 2965450 w 4597400"/>
              <a:gd name="connsiteY3" fmla="*/ 568325 h 6604000"/>
              <a:gd name="connsiteX4" fmla="*/ 3092450 w 4597400"/>
              <a:gd name="connsiteY4" fmla="*/ 695325 h 6604000"/>
              <a:gd name="connsiteX5" fmla="*/ 4470400 w 4597400"/>
              <a:gd name="connsiteY5" fmla="*/ 695325 h 6604000"/>
              <a:gd name="connsiteX6" fmla="*/ 4597400 w 4597400"/>
              <a:gd name="connsiteY6" fmla="*/ 822325 h 6604000"/>
              <a:gd name="connsiteX7" fmla="*/ 4597400 w 4597400"/>
              <a:gd name="connsiteY7" fmla="*/ 6477000 h 6604000"/>
              <a:gd name="connsiteX8" fmla="*/ 4470400 w 4597400"/>
              <a:gd name="connsiteY8" fmla="*/ 6604000 h 6604000"/>
              <a:gd name="connsiteX9" fmla="*/ 937260 w 4597400"/>
              <a:gd name="connsiteY9" fmla="*/ 6604000 h 6604000"/>
              <a:gd name="connsiteX10" fmla="*/ 810260 w 4597400"/>
              <a:gd name="connsiteY10" fmla="*/ 6477000 h 6604000"/>
              <a:gd name="connsiteX11" fmla="*/ 810260 w 4597400"/>
              <a:gd name="connsiteY11" fmla="*/ 6273991 h 6604000"/>
              <a:gd name="connsiteX12" fmla="*/ 683260 w 4597400"/>
              <a:gd name="connsiteY12" fmla="*/ 6146991 h 6604000"/>
              <a:gd name="connsiteX13" fmla="*/ 127000 w 4597400"/>
              <a:gd name="connsiteY13" fmla="*/ 6146991 h 6604000"/>
              <a:gd name="connsiteX14" fmla="*/ 0 w 4597400"/>
              <a:gd name="connsiteY14" fmla="*/ 6019991 h 6604000"/>
              <a:gd name="connsiteX15" fmla="*/ 0 w 4597400"/>
              <a:gd name="connsiteY15" fmla="*/ 695325 h 6604000"/>
              <a:gd name="connsiteX16" fmla="*/ 127000 w 4597400"/>
              <a:gd name="connsiteY16" fmla="*/ 568325 h 6604000"/>
              <a:gd name="connsiteX17" fmla="*/ 466725 w 4597400"/>
              <a:gd name="connsiteY17" fmla="*/ 568325 h 6604000"/>
              <a:gd name="connsiteX18" fmla="*/ 593725 w 4597400"/>
              <a:gd name="connsiteY18" fmla="*/ 441325 h 6604000"/>
              <a:gd name="connsiteX19" fmla="*/ 593725 w 4597400"/>
              <a:gd name="connsiteY19" fmla="*/ 127000 h 6604000"/>
              <a:gd name="connsiteX20" fmla="*/ 720725 w 4597400"/>
              <a:gd name="connsiteY20"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97400" h="6604000">
                <a:moveTo>
                  <a:pt x="720725" y="0"/>
                </a:moveTo>
                <a:lnTo>
                  <a:pt x="2838450" y="0"/>
                </a:lnTo>
                <a:cubicBezTo>
                  <a:pt x="2908300" y="0"/>
                  <a:pt x="2965450" y="56833"/>
                  <a:pt x="2965450" y="127000"/>
                </a:cubicBezTo>
                <a:lnTo>
                  <a:pt x="2965450" y="568325"/>
                </a:lnTo>
                <a:cubicBezTo>
                  <a:pt x="2965450" y="638493"/>
                  <a:pt x="3022600" y="695325"/>
                  <a:pt x="3092450" y="695325"/>
                </a:cubicBezTo>
                <a:lnTo>
                  <a:pt x="4470400" y="695325"/>
                </a:lnTo>
                <a:cubicBezTo>
                  <a:pt x="4540250" y="695325"/>
                  <a:pt x="4597400" y="752158"/>
                  <a:pt x="4597400" y="822325"/>
                </a:cubicBezTo>
                <a:lnTo>
                  <a:pt x="4597400" y="6477000"/>
                </a:lnTo>
                <a:cubicBezTo>
                  <a:pt x="4597400" y="6547168"/>
                  <a:pt x="4540250" y="6604000"/>
                  <a:pt x="4470400" y="6604000"/>
                </a:cubicBezTo>
                <a:lnTo>
                  <a:pt x="937260" y="6604000"/>
                </a:lnTo>
                <a:cubicBezTo>
                  <a:pt x="866775" y="6604000"/>
                  <a:pt x="810260" y="6547168"/>
                  <a:pt x="810260" y="6477000"/>
                </a:cubicBezTo>
                <a:lnTo>
                  <a:pt x="810260" y="6273991"/>
                </a:lnTo>
                <a:cubicBezTo>
                  <a:pt x="810260" y="6203823"/>
                  <a:pt x="753110" y="6146991"/>
                  <a:pt x="683260" y="6146991"/>
                </a:cubicBezTo>
                <a:lnTo>
                  <a:pt x="127000" y="6146991"/>
                </a:lnTo>
                <a:cubicBezTo>
                  <a:pt x="57150" y="6146991"/>
                  <a:pt x="0" y="6090095"/>
                  <a:pt x="0" y="6019991"/>
                </a:cubicBezTo>
                <a:lnTo>
                  <a:pt x="0" y="695325"/>
                </a:lnTo>
                <a:cubicBezTo>
                  <a:pt x="0" y="625158"/>
                  <a:pt x="57150" y="568325"/>
                  <a:pt x="127000" y="568325"/>
                </a:cubicBezTo>
                <a:lnTo>
                  <a:pt x="466725" y="568325"/>
                </a:lnTo>
                <a:cubicBezTo>
                  <a:pt x="536575" y="568325"/>
                  <a:pt x="593725" y="511493"/>
                  <a:pt x="593725" y="441325"/>
                </a:cubicBezTo>
                <a:lnTo>
                  <a:pt x="593725" y="127000"/>
                </a:lnTo>
                <a:cubicBezTo>
                  <a:pt x="593725" y="56833"/>
                  <a:pt x="650875" y="0"/>
                  <a:pt x="72072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6" y="1457325"/>
            <a:ext cx="6229156"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695326" y="3943350"/>
            <a:ext cx="6229349" cy="17176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Ondertitel 2">
            <a:extLst>
              <a:ext uri="{FF2B5EF4-FFF2-40B4-BE49-F238E27FC236}">
                <a16:creationId xmlns:a16="http://schemas.microsoft.com/office/drawing/2014/main" id="{E84D2E3A-ED5E-EA46-0E28-A013DA6FEFE7}"/>
              </a:ext>
            </a:extLst>
          </p:cNvPr>
          <p:cNvSpPr>
            <a:spLocks noGrp="1"/>
          </p:cNvSpPr>
          <p:nvPr>
            <p:ph type="subTitle" idx="1" hasCustomPrompt="1"/>
          </p:nvPr>
        </p:nvSpPr>
        <p:spPr>
          <a:xfrm>
            <a:off x="695325" y="3372480"/>
            <a:ext cx="6229349"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pic>
        <p:nvPicPr>
          <p:cNvPr id="25" name="Afbeelding 24">
            <a:extLst>
              <a:ext uri="{FF2B5EF4-FFF2-40B4-BE49-F238E27FC236}">
                <a16:creationId xmlns:a16="http://schemas.microsoft.com/office/drawing/2014/main" id="{3ABD1C42-E518-885C-1C64-BAEC2389FC02}"/>
              </a:ext>
            </a:extLst>
          </p:cNvPr>
          <p:cNvPicPr>
            <a:picLocks noChangeAspect="1"/>
          </p:cNvPicPr>
          <p:nvPr userDrawn="1"/>
        </p:nvPicPr>
        <p:blipFill>
          <a:blip r:embed="rId4"/>
          <a:stretch>
            <a:fillRect/>
          </a:stretch>
        </p:blipFill>
        <p:spPr>
          <a:xfrm>
            <a:off x="-1731414" y="3546732"/>
            <a:ext cx="1731414" cy="2853175"/>
          </a:xfrm>
          <a:prstGeom prst="rect">
            <a:avLst/>
          </a:prstGeom>
        </p:spPr>
      </p:pic>
    </p:spTree>
    <p:extLst>
      <p:ext uri="{BB962C8B-B14F-4D97-AF65-F5344CB8AC3E}">
        <p14:creationId xmlns:p14="http://schemas.microsoft.com/office/powerpoint/2010/main" val="4063606768"/>
      </p:ext>
    </p:extLst>
  </p:cSld>
  <p:clrMapOvr>
    <a:masterClrMapping/>
  </p:clrMapOvr>
  <p:extLst>
    <p:ext uri="{DCECCB84-F9BA-43D5-87BE-67443E8EF086}">
      <p15:sldGuideLst xmlns:p15="http://schemas.microsoft.com/office/powerpoint/2012/main">
        <p15:guide id="1" orient="horz" pos="918">
          <p15:clr>
            <a:srgbClr val="FBAE40"/>
          </p15:clr>
        </p15:guide>
        <p15:guide id="2" pos="438">
          <p15:clr>
            <a:srgbClr val="FBAE40"/>
          </p15:clr>
        </p15:guide>
        <p15:guide id="3" pos="7287">
          <p15:clr>
            <a:srgbClr val="FBAE40"/>
          </p15:clr>
        </p15:guide>
        <p15:guide id="4" pos="436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D241DC53-8932-4409-275C-920AFA434D73}"/>
              </a:ext>
            </a:extLst>
          </p:cNvPr>
          <p:cNvSpPr>
            <a:spLocks noGrp="1" noRot="1" noMove="1" noResize="1" noEditPoints="1" noAdjustHandles="1" noChangeArrowheads="1" noChangeShapeType="1"/>
          </p:cNvSpPr>
          <p:nvPr userDrawn="1"/>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AD862033-4B5D-3FBF-39C5-AFBD786F10C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pic>
        <p:nvPicPr>
          <p:cNvPr id="11" name="Aanhalingstekens">
            <a:extLst>
              <a:ext uri="{FF2B5EF4-FFF2-40B4-BE49-F238E27FC236}">
                <a16:creationId xmlns:a16="http://schemas.microsoft.com/office/drawing/2014/main" id="{9B334726-8E89-028F-F777-94435E73826E}"/>
              </a:ext>
            </a:extLst>
          </p:cNvPr>
          <p:cNvPicPr/>
          <p:nvPr userDrawn="1"/>
        </p:nvPicPr>
        <p:blipFill>
          <a:blip r:embed="rId4">
            <a:extLst>
              <a:ext uri="{96DAC541-7B7A-43D3-8B79-37D633B846F1}">
                <asvg:svgBlip xmlns:asvg="http://schemas.microsoft.com/office/drawing/2016/SVG/main" r:embed="rId5"/>
              </a:ext>
            </a:extLst>
          </a:blip>
          <a:stretch>
            <a:fillRect/>
          </a:stretch>
        </p:blipFill>
        <p:spPr>
          <a:xfrm>
            <a:off x="2387600" y="919128"/>
            <a:ext cx="419035" cy="351508"/>
          </a:xfrm>
          <a:prstGeom prst="rect">
            <a:avLst/>
          </a:prstGeom>
        </p:spPr>
      </p:pic>
      <p:sp>
        <p:nvSpPr>
          <p:cNvPr id="12" name="Tijdelijke aanduiding voor tekst 8">
            <a:extLst>
              <a:ext uri="{FF2B5EF4-FFF2-40B4-BE49-F238E27FC236}">
                <a16:creationId xmlns:a16="http://schemas.microsoft.com/office/drawing/2014/main" id="{49A361D6-0B37-035B-9441-2C55319B22ED}"/>
              </a:ext>
            </a:extLst>
          </p:cNvPr>
          <p:cNvSpPr>
            <a:spLocks noGrp="1"/>
          </p:cNvSpPr>
          <p:nvPr>
            <p:ph type="body" sz="quarter" idx="13"/>
          </p:nvPr>
        </p:nvSpPr>
        <p:spPr>
          <a:xfrm>
            <a:off x="2387600" y="1736725"/>
            <a:ext cx="5437188" cy="27214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3" name="Tijdelijke aanduiding voor tekst 2">
            <a:extLst>
              <a:ext uri="{FF2B5EF4-FFF2-40B4-BE49-F238E27FC236}">
                <a16:creationId xmlns:a16="http://schemas.microsoft.com/office/drawing/2014/main" id="{C5BDFA2B-8B9E-9092-91A6-8C061FB59B16}"/>
              </a:ext>
            </a:extLst>
          </p:cNvPr>
          <p:cNvSpPr>
            <a:spLocks noGrp="1"/>
          </p:cNvSpPr>
          <p:nvPr>
            <p:ph type="body" idx="1" hasCustomPrompt="1"/>
          </p:nvPr>
        </p:nvSpPr>
        <p:spPr>
          <a:xfrm>
            <a:off x="2387600" y="4768821"/>
            <a:ext cx="5437188" cy="222305"/>
          </a:xfrm>
        </p:spPr>
        <p:txBody>
          <a:bodyPr wrap="square" anchor="t" anchorCtr="0">
            <a:spAutoFit/>
          </a:bodyPr>
          <a:lstStyle>
            <a:lvl1pPr marL="0" indent="0">
              <a:buNone/>
              <a:defRPr sz="1400" b="0" spc="2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Voornaam Achternaam</a:t>
            </a:r>
          </a:p>
        </p:txBody>
      </p:sp>
      <p:sp>
        <p:nvSpPr>
          <p:cNvPr id="14" name="Tijdelijke aanduiding voor tekst 2">
            <a:extLst>
              <a:ext uri="{FF2B5EF4-FFF2-40B4-BE49-F238E27FC236}">
                <a16:creationId xmlns:a16="http://schemas.microsoft.com/office/drawing/2014/main" id="{74C8D0DA-10FC-9CC9-7BE2-B312A18AD3F0}"/>
              </a:ext>
            </a:extLst>
          </p:cNvPr>
          <p:cNvSpPr>
            <a:spLocks noGrp="1"/>
          </p:cNvSpPr>
          <p:nvPr>
            <p:ph type="body" idx="15" hasCustomPrompt="1"/>
          </p:nvPr>
        </p:nvSpPr>
        <p:spPr>
          <a:xfrm>
            <a:off x="2387600" y="4972656"/>
            <a:ext cx="5437188" cy="127022"/>
          </a:xfrm>
        </p:spPr>
        <p:txBody>
          <a:bodyPr wrap="square" anchor="t" anchorCtr="0">
            <a:spAutoFit/>
          </a:bodyPr>
          <a:lstStyle>
            <a:lvl1pPr marL="0" indent="0">
              <a:buNone/>
              <a:defRPr sz="800" b="0" cap="all" spc="2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Firma</a:t>
            </a:r>
          </a:p>
        </p:txBody>
      </p:sp>
      <p:pic>
        <p:nvPicPr>
          <p:cNvPr id="15" name="Afbeelding 14">
            <a:extLst>
              <a:ext uri="{FF2B5EF4-FFF2-40B4-BE49-F238E27FC236}">
                <a16:creationId xmlns:a16="http://schemas.microsoft.com/office/drawing/2014/main" id="{7427E0B3-6728-F4AA-EC8E-6145347030DA}"/>
              </a:ext>
            </a:extLst>
          </p:cNvPr>
          <p:cNvPicPr>
            <a:picLocks noChangeAspect="1"/>
          </p:cNvPicPr>
          <p:nvPr userDrawn="1"/>
        </p:nvPicPr>
        <p:blipFill>
          <a:blip r:embed="rId6"/>
          <a:stretch>
            <a:fillRect/>
          </a:stretch>
        </p:blipFill>
        <p:spPr>
          <a:xfrm>
            <a:off x="-1731414" y="1736725"/>
            <a:ext cx="1731414" cy="2853175"/>
          </a:xfrm>
          <a:prstGeom prst="rect">
            <a:avLst/>
          </a:prstGeom>
        </p:spPr>
      </p:pic>
    </p:spTree>
    <p:extLst>
      <p:ext uri="{BB962C8B-B14F-4D97-AF65-F5344CB8AC3E}">
        <p14:creationId xmlns:p14="http://schemas.microsoft.com/office/powerpoint/2010/main" val="1540904691"/>
      </p:ext>
    </p:extLst>
  </p:cSld>
  <p:clrMapOvr>
    <a:masterClrMapping/>
  </p:clrMapOvr>
  <p:extLst>
    <p:ext uri="{DCECCB84-F9BA-43D5-87BE-67443E8EF086}">
      <p15:sldGuideLst xmlns:p15="http://schemas.microsoft.com/office/powerpoint/2012/main">
        <p15:guide id="1" orient="horz" pos="1094">
          <p15:clr>
            <a:srgbClr val="FBAE40"/>
          </p15:clr>
        </p15:guide>
        <p15:guide id="2" pos="1504">
          <p15:clr>
            <a:srgbClr val="FBAE40"/>
          </p15:clr>
        </p15:guide>
        <p15:guide id="3" pos="7287">
          <p15:clr>
            <a:srgbClr val="FBAE40"/>
          </p15:clr>
        </p15:guide>
        <p15:guide id="4" pos="492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met afbeelding">
    <p:spTree>
      <p:nvGrpSpPr>
        <p:cNvPr id="1" name=""/>
        <p:cNvGrpSpPr/>
        <p:nvPr/>
      </p:nvGrpSpPr>
      <p:grpSpPr>
        <a:xfrm>
          <a:off x="0" y="0"/>
          <a:ext cx="0" cy="0"/>
          <a:chOff x="0" y="0"/>
          <a:chExt cx="0" cy="0"/>
        </a:xfrm>
      </p:grpSpPr>
      <p:sp>
        <p:nvSpPr>
          <p:cNvPr id="21" name="Vrije vorm: vorm 20">
            <a:extLst>
              <a:ext uri="{FF2B5EF4-FFF2-40B4-BE49-F238E27FC236}">
                <a16:creationId xmlns:a16="http://schemas.microsoft.com/office/drawing/2014/main" id="{A4EF0114-F3C9-81BA-027F-CF2776716DE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sp>
        <p:nvSpPr>
          <p:cNvPr id="20" name="Afbeeldingsplaceholder">
            <a:extLst>
              <a:ext uri="{FF2B5EF4-FFF2-40B4-BE49-F238E27FC236}">
                <a16:creationId xmlns:a16="http://schemas.microsoft.com/office/drawing/2014/main" id="{B022DF69-47FE-BC9C-58AB-528F68E9629B}"/>
              </a:ext>
            </a:extLst>
          </p:cNvPr>
          <p:cNvSpPr>
            <a:spLocks noGrp="1" noRot="1" noMove="1" noResize="1" noEditPoints="1" noAdjustHandles="1" noChangeArrowheads="1" noChangeShapeType="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pic>
        <p:nvPicPr>
          <p:cNvPr id="4" name="Logo">
            <a:extLst>
              <a:ext uri="{FF2B5EF4-FFF2-40B4-BE49-F238E27FC236}">
                <a16:creationId xmlns:a16="http://schemas.microsoft.com/office/drawing/2014/main" id="{6225CA74-4108-5489-665E-C6D77944E2A2}"/>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pic>
        <p:nvPicPr>
          <p:cNvPr id="10" name="Aanhalingstekens">
            <a:extLst>
              <a:ext uri="{FF2B5EF4-FFF2-40B4-BE49-F238E27FC236}">
                <a16:creationId xmlns:a16="http://schemas.microsoft.com/office/drawing/2014/main" id="{B2FD5A21-1C10-7E5B-A129-E1BE936ACD86}"/>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276289" y="919128"/>
            <a:ext cx="419035" cy="351508"/>
          </a:xfrm>
          <a:prstGeom prst="rect">
            <a:avLst/>
          </a:prstGeom>
        </p:spPr>
      </p:pic>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947739" y="1736725"/>
            <a:ext cx="5400674" cy="272147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tekst 2">
            <a:extLst>
              <a:ext uri="{FF2B5EF4-FFF2-40B4-BE49-F238E27FC236}">
                <a16:creationId xmlns:a16="http://schemas.microsoft.com/office/drawing/2014/main" id="{962FF85C-7A22-1228-2E0C-00BB41B0A0B6}"/>
              </a:ext>
            </a:extLst>
          </p:cNvPr>
          <p:cNvSpPr>
            <a:spLocks noGrp="1"/>
          </p:cNvSpPr>
          <p:nvPr>
            <p:ph type="body" idx="1" hasCustomPrompt="1"/>
          </p:nvPr>
        </p:nvSpPr>
        <p:spPr>
          <a:xfrm>
            <a:off x="947737" y="4768821"/>
            <a:ext cx="5400674" cy="222305"/>
          </a:xfrm>
        </p:spPr>
        <p:txBody>
          <a:bodyPr wrap="square" anchor="t" anchorCtr="0">
            <a:spAutoFit/>
          </a:bodyPr>
          <a:lstStyle>
            <a:lvl1pPr marL="0" indent="0">
              <a:buNone/>
              <a:defRPr sz="1400" b="0" spc="2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Voornaam Achternaam</a:t>
            </a:r>
          </a:p>
        </p:txBody>
      </p:sp>
      <p:sp>
        <p:nvSpPr>
          <p:cNvPr id="12" name="Tijdelijke aanduiding voor tekst 2">
            <a:extLst>
              <a:ext uri="{FF2B5EF4-FFF2-40B4-BE49-F238E27FC236}">
                <a16:creationId xmlns:a16="http://schemas.microsoft.com/office/drawing/2014/main" id="{68C3F983-8477-F6F4-9BE7-30751B392F8C}"/>
              </a:ext>
            </a:extLst>
          </p:cNvPr>
          <p:cNvSpPr>
            <a:spLocks noGrp="1"/>
          </p:cNvSpPr>
          <p:nvPr>
            <p:ph type="body" idx="15" hasCustomPrompt="1"/>
          </p:nvPr>
        </p:nvSpPr>
        <p:spPr>
          <a:xfrm>
            <a:off x="947737" y="4972656"/>
            <a:ext cx="5400674" cy="127022"/>
          </a:xfrm>
        </p:spPr>
        <p:txBody>
          <a:bodyPr wrap="square" anchor="t" anchorCtr="0">
            <a:spAutoFit/>
          </a:bodyPr>
          <a:lstStyle>
            <a:lvl1pPr marL="0" indent="0">
              <a:buNone/>
              <a:defRPr sz="800" b="0" cap="all" spc="2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Firma</a:t>
            </a:r>
          </a:p>
        </p:txBody>
      </p:sp>
      <p:pic>
        <p:nvPicPr>
          <p:cNvPr id="22" name="Afbeelding 21">
            <a:extLst>
              <a:ext uri="{FF2B5EF4-FFF2-40B4-BE49-F238E27FC236}">
                <a16:creationId xmlns:a16="http://schemas.microsoft.com/office/drawing/2014/main" id="{24483FB6-67E9-1BF9-150C-93B83C169214}"/>
              </a:ext>
            </a:extLst>
          </p:cNvPr>
          <p:cNvPicPr>
            <a:picLocks noChangeAspect="1"/>
          </p:cNvPicPr>
          <p:nvPr userDrawn="1"/>
        </p:nvPicPr>
        <p:blipFill>
          <a:blip r:embed="rId6"/>
          <a:stretch>
            <a:fillRect/>
          </a:stretch>
        </p:blipFill>
        <p:spPr>
          <a:xfrm>
            <a:off x="-1731414" y="1736725"/>
            <a:ext cx="1731414" cy="2853175"/>
          </a:xfrm>
          <a:prstGeom prst="rect">
            <a:avLst/>
          </a:prstGeom>
        </p:spPr>
      </p:pic>
    </p:spTree>
    <p:extLst>
      <p:ext uri="{BB962C8B-B14F-4D97-AF65-F5344CB8AC3E}">
        <p14:creationId xmlns:p14="http://schemas.microsoft.com/office/powerpoint/2010/main" val="3771919001"/>
      </p:ext>
    </p:extLst>
  </p:cSld>
  <p:clrMapOvr>
    <a:masterClrMapping/>
  </p:clrMapOvr>
  <p:extLst>
    <p:ext uri="{DCECCB84-F9BA-43D5-87BE-67443E8EF086}">
      <p15:sldGuideLst xmlns:p15="http://schemas.microsoft.com/office/powerpoint/2012/main">
        <p15:guide id="1" orient="horz" pos="1094">
          <p15:clr>
            <a:srgbClr val="FBAE40"/>
          </p15:clr>
        </p15:guide>
        <p15:guide id="2" pos="438">
          <p15:clr>
            <a:srgbClr val="FBAE40"/>
          </p15:clr>
        </p15:guide>
        <p15:guide id="3" pos="7287">
          <p15:clr>
            <a:srgbClr val="FBAE40"/>
          </p15:clr>
        </p15:guide>
        <p15:guide id="4" pos="597">
          <p15:clr>
            <a:srgbClr val="FBAE40"/>
          </p15:clr>
        </p15:guide>
        <p15:guide id="5" pos="399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lage en tekst">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BF79B721-6AF2-FC9A-CE5A-CD67C174D1FE}"/>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18" name="Afbeelding 17">
            <a:extLst>
              <a:ext uri="{FF2B5EF4-FFF2-40B4-BE49-F238E27FC236}">
                <a16:creationId xmlns:a16="http://schemas.microsoft.com/office/drawing/2014/main" id="{37ADCB20-CB29-20CD-9553-B37DD321F81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152400" y="0"/>
            <a:ext cx="4788000" cy="379561"/>
          </a:xfrm>
          <a:prstGeom prst="rect">
            <a:avLst/>
          </a:prstGeom>
        </p:spPr>
      </p:pic>
      <p:pic>
        <p:nvPicPr>
          <p:cNvPr id="23" name="Afbeelding 22">
            <a:extLst>
              <a:ext uri="{FF2B5EF4-FFF2-40B4-BE49-F238E27FC236}">
                <a16:creationId xmlns:a16="http://schemas.microsoft.com/office/drawing/2014/main" id="{7E06D818-FD18-9B63-1425-EA566F5D8388}"/>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152400" y="6535769"/>
            <a:ext cx="4788000" cy="322231"/>
          </a:xfrm>
          <a:prstGeom prst="rect">
            <a:avLst/>
          </a:prstGeom>
        </p:spPr>
      </p:pic>
      <p:sp>
        <p:nvSpPr>
          <p:cNvPr id="27" name="Tijdelijke aanduiding voor afbeelding 26">
            <a:extLst>
              <a:ext uri="{FF2B5EF4-FFF2-40B4-BE49-F238E27FC236}">
                <a16:creationId xmlns:a16="http://schemas.microsoft.com/office/drawing/2014/main" id="{F7AA211A-CFD7-4979-4F88-2D7F1ED78B96}"/>
              </a:ext>
            </a:extLst>
          </p:cNvPr>
          <p:cNvSpPr>
            <a:spLocks noGrp="1" noRot="1" noMove="1" noResize="1" noEditPoints="1" noAdjustHandles="1" noChangeArrowheads="1" noChangeShapeType="1"/>
          </p:cNvSpPr>
          <p:nvPr>
            <p:ph type="pic" sz="quarter" idx="11"/>
          </p:nvPr>
        </p:nvSpPr>
        <p:spPr>
          <a:xfrm>
            <a:off x="152400" y="381184"/>
            <a:ext cx="4788000" cy="2895236"/>
          </a:xfrm>
          <a:custGeom>
            <a:avLst/>
            <a:gdLst>
              <a:gd name="connsiteX0" fmla="*/ 126829 w 4788000"/>
              <a:gd name="connsiteY0" fmla="*/ 0 h 2895236"/>
              <a:gd name="connsiteX1" fmla="*/ 779762 w 4788000"/>
              <a:gd name="connsiteY1" fmla="*/ 0 h 2895236"/>
              <a:gd name="connsiteX2" fmla="*/ 868027 w 4788000"/>
              <a:gd name="connsiteY2" fmla="*/ 88265 h 2895236"/>
              <a:gd name="connsiteX3" fmla="*/ 956291 w 4788000"/>
              <a:gd name="connsiteY3" fmla="*/ 176528 h 2895236"/>
              <a:gd name="connsiteX4" fmla="*/ 3836041 w 4788000"/>
              <a:gd name="connsiteY4" fmla="*/ 176528 h 2895236"/>
              <a:gd name="connsiteX5" fmla="*/ 3922149 w 4788000"/>
              <a:gd name="connsiteY5" fmla="*/ 88265 h 2895236"/>
              <a:gd name="connsiteX6" fmla="*/ 4008258 w 4788000"/>
              <a:gd name="connsiteY6" fmla="*/ 0 h 2895236"/>
              <a:gd name="connsiteX7" fmla="*/ 4661171 w 4788000"/>
              <a:gd name="connsiteY7" fmla="*/ 0 h 2895236"/>
              <a:gd name="connsiteX8" fmla="*/ 4788000 w 4788000"/>
              <a:gd name="connsiteY8" fmla="*/ 126829 h 2895236"/>
              <a:gd name="connsiteX9" fmla="*/ 4788000 w 4788000"/>
              <a:gd name="connsiteY9" fmla="*/ 2768387 h 2895236"/>
              <a:gd name="connsiteX10" fmla="*/ 4661171 w 4788000"/>
              <a:gd name="connsiteY10" fmla="*/ 2895216 h 2895236"/>
              <a:gd name="connsiteX11" fmla="*/ 4006082 w 4788000"/>
              <a:gd name="connsiteY11" fmla="*/ 2895216 h 2895236"/>
              <a:gd name="connsiteX12" fmla="*/ 3919954 w 4788000"/>
              <a:gd name="connsiteY12" fmla="*/ 2809088 h 2895236"/>
              <a:gd name="connsiteX13" fmla="*/ 3833944 w 4788000"/>
              <a:gd name="connsiteY13" fmla="*/ 2722959 h 2895236"/>
              <a:gd name="connsiteX14" fmla="*/ 956350 w 4788000"/>
              <a:gd name="connsiteY14" fmla="*/ 2718806 h 2895236"/>
              <a:gd name="connsiteX15" fmla="*/ 868027 w 4788000"/>
              <a:gd name="connsiteY15" fmla="*/ 2807011 h 2895236"/>
              <a:gd name="connsiteX16" fmla="*/ 779822 w 4788000"/>
              <a:gd name="connsiteY16" fmla="*/ 2895216 h 2895236"/>
              <a:gd name="connsiteX17" fmla="*/ 126829 w 4788000"/>
              <a:gd name="connsiteY17" fmla="*/ 2895216 h 2895236"/>
              <a:gd name="connsiteX18" fmla="*/ 126829 w 4788000"/>
              <a:gd name="connsiteY18" fmla="*/ 2895236 h 2895236"/>
              <a:gd name="connsiteX19" fmla="*/ 0 w 4788000"/>
              <a:gd name="connsiteY19" fmla="*/ 2768407 h 2895236"/>
              <a:gd name="connsiteX20" fmla="*/ 0 w 4788000"/>
              <a:gd name="connsiteY20" fmla="*/ 126829 h 2895236"/>
              <a:gd name="connsiteX21" fmla="*/ 126829 w 4788000"/>
              <a:gd name="connsiteY21" fmla="*/ 0 h 289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88000" h="2895236">
                <a:moveTo>
                  <a:pt x="126829" y="0"/>
                </a:moveTo>
                <a:lnTo>
                  <a:pt x="779762" y="0"/>
                </a:lnTo>
                <a:cubicBezTo>
                  <a:pt x="828513" y="0"/>
                  <a:pt x="868027" y="39514"/>
                  <a:pt x="868027" y="88265"/>
                </a:cubicBezTo>
                <a:cubicBezTo>
                  <a:pt x="868027" y="137014"/>
                  <a:pt x="907541" y="176528"/>
                  <a:pt x="956291" y="176528"/>
                </a:cubicBezTo>
                <a:lnTo>
                  <a:pt x="3836041" y="176528"/>
                </a:lnTo>
                <a:cubicBezTo>
                  <a:pt x="3884455" y="176528"/>
                  <a:pt x="3923356" y="136659"/>
                  <a:pt x="3922149" y="88265"/>
                </a:cubicBezTo>
                <a:cubicBezTo>
                  <a:pt x="3920943" y="39871"/>
                  <a:pt x="3959844" y="0"/>
                  <a:pt x="4008258" y="0"/>
                </a:cubicBezTo>
                <a:lnTo>
                  <a:pt x="4661171" y="0"/>
                </a:lnTo>
                <a:cubicBezTo>
                  <a:pt x="4731221" y="0"/>
                  <a:pt x="4788000" y="56780"/>
                  <a:pt x="4788000" y="126829"/>
                </a:cubicBezTo>
                <a:lnTo>
                  <a:pt x="4788000" y="2768387"/>
                </a:lnTo>
                <a:cubicBezTo>
                  <a:pt x="4788000" y="2838437"/>
                  <a:pt x="4731221" y="2895216"/>
                  <a:pt x="4661171" y="2895216"/>
                </a:cubicBezTo>
                <a:lnTo>
                  <a:pt x="4006082" y="2895216"/>
                </a:lnTo>
                <a:cubicBezTo>
                  <a:pt x="3958518" y="2895216"/>
                  <a:pt x="3919954" y="2856651"/>
                  <a:pt x="3919954" y="2809088"/>
                </a:cubicBezTo>
                <a:cubicBezTo>
                  <a:pt x="3919954" y="2761524"/>
                  <a:pt x="3881468" y="2723039"/>
                  <a:pt x="3833944" y="2722959"/>
                </a:cubicBezTo>
                <a:lnTo>
                  <a:pt x="956350" y="2718806"/>
                </a:lnTo>
                <a:cubicBezTo>
                  <a:pt x="907581" y="2718727"/>
                  <a:pt x="868027" y="2758241"/>
                  <a:pt x="868027" y="2807011"/>
                </a:cubicBezTo>
                <a:cubicBezTo>
                  <a:pt x="868027" y="2855781"/>
                  <a:pt x="828532" y="2895216"/>
                  <a:pt x="779822" y="2895216"/>
                </a:cubicBezTo>
                <a:lnTo>
                  <a:pt x="126829" y="2895216"/>
                </a:lnTo>
                <a:lnTo>
                  <a:pt x="126829" y="2895236"/>
                </a:lnTo>
                <a:cubicBezTo>
                  <a:pt x="56780" y="2895236"/>
                  <a:pt x="0" y="2838456"/>
                  <a:pt x="0" y="2768407"/>
                </a:cubicBezTo>
                <a:lnTo>
                  <a:pt x="0" y="126829"/>
                </a:lnTo>
                <a:cubicBezTo>
                  <a:pt x="0" y="56780"/>
                  <a:pt x="56780" y="0"/>
                  <a:pt x="126829"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8" name="Tijdelijke aanduiding voor afbeelding 27">
            <a:extLst>
              <a:ext uri="{FF2B5EF4-FFF2-40B4-BE49-F238E27FC236}">
                <a16:creationId xmlns:a16="http://schemas.microsoft.com/office/drawing/2014/main" id="{008BA8EB-E7E4-FFC6-0B78-1A787B619207}"/>
              </a:ext>
            </a:extLst>
          </p:cNvPr>
          <p:cNvSpPr>
            <a:spLocks noGrp="1" noRot="1" noMove="1" noResize="1" noEditPoints="1" noAdjustHandles="1" noChangeArrowheads="1" noChangeShapeType="1"/>
          </p:cNvSpPr>
          <p:nvPr>
            <p:ph type="pic" sz="quarter" idx="12"/>
          </p:nvPr>
        </p:nvSpPr>
        <p:spPr>
          <a:xfrm>
            <a:off x="152400" y="3278042"/>
            <a:ext cx="4788000" cy="3256104"/>
          </a:xfrm>
          <a:custGeom>
            <a:avLst/>
            <a:gdLst>
              <a:gd name="connsiteX0" fmla="*/ 1055314 w 4788000"/>
              <a:gd name="connsiteY0" fmla="*/ 0 h 3256104"/>
              <a:gd name="connsiteX1" fmla="*/ 3737018 w 4788000"/>
              <a:gd name="connsiteY1" fmla="*/ 0 h 3256104"/>
              <a:gd name="connsiteX2" fmla="*/ 3823226 w 4788000"/>
              <a:gd name="connsiteY2" fmla="*/ 88363 h 3256104"/>
              <a:gd name="connsiteX3" fmla="*/ 3909433 w 4788000"/>
              <a:gd name="connsiteY3" fmla="*/ 176727 h 3256104"/>
              <a:gd name="connsiteX4" fmla="*/ 4661171 w 4788000"/>
              <a:gd name="connsiteY4" fmla="*/ 176727 h 3256104"/>
              <a:gd name="connsiteX5" fmla="*/ 4788000 w 4788000"/>
              <a:gd name="connsiteY5" fmla="*/ 303556 h 3256104"/>
              <a:gd name="connsiteX6" fmla="*/ 4788000 w 4788000"/>
              <a:gd name="connsiteY6" fmla="*/ 2948277 h 3256104"/>
              <a:gd name="connsiteX7" fmla="*/ 4661171 w 4788000"/>
              <a:gd name="connsiteY7" fmla="*/ 3075106 h 3256104"/>
              <a:gd name="connsiteX8" fmla="*/ 3911548 w 4788000"/>
              <a:gd name="connsiteY8" fmla="*/ 3075106 h 3256104"/>
              <a:gd name="connsiteX9" fmla="*/ 3821050 w 4788000"/>
              <a:gd name="connsiteY9" fmla="*/ 3165605 h 3256104"/>
              <a:gd name="connsiteX10" fmla="*/ 3730412 w 4788000"/>
              <a:gd name="connsiteY10" fmla="*/ 3256104 h 3256104"/>
              <a:gd name="connsiteX11" fmla="*/ 1055274 w 4788000"/>
              <a:gd name="connsiteY11" fmla="*/ 3251970 h 3256104"/>
              <a:gd name="connsiteX12" fmla="*/ 966970 w 4788000"/>
              <a:gd name="connsiteY12" fmla="*/ 3163528 h 3256104"/>
              <a:gd name="connsiteX13" fmla="*/ 878528 w 4788000"/>
              <a:gd name="connsiteY13" fmla="*/ 3075086 h 3256104"/>
              <a:gd name="connsiteX14" fmla="*/ 126829 w 4788000"/>
              <a:gd name="connsiteY14" fmla="*/ 3075086 h 3256104"/>
              <a:gd name="connsiteX15" fmla="*/ 126829 w 4788000"/>
              <a:gd name="connsiteY15" fmla="*/ 3075106 h 3256104"/>
              <a:gd name="connsiteX16" fmla="*/ 0 w 4788000"/>
              <a:gd name="connsiteY16" fmla="*/ 2948277 h 3256104"/>
              <a:gd name="connsiteX17" fmla="*/ 0 w 4788000"/>
              <a:gd name="connsiteY17" fmla="*/ 303556 h 3256104"/>
              <a:gd name="connsiteX18" fmla="*/ 126829 w 4788000"/>
              <a:gd name="connsiteY18" fmla="*/ 176727 h 3256104"/>
              <a:gd name="connsiteX19" fmla="*/ 878588 w 4788000"/>
              <a:gd name="connsiteY19" fmla="*/ 176727 h 3256104"/>
              <a:gd name="connsiteX20" fmla="*/ 966951 w 4788000"/>
              <a:gd name="connsiteY20" fmla="*/ 88363 h 3256104"/>
              <a:gd name="connsiteX21" fmla="*/ 1055314 w 4788000"/>
              <a:gd name="connsiteY21" fmla="*/ 0 h 325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88000" h="3256104">
                <a:moveTo>
                  <a:pt x="1055314" y="0"/>
                </a:moveTo>
                <a:lnTo>
                  <a:pt x="3737018" y="0"/>
                </a:lnTo>
                <a:cubicBezTo>
                  <a:pt x="3785471" y="0"/>
                  <a:pt x="3824412" y="39930"/>
                  <a:pt x="3823226" y="88363"/>
                </a:cubicBezTo>
                <a:cubicBezTo>
                  <a:pt x="3822019" y="136817"/>
                  <a:pt x="3860960" y="176727"/>
                  <a:pt x="3909433" y="176727"/>
                </a:cubicBezTo>
                <a:lnTo>
                  <a:pt x="4661171" y="176727"/>
                </a:lnTo>
                <a:cubicBezTo>
                  <a:pt x="4731221" y="176727"/>
                  <a:pt x="4788000" y="233506"/>
                  <a:pt x="4788000" y="303556"/>
                </a:cubicBezTo>
                <a:lnTo>
                  <a:pt x="4788000" y="2948277"/>
                </a:lnTo>
                <a:cubicBezTo>
                  <a:pt x="4788000" y="3018326"/>
                  <a:pt x="4731221" y="3075106"/>
                  <a:pt x="4661171" y="3075106"/>
                </a:cubicBezTo>
                <a:lnTo>
                  <a:pt x="3911548" y="3075106"/>
                </a:lnTo>
                <a:cubicBezTo>
                  <a:pt x="3861572" y="3075106"/>
                  <a:pt x="3821050" y="3115628"/>
                  <a:pt x="3821050" y="3165605"/>
                </a:cubicBezTo>
                <a:cubicBezTo>
                  <a:pt x="3821050" y="3215581"/>
                  <a:pt x="3780448" y="3256183"/>
                  <a:pt x="3730412" y="3256104"/>
                </a:cubicBezTo>
                <a:lnTo>
                  <a:pt x="1055274" y="3251970"/>
                </a:lnTo>
                <a:cubicBezTo>
                  <a:pt x="1006484" y="3251892"/>
                  <a:pt x="966970" y="3212318"/>
                  <a:pt x="966970" y="3163528"/>
                </a:cubicBezTo>
                <a:cubicBezTo>
                  <a:pt x="966970" y="3114739"/>
                  <a:pt x="927377" y="3075086"/>
                  <a:pt x="878528" y="3075086"/>
                </a:cubicBezTo>
                <a:lnTo>
                  <a:pt x="126829" y="3075086"/>
                </a:lnTo>
                <a:lnTo>
                  <a:pt x="126829" y="3075106"/>
                </a:lnTo>
                <a:cubicBezTo>
                  <a:pt x="56780" y="3075106"/>
                  <a:pt x="0" y="3018326"/>
                  <a:pt x="0" y="2948277"/>
                </a:cubicBezTo>
                <a:lnTo>
                  <a:pt x="0" y="303556"/>
                </a:lnTo>
                <a:cubicBezTo>
                  <a:pt x="0" y="233506"/>
                  <a:pt x="56780" y="176727"/>
                  <a:pt x="126829" y="176727"/>
                </a:cubicBezTo>
                <a:lnTo>
                  <a:pt x="878588" y="176727"/>
                </a:lnTo>
                <a:cubicBezTo>
                  <a:pt x="927397" y="176727"/>
                  <a:pt x="966951" y="137173"/>
                  <a:pt x="966951" y="88363"/>
                </a:cubicBezTo>
                <a:cubicBezTo>
                  <a:pt x="966951" y="39554"/>
                  <a:pt x="1006504" y="0"/>
                  <a:pt x="105531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6" name="Logo">
            <a:extLst>
              <a:ext uri="{FF2B5EF4-FFF2-40B4-BE49-F238E27FC236}">
                <a16:creationId xmlns:a16="http://schemas.microsoft.com/office/drawing/2014/main" id="{DF61AB94-5DB7-76CF-C18D-64DF49210414}"/>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10572966" y="286902"/>
            <a:ext cx="1302321" cy="268243"/>
          </a:xfrm>
          <a:prstGeom prst="rect">
            <a:avLst/>
          </a:prstGeom>
        </p:spPr>
      </p:pic>
      <p:sp>
        <p:nvSpPr>
          <p:cNvPr id="30" name="Titel 1">
            <a:extLst>
              <a:ext uri="{FF2B5EF4-FFF2-40B4-BE49-F238E27FC236}">
                <a16:creationId xmlns:a16="http://schemas.microsoft.com/office/drawing/2014/main" id="{A3E69ABE-5343-D865-72C7-F4678109D57B}"/>
              </a:ext>
            </a:extLst>
          </p:cNvPr>
          <p:cNvSpPr>
            <a:spLocks noGrp="1"/>
          </p:cNvSpPr>
          <p:nvPr>
            <p:ph type="title" hasCustomPrompt="1"/>
          </p:nvPr>
        </p:nvSpPr>
        <p:spPr>
          <a:xfrm>
            <a:off x="5591175" y="1975485"/>
            <a:ext cx="5976938" cy="503984"/>
          </a:xfrm>
        </p:spPr>
        <p:txBody>
          <a:bodyPr vert="horz"/>
          <a:lstStyle>
            <a:lvl1pPr>
              <a:defRPr>
                <a:solidFill>
                  <a:schemeClr val="tx2"/>
                </a:solidFill>
              </a:defRPr>
            </a:lvl1pPr>
          </a:lstStyle>
          <a:p>
            <a:r>
              <a:rPr lang="nl-NL" dirty="0"/>
              <a:t>Titel</a:t>
            </a:r>
          </a:p>
        </p:txBody>
      </p:sp>
      <p:sp>
        <p:nvSpPr>
          <p:cNvPr id="31" name="Tijdelijke aanduiding voor tekst 8">
            <a:extLst>
              <a:ext uri="{FF2B5EF4-FFF2-40B4-BE49-F238E27FC236}">
                <a16:creationId xmlns:a16="http://schemas.microsoft.com/office/drawing/2014/main" id="{8CF1220C-B392-DD0C-8ADA-E722B69FE446}"/>
              </a:ext>
            </a:extLst>
          </p:cNvPr>
          <p:cNvSpPr>
            <a:spLocks noGrp="1"/>
          </p:cNvSpPr>
          <p:nvPr>
            <p:ph type="body" sz="quarter" idx="13"/>
          </p:nvPr>
        </p:nvSpPr>
        <p:spPr>
          <a:xfrm>
            <a:off x="5591175" y="3862070"/>
            <a:ext cx="5976938" cy="17176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32" name="Afbeelding 31">
            <a:extLst>
              <a:ext uri="{FF2B5EF4-FFF2-40B4-BE49-F238E27FC236}">
                <a16:creationId xmlns:a16="http://schemas.microsoft.com/office/drawing/2014/main" id="{7CE779CE-2376-351D-20E6-C13C0E1031D1}"/>
              </a:ext>
            </a:extLst>
          </p:cNvPr>
          <p:cNvPicPr>
            <a:picLocks noChangeAspect="1"/>
          </p:cNvPicPr>
          <p:nvPr userDrawn="1"/>
        </p:nvPicPr>
        <p:blipFill>
          <a:blip r:embed="rId6"/>
          <a:stretch>
            <a:fillRect/>
          </a:stretch>
        </p:blipFill>
        <p:spPr>
          <a:xfrm>
            <a:off x="12192000" y="3862070"/>
            <a:ext cx="1731414" cy="2853175"/>
          </a:xfrm>
          <a:prstGeom prst="rect">
            <a:avLst/>
          </a:prstGeom>
        </p:spPr>
      </p:pic>
      <p:sp>
        <p:nvSpPr>
          <p:cNvPr id="33" name="Tijdelijke aanduiding voor voettekst 32">
            <a:extLst>
              <a:ext uri="{FF2B5EF4-FFF2-40B4-BE49-F238E27FC236}">
                <a16:creationId xmlns:a16="http://schemas.microsoft.com/office/drawing/2014/main" id="{A391D564-9B95-05E1-6535-7C969129D7CF}"/>
              </a:ext>
            </a:extLst>
          </p:cNvPr>
          <p:cNvSpPr>
            <a:spLocks noGrp="1"/>
          </p:cNvSpPr>
          <p:nvPr>
            <p:ph type="ftr" sz="quarter" idx="14"/>
          </p:nvPr>
        </p:nvSpPr>
        <p:spPr/>
        <p:txBody>
          <a:bodyPr/>
          <a:lstStyle/>
          <a:p>
            <a:endParaRPr lang="nl-NL" dirty="0"/>
          </a:p>
        </p:txBody>
      </p:sp>
      <p:sp>
        <p:nvSpPr>
          <p:cNvPr id="34" name="Tijdelijke aanduiding voor dianummer 33">
            <a:extLst>
              <a:ext uri="{FF2B5EF4-FFF2-40B4-BE49-F238E27FC236}">
                <a16:creationId xmlns:a16="http://schemas.microsoft.com/office/drawing/2014/main" id="{C3C270E5-E9B1-4E68-AB5C-ED619E100A91}"/>
              </a:ext>
            </a:extLst>
          </p:cNvPr>
          <p:cNvSpPr>
            <a:spLocks noGrp="1"/>
          </p:cNvSpPr>
          <p:nvPr>
            <p:ph type="sldNum" sz="quarter" idx="15"/>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1488397447"/>
      </p:ext>
    </p:extLst>
  </p:cSld>
  <p:clrMapOvr>
    <a:masterClrMapping/>
  </p:clrMapOvr>
  <p:extLst>
    <p:ext uri="{DCECCB84-F9BA-43D5-87BE-67443E8EF086}">
      <p15:sldGuideLst xmlns:p15="http://schemas.microsoft.com/office/powerpoint/2012/main">
        <p15:guide id="1" pos="3522">
          <p15:clr>
            <a:srgbClr val="FBAE40"/>
          </p15:clr>
        </p15:guide>
        <p15:guide id="2" pos="728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en collage">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7E5EA276-9834-1521-B4B2-982D347E62CD}"/>
              </a:ext>
            </a:extLst>
          </p:cNvPr>
          <p:cNvSpPr>
            <a:spLocks noGrp="1" noRot="1" noMove="1" noResize="1" noEditPoints="1" noAdjustHandles="1" noChangeArrowheads="1" noChangeShapeType="1"/>
          </p:cNvSpPr>
          <p:nvPr>
            <p:ph type="pic" sz="quarter" idx="16"/>
          </p:nvPr>
        </p:nvSpPr>
        <p:spPr>
          <a:xfrm>
            <a:off x="4149700" y="4521200"/>
            <a:ext cx="3715876" cy="2203200"/>
          </a:xfrm>
          <a:custGeom>
            <a:avLst/>
            <a:gdLst>
              <a:gd name="connsiteX0" fmla="*/ 332888 w 3715876"/>
              <a:gd name="connsiteY0" fmla="*/ 0 h 2203200"/>
              <a:gd name="connsiteX1" fmla="*/ 3387548 w 3715876"/>
              <a:gd name="connsiteY1" fmla="*/ 0 h 2203200"/>
              <a:gd name="connsiteX2" fmla="*/ 3514169 w 3715876"/>
              <a:gd name="connsiteY2" fmla="*/ 126621 h 2203200"/>
              <a:gd name="connsiteX3" fmla="*/ 3514169 w 3715876"/>
              <a:gd name="connsiteY3" fmla="*/ 512750 h 2203200"/>
              <a:gd name="connsiteX4" fmla="*/ 3615022 w 3715876"/>
              <a:gd name="connsiteY4" fmla="*/ 613604 h 2203200"/>
              <a:gd name="connsiteX5" fmla="*/ 3715876 w 3715876"/>
              <a:gd name="connsiteY5" fmla="*/ 714457 h 2203200"/>
              <a:gd name="connsiteX6" fmla="*/ 3715876 w 3715876"/>
              <a:gd name="connsiteY6" fmla="*/ 1491592 h 2203200"/>
              <a:gd name="connsiteX7" fmla="*/ 3615022 w 3715876"/>
              <a:gd name="connsiteY7" fmla="*/ 1591052 h 2203200"/>
              <a:gd name="connsiteX8" fmla="*/ 3514169 w 3715876"/>
              <a:gd name="connsiteY8" fmla="*/ 1690513 h 2203200"/>
              <a:gd name="connsiteX9" fmla="*/ 3514169 w 3715876"/>
              <a:gd name="connsiteY9" fmla="*/ 2076579 h 2203200"/>
              <a:gd name="connsiteX10" fmla="*/ 3387548 w 3715876"/>
              <a:gd name="connsiteY10" fmla="*/ 2203200 h 2203200"/>
              <a:gd name="connsiteX11" fmla="*/ 332888 w 3715876"/>
              <a:gd name="connsiteY11" fmla="*/ 2203200 h 2203200"/>
              <a:gd name="connsiteX12" fmla="*/ 206267 w 3715876"/>
              <a:gd name="connsiteY12" fmla="*/ 2076579 h 2203200"/>
              <a:gd name="connsiteX13" fmla="*/ 206267 w 3715876"/>
              <a:gd name="connsiteY13" fmla="*/ 1692729 h 2203200"/>
              <a:gd name="connsiteX14" fmla="*/ 103134 w 3715876"/>
              <a:gd name="connsiteY14" fmla="*/ 1589596 h 2203200"/>
              <a:gd name="connsiteX15" fmla="*/ 2 w 3715876"/>
              <a:gd name="connsiteY15" fmla="*/ 1485957 h 2203200"/>
              <a:gd name="connsiteX16" fmla="*/ 3991 w 3715876"/>
              <a:gd name="connsiteY16" fmla="*/ 714141 h 2203200"/>
              <a:gd name="connsiteX17" fmla="*/ 105097 w 3715876"/>
              <a:gd name="connsiteY17" fmla="*/ 613541 h 2203200"/>
              <a:gd name="connsiteX18" fmla="*/ 206204 w 3715876"/>
              <a:gd name="connsiteY18" fmla="*/ 512434 h 2203200"/>
              <a:gd name="connsiteX19" fmla="*/ 206204 w 3715876"/>
              <a:gd name="connsiteY19" fmla="*/ 126621 h 2203200"/>
              <a:gd name="connsiteX20" fmla="*/ 206267 w 3715876"/>
              <a:gd name="connsiteY20" fmla="*/ 126621 h 2203200"/>
              <a:gd name="connsiteX21" fmla="*/ 332888 w 3715876"/>
              <a:gd name="connsiteY21" fmla="*/ 0 h 2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5876" h="2203200">
                <a:moveTo>
                  <a:pt x="332888" y="0"/>
                </a:moveTo>
                <a:lnTo>
                  <a:pt x="3387548" y="0"/>
                </a:lnTo>
                <a:cubicBezTo>
                  <a:pt x="3457506" y="0"/>
                  <a:pt x="3514169" y="56663"/>
                  <a:pt x="3514169" y="126621"/>
                </a:cubicBezTo>
                <a:lnTo>
                  <a:pt x="3514169" y="512750"/>
                </a:lnTo>
                <a:cubicBezTo>
                  <a:pt x="3514169" y="568464"/>
                  <a:pt x="3559309" y="613604"/>
                  <a:pt x="3615022" y="613604"/>
                </a:cubicBezTo>
                <a:cubicBezTo>
                  <a:pt x="3670735" y="613604"/>
                  <a:pt x="3715876" y="658744"/>
                  <a:pt x="3715876" y="714457"/>
                </a:cubicBezTo>
                <a:lnTo>
                  <a:pt x="3715876" y="1491592"/>
                </a:lnTo>
                <a:cubicBezTo>
                  <a:pt x="3715876" y="1547052"/>
                  <a:pt x="3670482" y="1591812"/>
                  <a:pt x="3615022" y="1591052"/>
                </a:cubicBezTo>
                <a:cubicBezTo>
                  <a:pt x="3559562" y="1590293"/>
                  <a:pt x="3514169" y="1635053"/>
                  <a:pt x="3514169" y="1690513"/>
                </a:cubicBezTo>
                <a:lnTo>
                  <a:pt x="3514169" y="2076579"/>
                </a:lnTo>
                <a:cubicBezTo>
                  <a:pt x="3514169" y="2146537"/>
                  <a:pt x="3457506" y="2203200"/>
                  <a:pt x="3387548" y="2203200"/>
                </a:cubicBezTo>
                <a:lnTo>
                  <a:pt x="332888" y="2203200"/>
                </a:lnTo>
                <a:cubicBezTo>
                  <a:pt x="262930" y="2203200"/>
                  <a:pt x="206267" y="2146537"/>
                  <a:pt x="206267" y="2076579"/>
                </a:cubicBezTo>
                <a:lnTo>
                  <a:pt x="206267" y="1692729"/>
                </a:lnTo>
                <a:cubicBezTo>
                  <a:pt x="206267" y="1635813"/>
                  <a:pt x="160114" y="1589596"/>
                  <a:pt x="103134" y="1589596"/>
                </a:cubicBezTo>
                <a:cubicBezTo>
                  <a:pt x="46155" y="1589596"/>
                  <a:pt x="-251" y="1543126"/>
                  <a:pt x="2" y="1485957"/>
                </a:cubicBezTo>
                <a:lnTo>
                  <a:pt x="3991" y="714141"/>
                </a:lnTo>
                <a:cubicBezTo>
                  <a:pt x="4307" y="658491"/>
                  <a:pt x="49447" y="613541"/>
                  <a:pt x="105097" y="613541"/>
                </a:cubicBezTo>
                <a:cubicBezTo>
                  <a:pt x="160747" y="613541"/>
                  <a:pt x="206204" y="568274"/>
                  <a:pt x="206204" y="512434"/>
                </a:cubicBezTo>
                <a:lnTo>
                  <a:pt x="206204" y="126621"/>
                </a:lnTo>
                <a:lnTo>
                  <a:pt x="206267" y="126621"/>
                </a:lnTo>
                <a:cubicBezTo>
                  <a:pt x="206267" y="56663"/>
                  <a:pt x="262930" y="0"/>
                  <a:pt x="332888"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3" name="Tijdelijke aanduiding voor afbeelding 22">
            <a:extLst>
              <a:ext uri="{FF2B5EF4-FFF2-40B4-BE49-F238E27FC236}">
                <a16:creationId xmlns:a16="http://schemas.microsoft.com/office/drawing/2014/main" id="{BFE3AB00-24F7-6659-41FD-06110DDC0D99}"/>
              </a:ext>
            </a:extLst>
          </p:cNvPr>
          <p:cNvSpPr>
            <a:spLocks noGrp="1" noRot="1" noMove="1" noResize="1" noEditPoints="1" noAdjustHandles="1" noChangeArrowheads="1" noChangeShapeType="1"/>
          </p:cNvSpPr>
          <p:nvPr>
            <p:ph type="pic" sz="quarter" idx="17"/>
          </p:nvPr>
        </p:nvSpPr>
        <p:spPr>
          <a:xfrm>
            <a:off x="876053" y="4521200"/>
            <a:ext cx="3417745" cy="2203200"/>
          </a:xfrm>
          <a:custGeom>
            <a:avLst/>
            <a:gdLst>
              <a:gd name="connsiteX0" fmla="*/ 126621 w 3417745"/>
              <a:gd name="connsiteY0" fmla="*/ 0 h 2203200"/>
              <a:gd name="connsiteX1" fmla="*/ 3291125 w 3417745"/>
              <a:gd name="connsiteY1" fmla="*/ 0 h 2203200"/>
              <a:gd name="connsiteX2" fmla="*/ 3417745 w 3417745"/>
              <a:gd name="connsiteY2" fmla="*/ 126621 h 2203200"/>
              <a:gd name="connsiteX3" fmla="*/ 3417745 w 3417745"/>
              <a:gd name="connsiteY3" fmla="*/ 446591 h 2203200"/>
              <a:gd name="connsiteX4" fmla="*/ 3313536 w 3417745"/>
              <a:gd name="connsiteY4" fmla="*/ 550800 h 2203200"/>
              <a:gd name="connsiteX5" fmla="*/ 3209328 w 3417745"/>
              <a:gd name="connsiteY5" fmla="*/ 655009 h 2203200"/>
              <a:gd name="connsiteX6" fmla="*/ 3209328 w 3417745"/>
              <a:gd name="connsiteY6" fmla="*/ 1550977 h 2203200"/>
              <a:gd name="connsiteX7" fmla="*/ 3313536 w 3417745"/>
              <a:gd name="connsiteY7" fmla="*/ 1653793 h 2203200"/>
              <a:gd name="connsiteX8" fmla="*/ 3417745 w 3417745"/>
              <a:gd name="connsiteY8" fmla="*/ 1756609 h 2203200"/>
              <a:gd name="connsiteX9" fmla="*/ 3417745 w 3417745"/>
              <a:gd name="connsiteY9" fmla="*/ 2076579 h 2203200"/>
              <a:gd name="connsiteX10" fmla="*/ 3291125 w 3417745"/>
              <a:gd name="connsiteY10" fmla="*/ 2203200 h 2203200"/>
              <a:gd name="connsiteX11" fmla="*/ 126621 w 3417745"/>
              <a:gd name="connsiteY11" fmla="*/ 2203200 h 2203200"/>
              <a:gd name="connsiteX12" fmla="*/ 0 w 3417745"/>
              <a:gd name="connsiteY12" fmla="*/ 2076579 h 2203200"/>
              <a:gd name="connsiteX13" fmla="*/ 0 w 3417745"/>
              <a:gd name="connsiteY13" fmla="*/ 1754266 h 2203200"/>
              <a:gd name="connsiteX14" fmla="*/ 101866 w 3417745"/>
              <a:gd name="connsiteY14" fmla="*/ 1652400 h 2203200"/>
              <a:gd name="connsiteX15" fmla="*/ 203669 w 3417745"/>
              <a:gd name="connsiteY15" fmla="*/ 1551040 h 2203200"/>
              <a:gd name="connsiteX16" fmla="*/ 207911 w 3417745"/>
              <a:gd name="connsiteY16" fmla="*/ 655262 h 2203200"/>
              <a:gd name="connsiteX17" fmla="*/ 103956 w 3417745"/>
              <a:gd name="connsiteY17" fmla="*/ 550800 h 2203200"/>
              <a:gd name="connsiteX18" fmla="*/ 0 w 3417745"/>
              <a:gd name="connsiteY18" fmla="*/ 446844 h 2203200"/>
              <a:gd name="connsiteX19" fmla="*/ 0 w 3417745"/>
              <a:gd name="connsiteY19" fmla="*/ 126621 h 2203200"/>
              <a:gd name="connsiteX20" fmla="*/ 126621 w 3417745"/>
              <a:gd name="connsiteY20" fmla="*/ 0 h 2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17745" h="2203200">
                <a:moveTo>
                  <a:pt x="126621" y="0"/>
                </a:moveTo>
                <a:lnTo>
                  <a:pt x="3291125" y="0"/>
                </a:lnTo>
                <a:cubicBezTo>
                  <a:pt x="3361083" y="0"/>
                  <a:pt x="3417745" y="56663"/>
                  <a:pt x="3417745" y="126621"/>
                </a:cubicBezTo>
                <a:lnTo>
                  <a:pt x="3417745" y="446591"/>
                </a:lnTo>
                <a:cubicBezTo>
                  <a:pt x="3417745" y="504140"/>
                  <a:pt x="3371085" y="550800"/>
                  <a:pt x="3313536" y="550800"/>
                </a:cubicBezTo>
                <a:cubicBezTo>
                  <a:pt x="3255987" y="550800"/>
                  <a:pt x="3209328" y="597460"/>
                  <a:pt x="3209328" y="655009"/>
                </a:cubicBezTo>
                <a:lnTo>
                  <a:pt x="3209328" y="1550977"/>
                </a:lnTo>
                <a:cubicBezTo>
                  <a:pt x="3209328" y="1608273"/>
                  <a:pt x="3256177" y="1654553"/>
                  <a:pt x="3313536" y="1653793"/>
                </a:cubicBezTo>
                <a:cubicBezTo>
                  <a:pt x="3370832" y="1653033"/>
                  <a:pt x="3417745" y="1699313"/>
                  <a:pt x="3417745" y="1756609"/>
                </a:cubicBezTo>
                <a:lnTo>
                  <a:pt x="3417745" y="2076579"/>
                </a:lnTo>
                <a:cubicBezTo>
                  <a:pt x="3417745" y="2146537"/>
                  <a:pt x="3361083" y="2203200"/>
                  <a:pt x="3291125" y="2203200"/>
                </a:cubicBezTo>
                <a:lnTo>
                  <a:pt x="126621" y="2203200"/>
                </a:lnTo>
                <a:cubicBezTo>
                  <a:pt x="56663" y="2203200"/>
                  <a:pt x="0" y="2146537"/>
                  <a:pt x="0" y="2076579"/>
                </a:cubicBezTo>
                <a:lnTo>
                  <a:pt x="0" y="1754266"/>
                </a:lnTo>
                <a:cubicBezTo>
                  <a:pt x="0" y="1698047"/>
                  <a:pt x="45583" y="1652400"/>
                  <a:pt x="101866" y="1652400"/>
                </a:cubicBezTo>
                <a:cubicBezTo>
                  <a:pt x="158149" y="1652400"/>
                  <a:pt x="203416" y="1607070"/>
                  <a:pt x="203669" y="1551040"/>
                </a:cubicBezTo>
                <a:lnTo>
                  <a:pt x="207911" y="655262"/>
                </a:lnTo>
                <a:cubicBezTo>
                  <a:pt x="208164" y="597650"/>
                  <a:pt x="161568" y="550800"/>
                  <a:pt x="103956" y="550800"/>
                </a:cubicBezTo>
                <a:cubicBezTo>
                  <a:pt x="46343" y="550800"/>
                  <a:pt x="0" y="504267"/>
                  <a:pt x="0" y="446844"/>
                </a:cubicBezTo>
                <a:lnTo>
                  <a:pt x="0" y="126621"/>
                </a:lnTo>
                <a:cubicBezTo>
                  <a:pt x="0" y="56663"/>
                  <a:pt x="56663" y="0"/>
                  <a:pt x="126621"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6" name="Tijdelijke aanduiding voor afbeelding 25">
            <a:extLst>
              <a:ext uri="{FF2B5EF4-FFF2-40B4-BE49-F238E27FC236}">
                <a16:creationId xmlns:a16="http://schemas.microsoft.com/office/drawing/2014/main" id="{889AA860-1DB3-8B97-18D5-996BE42608C2}"/>
              </a:ext>
            </a:extLst>
          </p:cNvPr>
          <p:cNvSpPr>
            <a:spLocks noGrp="1" noRot="1" noMove="1" noResize="1" noEditPoints="1" noAdjustHandles="1" noChangeArrowheads="1" noChangeShapeType="1"/>
          </p:cNvSpPr>
          <p:nvPr>
            <p:ph type="pic" sz="quarter" idx="15"/>
          </p:nvPr>
        </p:nvSpPr>
        <p:spPr>
          <a:xfrm>
            <a:off x="7726166" y="4521201"/>
            <a:ext cx="3716380" cy="2203263"/>
          </a:xfrm>
          <a:custGeom>
            <a:avLst/>
            <a:gdLst>
              <a:gd name="connsiteX0" fmla="*/ 126684 w 3716380"/>
              <a:gd name="connsiteY0" fmla="*/ 0 h 2203263"/>
              <a:gd name="connsiteX1" fmla="*/ 3589760 w 3716380"/>
              <a:gd name="connsiteY1" fmla="*/ 0 h 2203263"/>
              <a:gd name="connsiteX2" fmla="*/ 3716380 w 3716380"/>
              <a:gd name="connsiteY2" fmla="*/ 126621 h 2203263"/>
              <a:gd name="connsiteX3" fmla="*/ 3716380 w 3716380"/>
              <a:gd name="connsiteY3" fmla="*/ 437474 h 2203263"/>
              <a:gd name="connsiteX4" fmla="*/ 3603055 w 3716380"/>
              <a:gd name="connsiteY4" fmla="*/ 550800 h 2203263"/>
              <a:gd name="connsiteX5" fmla="*/ 3489729 w 3716380"/>
              <a:gd name="connsiteY5" fmla="*/ 664126 h 2203263"/>
              <a:gd name="connsiteX6" fmla="*/ 3489729 w 3716380"/>
              <a:gd name="connsiteY6" fmla="*/ 1541924 h 2203263"/>
              <a:gd name="connsiteX7" fmla="*/ 3603055 w 3716380"/>
              <a:gd name="connsiteY7" fmla="*/ 1653856 h 2203263"/>
              <a:gd name="connsiteX8" fmla="*/ 3716380 w 3716380"/>
              <a:gd name="connsiteY8" fmla="*/ 1765789 h 2203263"/>
              <a:gd name="connsiteX9" fmla="*/ 3716380 w 3716380"/>
              <a:gd name="connsiteY9" fmla="*/ 2076643 h 2203263"/>
              <a:gd name="connsiteX10" fmla="*/ 3589760 w 3716380"/>
              <a:gd name="connsiteY10" fmla="*/ 2203263 h 2203263"/>
              <a:gd name="connsiteX11" fmla="*/ 126684 w 3716380"/>
              <a:gd name="connsiteY11" fmla="*/ 2203263 h 2203263"/>
              <a:gd name="connsiteX12" fmla="*/ 63 w 3716380"/>
              <a:gd name="connsiteY12" fmla="*/ 2076643 h 2203263"/>
              <a:gd name="connsiteX13" fmla="*/ 63 w 3716380"/>
              <a:gd name="connsiteY13" fmla="*/ 1763193 h 2203263"/>
              <a:gd name="connsiteX14" fmla="*/ 110793 w 3716380"/>
              <a:gd name="connsiteY14" fmla="*/ 1652463 h 2203263"/>
              <a:gd name="connsiteX15" fmla="*/ 221523 w 3716380"/>
              <a:gd name="connsiteY15" fmla="*/ 1542303 h 2203263"/>
              <a:gd name="connsiteX16" fmla="*/ 226018 w 3716380"/>
              <a:gd name="connsiteY16" fmla="*/ 664505 h 2203263"/>
              <a:gd name="connsiteX17" fmla="*/ 113009 w 3716380"/>
              <a:gd name="connsiteY17" fmla="*/ 550927 h 2203263"/>
              <a:gd name="connsiteX18" fmla="*/ 0 w 3716380"/>
              <a:gd name="connsiteY18" fmla="*/ 437918 h 2203263"/>
              <a:gd name="connsiteX19" fmla="*/ 0 w 3716380"/>
              <a:gd name="connsiteY19" fmla="*/ 126621 h 2203263"/>
              <a:gd name="connsiteX20" fmla="*/ 63 w 3716380"/>
              <a:gd name="connsiteY20" fmla="*/ 126621 h 2203263"/>
              <a:gd name="connsiteX21" fmla="*/ 126684 w 3716380"/>
              <a:gd name="connsiteY21" fmla="*/ 0 h 220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6380" h="2203263">
                <a:moveTo>
                  <a:pt x="126684" y="0"/>
                </a:moveTo>
                <a:lnTo>
                  <a:pt x="3589760" y="0"/>
                </a:lnTo>
                <a:cubicBezTo>
                  <a:pt x="3659718" y="0"/>
                  <a:pt x="3716380" y="56663"/>
                  <a:pt x="3716380" y="126621"/>
                </a:cubicBezTo>
                <a:lnTo>
                  <a:pt x="3716380" y="437474"/>
                </a:lnTo>
                <a:cubicBezTo>
                  <a:pt x="3716380" y="500025"/>
                  <a:pt x="3665669" y="550800"/>
                  <a:pt x="3603055" y="550800"/>
                </a:cubicBezTo>
                <a:cubicBezTo>
                  <a:pt x="3540441" y="550800"/>
                  <a:pt x="3489729" y="601512"/>
                  <a:pt x="3489729" y="664126"/>
                </a:cubicBezTo>
                <a:lnTo>
                  <a:pt x="3489729" y="1541924"/>
                </a:lnTo>
                <a:cubicBezTo>
                  <a:pt x="3489729" y="1604284"/>
                  <a:pt x="3540694" y="1654616"/>
                  <a:pt x="3603055" y="1653856"/>
                </a:cubicBezTo>
                <a:cubicBezTo>
                  <a:pt x="3665415" y="1653096"/>
                  <a:pt x="3716380" y="1703428"/>
                  <a:pt x="3716380" y="1765789"/>
                </a:cubicBezTo>
                <a:lnTo>
                  <a:pt x="3716380" y="2076643"/>
                </a:lnTo>
                <a:cubicBezTo>
                  <a:pt x="3716380" y="2146601"/>
                  <a:pt x="3659718" y="2203263"/>
                  <a:pt x="3589760" y="2203263"/>
                </a:cubicBezTo>
                <a:lnTo>
                  <a:pt x="126684" y="2203263"/>
                </a:lnTo>
                <a:cubicBezTo>
                  <a:pt x="56726" y="2203263"/>
                  <a:pt x="63" y="2146601"/>
                  <a:pt x="63" y="2076643"/>
                </a:cubicBezTo>
                <a:lnTo>
                  <a:pt x="63" y="1763193"/>
                </a:lnTo>
                <a:cubicBezTo>
                  <a:pt x="63" y="1702035"/>
                  <a:pt x="49635" y="1652463"/>
                  <a:pt x="110793" y="1652463"/>
                </a:cubicBezTo>
                <a:cubicBezTo>
                  <a:pt x="171951" y="1652463"/>
                  <a:pt x="221207" y="1603208"/>
                  <a:pt x="221523" y="1542303"/>
                </a:cubicBezTo>
                <a:lnTo>
                  <a:pt x="226018" y="664505"/>
                </a:lnTo>
                <a:cubicBezTo>
                  <a:pt x="226334" y="601891"/>
                  <a:pt x="175623" y="550927"/>
                  <a:pt x="113009" y="550927"/>
                </a:cubicBezTo>
                <a:cubicBezTo>
                  <a:pt x="50395" y="550927"/>
                  <a:pt x="0" y="500342"/>
                  <a:pt x="0" y="437918"/>
                </a:cubicBezTo>
                <a:lnTo>
                  <a:pt x="0" y="126621"/>
                </a:lnTo>
                <a:lnTo>
                  <a:pt x="63" y="126621"/>
                </a:lnTo>
                <a:cubicBezTo>
                  <a:pt x="63" y="56663"/>
                  <a:pt x="56726" y="0"/>
                  <a:pt x="12668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11" name="Afbeelding 10">
            <a:extLst>
              <a:ext uri="{FF2B5EF4-FFF2-40B4-BE49-F238E27FC236}">
                <a16:creationId xmlns:a16="http://schemas.microsoft.com/office/drawing/2014/main" id="{B4DDC55A-C58D-78F7-8263-1549F297E7D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4521200"/>
            <a:ext cx="1006462" cy="2202823"/>
          </a:xfrm>
          <a:prstGeom prst="rect">
            <a:avLst/>
          </a:prstGeom>
        </p:spPr>
      </p:pic>
      <p:pic>
        <p:nvPicPr>
          <p:cNvPr id="13" name="Afbeelding 12">
            <a:extLst>
              <a:ext uri="{FF2B5EF4-FFF2-40B4-BE49-F238E27FC236}">
                <a16:creationId xmlns:a16="http://schemas.microsoft.com/office/drawing/2014/main" id="{59213F1A-D2F2-8D70-1F69-4FCE1CDF0FD5}"/>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11312136" y="4521200"/>
            <a:ext cx="879863" cy="2202823"/>
          </a:xfrm>
          <a:prstGeom prst="rect">
            <a:avLst/>
          </a:prstGeom>
        </p:spPr>
      </p:pic>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908050"/>
            <a:ext cx="5400000"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hasCustomPrompt="1"/>
          </p:nvPr>
        </p:nvSpPr>
        <p:spPr>
          <a:xfrm>
            <a:off x="695325" y="2753679"/>
            <a:ext cx="4374515" cy="1440000"/>
          </a:xfrm>
        </p:spPr>
        <p:txBody>
          <a:bodyPr/>
          <a:lstStyle>
            <a:lvl1pPr>
              <a:defRPr>
                <a:solidFill>
                  <a:schemeClr val="tx2"/>
                </a:solidFill>
              </a:defRPr>
            </a:lvl1pPr>
          </a:lstStyle>
          <a:p>
            <a:pPr lvl="0"/>
            <a:r>
              <a:rPr lang="nl-NL" dirty="0"/>
              <a:t>Inleiding</a:t>
            </a:r>
          </a:p>
        </p:txBody>
      </p:sp>
      <p:sp>
        <p:nvSpPr>
          <p:cNvPr id="8" name="Tijdelijke aanduiding voor tekst 8">
            <a:extLst>
              <a:ext uri="{FF2B5EF4-FFF2-40B4-BE49-F238E27FC236}">
                <a16:creationId xmlns:a16="http://schemas.microsoft.com/office/drawing/2014/main" id="{9252D704-6BC8-C741-DFF5-B632B4765648}"/>
              </a:ext>
            </a:extLst>
          </p:cNvPr>
          <p:cNvSpPr>
            <a:spLocks noGrp="1"/>
          </p:cNvSpPr>
          <p:nvPr>
            <p:ph type="body" sz="quarter" idx="14"/>
          </p:nvPr>
        </p:nvSpPr>
        <p:spPr>
          <a:xfrm>
            <a:off x="5537200" y="2753679"/>
            <a:ext cx="6030913" cy="1440000"/>
          </a:xfrm>
        </p:spPr>
        <p:txBody>
          <a:bodyPr/>
          <a:lstStyle>
            <a:lvl1pPr>
              <a:lnSpc>
                <a:spcPct val="112000"/>
              </a:lnSpc>
              <a:defRPr sz="1000">
                <a:solidFill>
                  <a:schemeClr val="tx2"/>
                </a:solidFill>
              </a:defRPr>
            </a:lvl1pPr>
            <a:lvl2pPr>
              <a:lnSpc>
                <a:spcPct val="112000"/>
              </a:lnSpc>
              <a:defRPr sz="1000">
                <a:solidFill>
                  <a:schemeClr val="tx2"/>
                </a:solidFill>
              </a:defRPr>
            </a:lvl2pPr>
            <a:lvl3pPr>
              <a:lnSpc>
                <a:spcPct val="112000"/>
              </a:lnSpc>
              <a:defRPr sz="1000">
                <a:solidFill>
                  <a:schemeClr val="tx2"/>
                </a:solidFill>
              </a:defRPr>
            </a:lvl3pPr>
            <a:lvl4pPr>
              <a:lnSpc>
                <a:spcPct val="112000"/>
              </a:lnSpc>
              <a:defRPr sz="1000">
                <a:solidFill>
                  <a:schemeClr val="tx2"/>
                </a:solidFill>
              </a:defRPr>
            </a:lvl4pPr>
            <a:lvl5pPr>
              <a:lnSpc>
                <a:spcPct val="112000"/>
              </a:lnSpc>
              <a:defRPr sz="1000">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22" name="Afbeelding 21">
            <a:extLst>
              <a:ext uri="{FF2B5EF4-FFF2-40B4-BE49-F238E27FC236}">
                <a16:creationId xmlns:a16="http://schemas.microsoft.com/office/drawing/2014/main" id="{224619ED-F4FF-29CB-31C2-988E0EDE2E1F}"/>
              </a:ext>
            </a:extLst>
          </p:cNvPr>
          <p:cNvPicPr>
            <a:picLocks noChangeAspect="1"/>
          </p:cNvPicPr>
          <p:nvPr userDrawn="1"/>
        </p:nvPicPr>
        <p:blipFill>
          <a:blip r:embed="rId4"/>
          <a:stretch>
            <a:fillRect/>
          </a:stretch>
        </p:blipFill>
        <p:spPr>
          <a:xfrm>
            <a:off x="12192000" y="2753679"/>
            <a:ext cx="1731414" cy="2853175"/>
          </a:xfrm>
          <a:prstGeom prst="rect">
            <a:avLst/>
          </a:prstGeom>
        </p:spPr>
      </p:pic>
    </p:spTree>
    <p:extLst>
      <p:ext uri="{BB962C8B-B14F-4D97-AF65-F5344CB8AC3E}">
        <p14:creationId xmlns:p14="http://schemas.microsoft.com/office/powerpoint/2010/main" val="3114804971"/>
      </p:ext>
    </p:extLst>
  </p:cSld>
  <p:clrMapOvr>
    <a:masterClrMapping/>
  </p:clrMapOvr>
  <p:extLst>
    <p:ext uri="{DCECCB84-F9BA-43D5-87BE-67443E8EF086}">
      <p15:sldGuideLst xmlns:p15="http://schemas.microsoft.com/office/powerpoint/2012/main">
        <p15:guide id="1" orient="horz" pos="572">
          <p15:clr>
            <a:srgbClr val="FBAE40"/>
          </p15:clr>
        </p15:guide>
        <p15:guide id="2" pos="438">
          <p15:clr>
            <a:srgbClr val="FBAE40"/>
          </p15:clr>
        </p15:guide>
        <p15:guide id="3" pos="728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1922144" y="250825"/>
            <a:ext cx="5400000" cy="302390"/>
          </a:xfrm>
        </p:spPr>
        <p:txBody>
          <a:bodyPr vert="horz"/>
          <a:lstStyle>
            <a:lvl1pPr>
              <a:defRPr sz="1800"/>
            </a:lvl1pPr>
          </a:lstStyle>
          <a:p>
            <a:r>
              <a:rPr lang="nl-NL" dirty="0"/>
              <a:t>Titel</a:t>
            </a:r>
          </a:p>
        </p:txBody>
      </p:sp>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4" name="Tijdelijke aanduiding voor media 3">
            <a:extLst>
              <a:ext uri="{FF2B5EF4-FFF2-40B4-BE49-F238E27FC236}">
                <a16:creationId xmlns:a16="http://schemas.microsoft.com/office/drawing/2014/main" id="{095BB2CE-3382-7FF1-05B8-B9A31B524EC7}"/>
              </a:ext>
            </a:extLst>
          </p:cNvPr>
          <p:cNvSpPr>
            <a:spLocks noGrp="1"/>
          </p:cNvSpPr>
          <p:nvPr>
            <p:ph type="media" sz="quarter" idx="13"/>
          </p:nvPr>
        </p:nvSpPr>
        <p:spPr>
          <a:xfrm>
            <a:off x="156210" y="830579"/>
            <a:ext cx="11879580" cy="5875022"/>
          </a:xfrm>
          <a:prstGeom prst="roundRect">
            <a:avLst>
              <a:gd name="adj" fmla="val 1519"/>
            </a:avLst>
          </a:prstGeom>
          <a:solidFill>
            <a:schemeClr val="accent5">
              <a:lumMod val="20000"/>
              <a:lumOff val="80000"/>
            </a:schemeClr>
          </a:solidFill>
        </p:spPr>
        <p:txBody>
          <a:bodyPr bIns="504000" anchor="ctr" anchorCtr="0"/>
          <a:lstStyle>
            <a:lvl1pPr algn="ctr">
              <a:defRPr/>
            </a:lvl1pPr>
          </a:lstStyle>
          <a:p>
            <a:r>
              <a:rPr lang="nl-NL"/>
              <a:t>Klik op het pictogram als u media wilt toevoegen</a:t>
            </a:r>
            <a:endParaRPr lang="nl-NL" dirty="0"/>
          </a:p>
        </p:txBody>
      </p:sp>
    </p:spTree>
    <p:extLst>
      <p:ext uri="{BB962C8B-B14F-4D97-AF65-F5344CB8AC3E}">
        <p14:creationId xmlns:p14="http://schemas.microsoft.com/office/powerpoint/2010/main" val="409272420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Video - 2">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FB786439-DFFE-0860-45E4-80461ABAAE82}"/>
              </a:ext>
            </a:extLst>
          </p:cNvPr>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11" name="Afbeelding 10">
            <a:extLst>
              <a:ext uri="{FF2B5EF4-FFF2-40B4-BE49-F238E27FC236}">
                <a16:creationId xmlns:a16="http://schemas.microsoft.com/office/drawing/2014/main" id="{8257275C-53D8-EF90-0B3A-7972D0BC3F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23491" y="197893"/>
            <a:ext cx="1968509" cy="6462213"/>
          </a:xfrm>
          <a:prstGeom prst="rect">
            <a:avLst/>
          </a:prstGeom>
        </p:spPr>
      </p:pic>
      <p:pic>
        <p:nvPicPr>
          <p:cNvPr id="7" name="Logo">
            <a:extLst>
              <a:ext uri="{FF2B5EF4-FFF2-40B4-BE49-F238E27FC236}">
                <a16:creationId xmlns:a16="http://schemas.microsoft.com/office/drawing/2014/main" id="{D75BC523-8B22-6DB0-0861-5993A2BCA8C3}"/>
              </a:ext>
            </a:extLst>
          </p:cNvPr>
          <p:cNvPicPr/>
          <p:nvPr userDrawn="1"/>
        </p:nvPicPr>
        <p:blipFill>
          <a:blip r:embed="rId3">
            <a:extLst>
              <a:ext uri="{96DAC541-7B7A-43D3-8B79-37D633B846F1}">
                <asvg:svgBlip xmlns:asvg="http://schemas.microsoft.com/office/drawing/2016/SVG/main" r:embed="rId4"/>
              </a:ext>
            </a:extLst>
          </a:blip>
          <a:stretch>
            <a:fillRect/>
          </a:stretch>
        </p:blipFill>
        <p:spPr>
          <a:xfrm>
            <a:off x="10572966" y="286902"/>
            <a:ext cx="1302321" cy="268243"/>
          </a:xfrm>
          <a:prstGeom prst="rect">
            <a:avLst/>
          </a:prstGeom>
        </p:spPr>
      </p:pic>
      <p:sp>
        <p:nvSpPr>
          <p:cNvPr id="16" name="Tijdelijke aanduiding voor media 15">
            <a:extLst>
              <a:ext uri="{FF2B5EF4-FFF2-40B4-BE49-F238E27FC236}">
                <a16:creationId xmlns:a16="http://schemas.microsoft.com/office/drawing/2014/main" id="{E399BFDB-02AC-1DEF-4165-8A252CC42991}"/>
              </a:ext>
            </a:extLst>
          </p:cNvPr>
          <p:cNvSpPr>
            <a:spLocks noGrp="1"/>
          </p:cNvSpPr>
          <p:nvPr>
            <p:ph type="media" sz="quarter" idx="13"/>
          </p:nvPr>
        </p:nvSpPr>
        <p:spPr>
          <a:xfrm>
            <a:off x="1099244" y="198106"/>
            <a:ext cx="9496665" cy="6462953"/>
          </a:xfrm>
          <a:custGeom>
            <a:avLst/>
            <a:gdLst>
              <a:gd name="connsiteX0" fmla="*/ 654989 w 9496665"/>
              <a:gd name="connsiteY0" fmla="*/ 0 h 6462953"/>
              <a:gd name="connsiteX1" fmla="*/ 8853980 w 9496665"/>
              <a:gd name="connsiteY1" fmla="*/ 0 h 6462953"/>
              <a:gd name="connsiteX2" fmla="*/ 8981208 w 9496665"/>
              <a:gd name="connsiteY2" fmla="*/ 127229 h 6462953"/>
              <a:gd name="connsiteX3" fmla="*/ 8981208 w 9496665"/>
              <a:gd name="connsiteY3" fmla="*/ 1672646 h 6462953"/>
              <a:gd name="connsiteX4" fmla="*/ 9108437 w 9496665"/>
              <a:gd name="connsiteY4" fmla="*/ 1799875 h 6462953"/>
              <a:gd name="connsiteX5" fmla="*/ 9369437 w 9496665"/>
              <a:gd name="connsiteY5" fmla="*/ 1799875 h 6462953"/>
              <a:gd name="connsiteX6" fmla="*/ 9496665 w 9496665"/>
              <a:gd name="connsiteY6" fmla="*/ 1927103 h 6462953"/>
              <a:gd name="connsiteX7" fmla="*/ 9496665 w 9496665"/>
              <a:gd name="connsiteY7" fmla="*/ 4541990 h 6462953"/>
              <a:gd name="connsiteX8" fmla="*/ 9367425 w 9496665"/>
              <a:gd name="connsiteY8" fmla="*/ 4669198 h 6462953"/>
              <a:gd name="connsiteX9" fmla="*/ 9110448 w 9496665"/>
              <a:gd name="connsiteY9" fmla="*/ 4665133 h 6462953"/>
              <a:gd name="connsiteX10" fmla="*/ 8981208 w 9496665"/>
              <a:gd name="connsiteY10" fmla="*/ 4792340 h 6462953"/>
              <a:gd name="connsiteX11" fmla="*/ 8981208 w 9496665"/>
              <a:gd name="connsiteY11" fmla="*/ 6335725 h 6462953"/>
              <a:gd name="connsiteX12" fmla="*/ 8853980 w 9496665"/>
              <a:gd name="connsiteY12" fmla="*/ 6462953 h 6462953"/>
              <a:gd name="connsiteX13" fmla="*/ 654989 w 9496665"/>
              <a:gd name="connsiteY13" fmla="*/ 6462953 h 6462953"/>
              <a:gd name="connsiteX14" fmla="*/ 527761 w 9496665"/>
              <a:gd name="connsiteY14" fmla="*/ 6335725 h 6462953"/>
              <a:gd name="connsiteX15" fmla="*/ 527761 w 9496665"/>
              <a:gd name="connsiteY15" fmla="*/ 4790307 h 6462953"/>
              <a:gd name="connsiteX16" fmla="*/ 400532 w 9496665"/>
              <a:gd name="connsiteY16" fmla="*/ 4663079 h 6462953"/>
              <a:gd name="connsiteX17" fmla="*/ 127231 w 9496665"/>
              <a:gd name="connsiteY17" fmla="*/ 4663079 h 6462953"/>
              <a:gd name="connsiteX18" fmla="*/ 2 w 9496665"/>
              <a:gd name="connsiteY18" fmla="*/ 4535278 h 6462953"/>
              <a:gd name="connsiteX19" fmla="*/ 11753 w 9496665"/>
              <a:gd name="connsiteY19" fmla="*/ 1926510 h 6462953"/>
              <a:gd name="connsiteX20" fmla="*/ 138982 w 9496665"/>
              <a:gd name="connsiteY20" fmla="*/ 1799853 h 6462953"/>
              <a:gd name="connsiteX21" fmla="*/ 400553 w 9496665"/>
              <a:gd name="connsiteY21" fmla="*/ 1799853 h 6462953"/>
              <a:gd name="connsiteX22" fmla="*/ 527782 w 9496665"/>
              <a:gd name="connsiteY22" fmla="*/ 1672625 h 6462953"/>
              <a:gd name="connsiteX23" fmla="*/ 527782 w 9496665"/>
              <a:gd name="connsiteY23" fmla="*/ 127229 h 6462953"/>
              <a:gd name="connsiteX24" fmla="*/ 527761 w 9496665"/>
              <a:gd name="connsiteY24" fmla="*/ 127229 h 6462953"/>
              <a:gd name="connsiteX25" fmla="*/ 654989 w 9496665"/>
              <a:gd name="connsiteY25" fmla="*/ 0 h 646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496665" h="6462953">
                <a:moveTo>
                  <a:pt x="654989" y="0"/>
                </a:moveTo>
                <a:lnTo>
                  <a:pt x="8853980" y="0"/>
                </a:lnTo>
                <a:cubicBezTo>
                  <a:pt x="8924253" y="0"/>
                  <a:pt x="8981208" y="56955"/>
                  <a:pt x="8981208" y="127229"/>
                </a:cubicBezTo>
                <a:lnTo>
                  <a:pt x="8981208" y="1672646"/>
                </a:lnTo>
                <a:cubicBezTo>
                  <a:pt x="8981208" y="1742919"/>
                  <a:pt x="9038164" y="1799875"/>
                  <a:pt x="9108437" y="1799875"/>
                </a:cubicBezTo>
                <a:lnTo>
                  <a:pt x="9369437" y="1799875"/>
                </a:lnTo>
                <a:cubicBezTo>
                  <a:pt x="9439710" y="1799875"/>
                  <a:pt x="9496665" y="1856830"/>
                  <a:pt x="9496665" y="1927103"/>
                </a:cubicBezTo>
                <a:lnTo>
                  <a:pt x="9496665" y="4541990"/>
                </a:lnTo>
                <a:cubicBezTo>
                  <a:pt x="9496665" y="4613047"/>
                  <a:pt x="9438460" y="4670320"/>
                  <a:pt x="9367425" y="4669198"/>
                </a:cubicBezTo>
                <a:lnTo>
                  <a:pt x="9110448" y="4665133"/>
                </a:lnTo>
                <a:cubicBezTo>
                  <a:pt x="9039413" y="4664010"/>
                  <a:pt x="8981208" y="4721283"/>
                  <a:pt x="8981208" y="4792340"/>
                </a:cubicBezTo>
                <a:lnTo>
                  <a:pt x="8981208" y="6335725"/>
                </a:lnTo>
                <a:cubicBezTo>
                  <a:pt x="8981208" y="6405998"/>
                  <a:pt x="8924253" y="6462953"/>
                  <a:pt x="8853980" y="6462953"/>
                </a:cubicBezTo>
                <a:lnTo>
                  <a:pt x="654989" y="6462953"/>
                </a:lnTo>
                <a:cubicBezTo>
                  <a:pt x="584716" y="6462953"/>
                  <a:pt x="527761" y="6405998"/>
                  <a:pt x="527761" y="6335725"/>
                </a:cubicBezTo>
                <a:lnTo>
                  <a:pt x="527761" y="4790307"/>
                </a:lnTo>
                <a:cubicBezTo>
                  <a:pt x="527761" y="4720034"/>
                  <a:pt x="470805" y="4663079"/>
                  <a:pt x="400532" y="4663079"/>
                </a:cubicBezTo>
                <a:lnTo>
                  <a:pt x="127231" y="4663079"/>
                </a:lnTo>
                <a:cubicBezTo>
                  <a:pt x="56746" y="4663079"/>
                  <a:pt x="-315" y="4605763"/>
                  <a:pt x="2" y="4535278"/>
                </a:cubicBezTo>
                <a:lnTo>
                  <a:pt x="11753" y="1926510"/>
                </a:lnTo>
                <a:cubicBezTo>
                  <a:pt x="12071" y="1856470"/>
                  <a:pt x="68942" y="1799853"/>
                  <a:pt x="138982" y="1799853"/>
                </a:cubicBezTo>
                <a:lnTo>
                  <a:pt x="400553" y="1799853"/>
                </a:lnTo>
                <a:cubicBezTo>
                  <a:pt x="470826" y="1799853"/>
                  <a:pt x="527782" y="1742898"/>
                  <a:pt x="527782" y="1672625"/>
                </a:cubicBezTo>
                <a:lnTo>
                  <a:pt x="527782" y="127229"/>
                </a:lnTo>
                <a:lnTo>
                  <a:pt x="527761" y="127229"/>
                </a:lnTo>
                <a:cubicBezTo>
                  <a:pt x="527761" y="56955"/>
                  <a:pt x="584716" y="0"/>
                  <a:pt x="654989" y="0"/>
                </a:cubicBezTo>
                <a:close/>
              </a:path>
            </a:pathLst>
          </a:custGeom>
          <a:solidFill>
            <a:schemeClr val="accent5">
              <a:lumMod val="20000"/>
              <a:lumOff val="80000"/>
            </a:schemeClr>
          </a:solidFill>
        </p:spPr>
        <p:txBody>
          <a:bodyPr wrap="square" bIns="504000" anchor="ctr" anchorCtr="0">
            <a:noAutofit/>
          </a:bodyPr>
          <a:lstStyle>
            <a:lvl1pPr algn="ctr">
              <a:defRPr/>
            </a:lvl1pPr>
          </a:lstStyle>
          <a:p>
            <a:r>
              <a:rPr lang="nl-NL"/>
              <a:t>Klik op het pictogram als u media wilt toevoegen</a:t>
            </a:r>
            <a:endParaRPr lang="nl-NL" dirty="0"/>
          </a:p>
        </p:txBody>
      </p:sp>
      <p:pic>
        <p:nvPicPr>
          <p:cNvPr id="13" name="Afbeelding 12">
            <a:extLst>
              <a:ext uri="{FF2B5EF4-FFF2-40B4-BE49-F238E27FC236}">
                <a16:creationId xmlns:a16="http://schemas.microsoft.com/office/drawing/2014/main" id="{30737E0C-1E5E-44F1-4898-204C9D57341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 y="197893"/>
            <a:ext cx="1471090" cy="6462212"/>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Tree>
    <p:extLst>
      <p:ext uri="{BB962C8B-B14F-4D97-AF65-F5344CB8AC3E}">
        <p14:creationId xmlns:p14="http://schemas.microsoft.com/office/powerpoint/2010/main" val="204803331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llage 6">
    <p:spTree>
      <p:nvGrpSpPr>
        <p:cNvPr id="1" name=""/>
        <p:cNvGrpSpPr/>
        <p:nvPr/>
      </p:nvGrpSpPr>
      <p:grpSpPr>
        <a:xfrm>
          <a:off x="0" y="0"/>
          <a:ext cx="0" cy="0"/>
          <a:chOff x="0" y="0"/>
          <a:chExt cx="0" cy="0"/>
        </a:xfrm>
      </p:grpSpPr>
      <p:sp>
        <p:nvSpPr>
          <p:cNvPr id="57" name="Tijdelijke aanduiding voor afbeelding 56">
            <a:extLst>
              <a:ext uri="{FF2B5EF4-FFF2-40B4-BE49-F238E27FC236}">
                <a16:creationId xmlns:a16="http://schemas.microsoft.com/office/drawing/2014/main" id="{9731D780-F88C-CB69-B185-0A263C1F5B0F}"/>
              </a:ext>
            </a:extLst>
          </p:cNvPr>
          <p:cNvSpPr>
            <a:spLocks noGrp="1" noRot="1" noMove="1" noResize="1" noEditPoints="1" noAdjustHandles="1" noChangeArrowheads="1" noChangeShapeType="1"/>
          </p:cNvSpPr>
          <p:nvPr>
            <p:ph type="pic" sz="quarter" idx="14"/>
          </p:nvPr>
        </p:nvSpPr>
        <p:spPr>
          <a:xfrm>
            <a:off x="0" y="130792"/>
            <a:ext cx="4003760" cy="3290008"/>
          </a:xfrm>
          <a:custGeom>
            <a:avLst/>
            <a:gdLst>
              <a:gd name="connsiteX0" fmla="*/ 1931524 w 4003760"/>
              <a:gd name="connsiteY0" fmla="*/ 0 h 3290008"/>
              <a:gd name="connsiteX1" fmla="*/ 3642224 w 4003760"/>
              <a:gd name="connsiteY1" fmla="*/ 0 h 3290008"/>
              <a:gd name="connsiteX2" fmla="*/ 3769238 w 4003760"/>
              <a:gd name="connsiteY2" fmla="*/ 127014 h 3290008"/>
              <a:gd name="connsiteX3" fmla="*/ 3769238 w 4003760"/>
              <a:gd name="connsiteY3" fmla="*/ 705241 h 3290008"/>
              <a:gd name="connsiteX4" fmla="*/ 3886499 w 4003760"/>
              <a:gd name="connsiteY4" fmla="*/ 822502 h 3290008"/>
              <a:gd name="connsiteX5" fmla="*/ 4003760 w 4003760"/>
              <a:gd name="connsiteY5" fmla="*/ 939763 h 3290008"/>
              <a:gd name="connsiteX6" fmla="*/ 4003760 w 4003760"/>
              <a:gd name="connsiteY6" fmla="*/ 2354376 h 3290008"/>
              <a:gd name="connsiteX7" fmla="*/ 3886499 w 4003760"/>
              <a:gd name="connsiteY7" fmla="*/ 2469587 h 3290008"/>
              <a:gd name="connsiteX8" fmla="*/ 3769238 w 4003760"/>
              <a:gd name="connsiteY8" fmla="*/ 2584797 h 3290008"/>
              <a:gd name="connsiteX9" fmla="*/ 3769238 w 4003760"/>
              <a:gd name="connsiteY9" fmla="*/ 3162993 h 3290008"/>
              <a:gd name="connsiteX10" fmla="*/ 3642224 w 4003760"/>
              <a:gd name="connsiteY10" fmla="*/ 3290008 h 3290008"/>
              <a:gd name="connsiteX11" fmla="*/ 49886 w 4003760"/>
              <a:gd name="connsiteY11" fmla="*/ 3290008 h 3290008"/>
              <a:gd name="connsiteX12" fmla="*/ 0 w 4003760"/>
              <a:gd name="connsiteY12" fmla="*/ 3279819 h 3290008"/>
              <a:gd name="connsiteX13" fmla="*/ 0 w 4003760"/>
              <a:gd name="connsiteY13" fmla="*/ 722419 h 3290008"/>
              <a:gd name="connsiteX14" fmla="*/ 1677495 w 4003760"/>
              <a:gd name="connsiteY14" fmla="*/ 722419 h 3290008"/>
              <a:gd name="connsiteX15" fmla="*/ 1804509 w 4003760"/>
              <a:gd name="connsiteY15" fmla="*/ 595405 h 3290008"/>
              <a:gd name="connsiteX16" fmla="*/ 1804509 w 4003760"/>
              <a:gd name="connsiteY16" fmla="*/ 127014 h 3290008"/>
              <a:gd name="connsiteX17" fmla="*/ 1931524 w 4003760"/>
              <a:gd name="connsiteY17" fmla="*/ 0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03760" h="3290008">
                <a:moveTo>
                  <a:pt x="1931524" y="0"/>
                </a:moveTo>
                <a:lnTo>
                  <a:pt x="3642224" y="0"/>
                </a:lnTo>
                <a:cubicBezTo>
                  <a:pt x="3712363" y="0"/>
                  <a:pt x="3769238" y="56875"/>
                  <a:pt x="3769238" y="127014"/>
                </a:cubicBezTo>
                <a:lnTo>
                  <a:pt x="3769238" y="705241"/>
                </a:lnTo>
                <a:cubicBezTo>
                  <a:pt x="3769238" y="770006"/>
                  <a:pt x="3821734" y="822502"/>
                  <a:pt x="3886499" y="822502"/>
                </a:cubicBezTo>
                <a:cubicBezTo>
                  <a:pt x="3951264" y="822502"/>
                  <a:pt x="4003760" y="874997"/>
                  <a:pt x="4003760" y="939763"/>
                </a:cubicBezTo>
                <a:lnTo>
                  <a:pt x="4003760" y="2354376"/>
                </a:lnTo>
                <a:cubicBezTo>
                  <a:pt x="4003760" y="2418800"/>
                  <a:pt x="3950923" y="2470736"/>
                  <a:pt x="3886499" y="2469587"/>
                </a:cubicBezTo>
                <a:cubicBezTo>
                  <a:pt x="3822075" y="2468438"/>
                  <a:pt x="3769238" y="2520374"/>
                  <a:pt x="3769238" y="2584797"/>
                </a:cubicBezTo>
                <a:lnTo>
                  <a:pt x="3769238" y="3162993"/>
                </a:lnTo>
                <a:cubicBezTo>
                  <a:pt x="3769238" y="3233132"/>
                  <a:pt x="3712363" y="3290008"/>
                  <a:pt x="3642224" y="3290008"/>
                </a:cubicBezTo>
                <a:lnTo>
                  <a:pt x="49886" y="3290008"/>
                </a:lnTo>
                <a:cubicBezTo>
                  <a:pt x="32181" y="3290008"/>
                  <a:pt x="15314" y="3286373"/>
                  <a:pt x="0" y="3279819"/>
                </a:cubicBezTo>
                <a:lnTo>
                  <a:pt x="0" y="722419"/>
                </a:lnTo>
                <a:lnTo>
                  <a:pt x="1677495" y="722419"/>
                </a:lnTo>
                <a:cubicBezTo>
                  <a:pt x="1747634" y="722419"/>
                  <a:pt x="1804509" y="665543"/>
                  <a:pt x="1804509" y="595405"/>
                </a:cubicBezTo>
                <a:lnTo>
                  <a:pt x="1804509" y="127014"/>
                </a:lnTo>
                <a:cubicBezTo>
                  <a:pt x="1804509" y="56875"/>
                  <a:pt x="1861385" y="0"/>
                  <a:pt x="193152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8" name="Tijdelijke aanduiding voor afbeelding 57">
            <a:extLst>
              <a:ext uri="{FF2B5EF4-FFF2-40B4-BE49-F238E27FC236}">
                <a16:creationId xmlns:a16="http://schemas.microsoft.com/office/drawing/2014/main" id="{11C5C435-77DB-84CF-5DDF-6504FCF40F58}"/>
              </a:ext>
            </a:extLst>
          </p:cNvPr>
          <p:cNvSpPr>
            <a:spLocks noGrp="1" noRot="1" noMove="1" noResize="1" noEditPoints="1" noAdjustHandles="1" noChangeArrowheads="1" noChangeShapeType="1"/>
          </p:cNvSpPr>
          <p:nvPr>
            <p:ph type="pic" sz="quarter" idx="15"/>
          </p:nvPr>
        </p:nvSpPr>
        <p:spPr>
          <a:xfrm>
            <a:off x="3842577" y="130793"/>
            <a:ext cx="3845559" cy="3289977"/>
          </a:xfrm>
          <a:custGeom>
            <a:avLst/>
            <a:gdLst>
              <a:gd name="connsiteX0" fmla="*/ 127014 w 3845559"/>
              <a:gd name="connsiteY0" fmla="*/ 0 h 3289977"/>
              <a:gd name="connsiteX1" fmla="*/ 3718544 w 3845559"/>
              <a:gd name="connsiteY1" fmla="*/ 0 h 3289977"/>
              <a:gd name="connsiteX2" fmla="*/ 3845559 w 3845559"/>
              <a:gd name="connsiteY2" fmla="*/ 127014 h 3289977"/>
              <a:gd name="connsiteX3" fmla="*/ 3845559 w 3845559"/>
              <a:gd name="connsiteY3" fmla="*/ 705272 h 3289977"/>
              <a:gd name="connsiteX4" fmla="*/ 3728329 w 3845559"/>
              <a:gd name="connsiteY4" fmla="*/ 822502 h 3289977"/>
              <a:gd name="connsiteX5" fmla="*/ 3611100 w 3845559"/>
              <a:gd name="connsiteY5" fmla="*/ 939731 h 3289977"/>
              <a:gd name="connsiteX6" fmla="*/ 3611100 w 3845559"/>
              <a:gd name="connsiteY6" fmla="*/ 2354376 h 3289977"/>
              <a:gd name="connsiteX7" fmla="*/ 3728329 w 3845559"/>
              <a:gd name="connsiteY7" fmla="*/ 2469556 h 3289977"/>
              <a:gd name="connsiteX8" fmla="*/ 3845559 w 3845559"/>
              <a:gd name="connsiteY8" fmla="*/ 2584735 h 3289977"/>
              <a:gd name="connsiteX9" fmla="*/ 3845559 w 3845559"/>
              <a:gd name="connsiteY9" fmla="*/ 3162962 h 3289977"/>
              <a:gd name="connsiteX10" fmla="*/ 3718544 w 3845559"/>
              <a:gd name="connsiteY10" fmla="*/ 3289977 h 3289977"/>
              <a:gd name="connsiteX11" fmla="*/ 127014 w 3845559"/>
              <a:gd name="connsiteY11" fmla="*/ 3289977 h 3289977"/>
              <a:gd name="connsiteX12" fmla="*/ 0 w 3845559"/>
              <a:gd name="connsiteY12" fmla="*/ 3162962 h 3289977"/>
              <a:gd name="connsiteX13" fmla="*/ 0 w 3845559"/>
              <a:gd name="connsiteY13" fmla="*/ 2581971 h 3289977"/>
              <a:gd name="connsiteX14" fmla="*/ 114527 w 3845559"/>
              <a:gd name="connsiteY14" fmla="*/ 2467444 h 3289977"/>
              <a:gd name="connsiteX15" fmla="*/ 229054 w 3845559"/>
              <a:gd name="connsiteY15" fmla="*/ 2353351 h 3289977"/>
              <a:gd name="connsiteX16" fmla="*/ 234086 w 3845559"/>
              <a:gd name="connsiteY16" fmla="*/ 939918 h 3289977"/>
              <a:gd name="connsiteX17" fmla="*/ 117043 w 3845559"/>
              <a:gd name="connsiteY17" fmla="*/ 822471 h 3289977"/>
              <a:gd name="connsiteX18" fmla="*/ 0 w 3845559"/>
              <a:gd name="connsiteY18" fmla="*/ 705428 h 3289977"/>
              <a:gd name="connsiteX19" fmla="*/ 0 w 3845559"/>
              <a:gd name="connsiteY19" fmla="*/ 127014 h 3289977"/>
              <a:gd name="connsiteX20" fmla="*/ 127014 w 3845559"/>
              <a:gd name="connsiteY20" fmla="*/ 0 h 328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45559" h="3289977">
                <a:moveTo>
                  <a:pt x="127014" y="0"/>
                </a:moveTo>
                <a:lnTo>
                  <a:pt x="3718544" y="0"/>
                </a:lnTo>
                <a:cubicBezTo>
                  <a:pt x="3788683" y="0"/>
                  <a:pt x="3845559" y="56875"/>
                  <a:pt x="3845559" y="127014"/>
                </a:cubicBezTo>
                <a:lnTo>
                  <a:pt x="3845559" y="705272"/>
                </a:lnTo>
                <a:cubicBezTo>
                  <a:pt x="3845559" y="770037"/>
                  <a:pt x="3793063" y="822502"/>
                  <a:pt x="3728329" y="822502"/>
                </a:cubicBezTo>
                <a:cubicBezTo>
                  <a:pt x="3663595" y="822502"/>
                  <a:pt x="3611100" y="874997"/>
                  <a:pt x="3611100" y="939731"/>
                </a:cubicBezTo>
                <a:lnTo>
                  <a:pt x="3611100" y="2354376"/>
                </a:lnTo>
                <a:cubicBezTo>
                  <a:pt x="3611100" y="2418800"/>
                  <a:pt x="3663937" y="2470705"/>
                  <a:pt x="3728329" y="2469556"/>
                </a:cubicBezTo>
                <a:cubicBezTo>
                  <a:pt x="3792753" y="2468406"/>
                  <a:pt x="3845559" y="2520312"/>
                  <a:pt x="3845559" y="2584735"/>
                </a:cubicBezTo>
                <a:lnTo>
                  <a:pt x="3845559" y="3162962"/>
                </a:lnTo>
                <a:cubicBezTo>
                  <a:pt x="3845559" y="3233101"/>
                  <a:pt x="3788683" y="3289977"/>
                  <a:pt x="3718544" y="3289977"/>
                </a:cubicBezTo>
                <a:lnTo>
                  <a:pt x="127014" y="3289977"/>
                </a:lnTo>
                <a:cubicBezTo>
                  <a:pt x="56875" y="3289977"/>
                  <a:pt x="0" y="3233101"/>
                  <a:pt x="0" y="3162962"/>
                </a:cubicBezTo>
                <a:lnTo>
                  <a:pt x="0" y="2581971"/>
                </a:lnTo>
                <a:cubicBezTo>
                  <a:pt x="0" y="2518728"/>
                  <a:pt x="51284" y="2467444"/>
                  <a:pt x="114527" y="2467444"/>
                </a:cubicBezTo>
                <a:cubicBezTo>
                  <a:pt x="177770" y="2467444"/>
                  <a:pt x="228806" y="2416408"/>
                  <a:pt x="229054" y="2353351"/>
                </a:cubicBezTo>
                <a:lnTo>
                  <a:pt x="234086" y="939918"/>
                </a:lnTo>
                <a:cubicBezTo>
                  <a:pt x="234304" y="875122"/>
                  <a:pt x="181839" y="822471"/>
                  <a:pt x="117043" y="822471"/>
                </a:cubicBezTo>
                <a:cubicBezTo>
                  <a:pt x="52247" y="822471"/>
                  <a:pt x="0" y="770069"/>
                  <a:pt x="0" y="705428"/>
                </a:cubicBezTo>
                <a:lnTo>
                  <a:pt x="0" y="127014"/>
                </a:lnTo>
                <a:cubicBezTo>
                  <a:pt x="0" y="56875"/>
                  <a:pt x="56875" y="0"/>
                  <a:pt x="12701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9" name="Tijdelijke aanduiding voor afbeelding 58">
            <a:extLst>
              <a:ext uri="{FF2B5EF4-FFF2-40B4-BE49-F238E27FC236}">
                <a16:creationId xmlns:a16="http://schemas.microsoft.com/office/drawing/2014/main" id="{64F873DE-46EF-C2EC-6E8E-A8A1B73E7BEE}"/>
              </a:ext>
            </a:extLst>
          </p:cNvPr>
          <p:cNvSpPr>
            <a:spLocks noGrp="1" noRot="1" noMove="1" noResize="1" noEditPoints="1" noAdjustHandles="1" noChangeArrowheads="1" noChangeShapeType="1"/>
          </p:cNvSpPr>
          <p:nvPr>
            <p:ph type="pic" sz="quarter" idx="16"/>
          </p:nvPr>
        </p:nvSpPr>
        <p:spPr>
          <a:xfrm>
            <a:off x="7525895" y="130793"/>
            <a:ext cx="4181034" cy="3290039"/>
          </a:xfrm>
          <a:custGeom>
            <a:avLst/>
            <a:gdLst>
              <a:gd name="connsiteX0" fmla="*/ 359175 w 4181034"/>
              <a:gd name="connsiteY0" fmla="*/ 0 h 3290039"/>
              <a:gd name="connsiteX1" fmla="*/ 3827077 w 4181034"/>
              <a:gd name="connsiteY1" fmla="*/ 0 h 3290039"/>
              <a:gd name="connsiteX2" fmla="*/ 3954092 w 4181034"/>
              <a:gd name="connsiteY2" fmla="*/ 127014 h 3290039"/>
              <a:gd name="connsiteX3" fmla="*/ 3954092 w 4181034"/>
              <a:gd name="connsiteY3" fmla="*/ 802777 h 3290039"/>
              <a:gd name="connsiteX4" fmla="*/ 4067563 w 4181034"/>
              <a:gd name="connsiteY4" fmla="*/ 916248 h 3290039"/>
              <a:gd name="connsiteX5" fmla="*/ 4181034 w 4181034"/>
              <a:gd name="connsiteY5" fmla="*/ 1029719 h 3290039"/>
              <a:gd name="connsiteX6" fmla="*/ 4181034 w 4181034"/>
              <a:gd name="connsiteY6" fmla="*/ 2264451 h 3290039"/>
              <a:gd name="connsiteX7" fmla="*/ 4067563 w 4181034"/>
              <a:gd name="connsiteY7" fmla="*/ 2375872 h 3290039"/>
              <a:gd name="connsiteX8" fmla="*/ 3954092 w 4181034"/>
              <a:gd name="connsiteY8" fmla="*/ 2487292 h 3290039"/>
              <a:gd name="connsiteX9" fmla="*/ 3954092 w 4181034"/>
              <a:gd name="connsiteY9" fmla="*/ 3163025 h 3290039"/>
              <a:gd name="connsiteX10" fmla="*/ 3827077 w 4181034"/>
              <a:gd name="connsiteY10" fmla="*/ 3290039 h 3290039"/>
              <a:gd name="connsiteX11" fmla="*/ 359175 w 4181034"/>
              <a:gd name="connsiteY11" fmla="*/ 3290039 h 3290039"/>
              <a:gd name="connsiteX12" fmla="*/ 232161 w 4181034"/>
              <a:gd name="connsiteY12" fmla="*/ 3163025 h 3290039"/>
              <a:gd name="connsiteX13" fmla="*/ 232161 w 4181034"/>
              <a:gd name="connsiteY13" fmla="*/ 2489871 h 3290039"/>
              <a:gd name="connsiteX14" fmla="*/ 116081 w 4181034"/>
              <a:gd name="connsiteY14" fmla="*/ 2373790 h 3290039"/>
              <a:gd name="connsiteX15" fmla="*/ 1 w 4181034"/>
              <a:gd name="connsiteY15" fmla="*/ 2257244 h 3290039"/>
              <a:gd name="connsiteX16" fmla="*/ 4785 w 4181034"/>
              <a:gd name="connsiteY16" fmla="*/ 1029502 h 3290039"/>
              <a:gd name="connsiteX17" fmla="*/ 118473 w 4181034"/>
              <a:gd name="connsiteY17" fmla="*/ 916248 h 3290039"/>
              <a:gd name="connsiteX18" fmla="*/ 232161 w 4181034"/>
              <a:gd name="connsiteY18" fmla="*/ 802560 h 3290039"/>
              <a:gd name="connsiteX19" fmla="*/ 232161 w 4181034"/>
              <a:gd name="connsiteY19" fmla="*/ 127014 h 3290039"/>
              <a:gd name="connsiteX20" fmla="*/ 359175 w 4181034"/>
              <a:gd name="connsiteY20" fmla="*/ 0 h 329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1034" h="3290039">
                <a:moveTo>
                  <a:pt x="359175" y="0"/>
                </a:moveTo>
                <a:lnTo>
                  <a:pt x="3827077" y="0"/>
                </a:lnTo>
                <a:cubicBezTo>
                  <a:pt x="3897216" y="0"/>
                  <a:pt x="3954092" y="56875"/>
                  <a:pt x="3954092" y="127014"/>
                </a:cubicBezTo>
                <a:lnTo>
                  <a:pt x="3954092" y="802777"/>
                </a:lnTo>
                <a:cubicBezTo>
                  <a:pt x="3954092" y="865461"/>
                  <a:pt x="4004909" y="916248"/>
                  <a:pt x="4067563" y="916248"/>
                </a:cubicBezTo>
                <a:cubicBezTo>
                  <a:pt x="4130215" y="916248"/>
                  <a:pt x="4181034" y="967066"/>
                  <a:pt x="4181034" y="1029719"/>
                </a:cubicBezTo>
                <a:lnTo>
                  <a:pt x="4181034" y="2264451"/>
                </a:lnTo>
                <a:cubicBezTo>
                  <a:pt x="4181034" y="2326793"/>
                  <a:pt x="4129905" y="2377021"/>
                  <a:pt x="4067563" y="2375872"/>
                </a:cubicBezTo>
                <a:cubicBezTo>
                  <a:pt x="4005220" y="2374722"/>
                  <a:pt x="3954092" y="2424950"/>
                  <a:pt x="3954092" y="2487292"/>
                </a:cubicBezTo>
                <a:lnTo>
                  <a:pt x="3954092" y="3163025"/>
                </a:lnTo>
                <a:cubicBezTo>
                  <a:pt x="3954092" y="3233163"/>
                  <a:pt x="3897216" y="3290039"/>
                  <a:pt x="3827077" y="3290039"/>
                </a:cubicBezTo>
                <a:lnTo>
                  <a:pt x="359175" y="3290039"/>
                </a:lnTo>
                <a:cubicBezTo>
                  <a:pt x="289036" y="3290039"/>
                  <a:pt x="232161" y="3233163"/>
                  <a:pt x="232161" y="3163025"/>
                </a:cubicBezTo>
                <a:lnTo>
                  <a:pt x="232161" y="2489871"/>
                </a:lnTo>
                <a:cubicBezTo>
                  <a:pt x="232161" y="2425758"/>
                  <a:pt x="180194" y="2373790"/>
                  <a:pt x="116081" y="2373790"/>
                </a:cubicBezTo>
                <a:cubicBezTo>
                  <a:pt x="51968" y="2373790"/>
                  <a:pt x="-248" y="2321543"/>
                  <a:pt x="1" y="2257244"/>
                </a:cubicBezTo>
                <a:lnTo>
                  <a:pt x="4785" y="1029502"/>
                </a:lnTo>
                <a:cubicBezTo>
                  <a:pt x="5033" y="966880"/>
                  <a:pt x="55851" y="916248"/>
                  <a:pt x="118473" y="916248"/>
                </a:cubicBezTo>
                <a:cubicBezTo>
                  <a:pt x="181094" y="916248"/>
                  <a:pt x="232161" y="865337"/>
                  <a:pt x="232161" y="802560"/>
                </a:cubicBezTo>
                <a:lnTo>
                  <a:pt x="232161" y="127014"/>
                </a:lnTo>
                <a:cubicBezTo>
                  <a:pt x="232161" y="56875"/>
                  <a:pt x="289036" y="0"/>
                  <a:pt x="35917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60" name="Tijdelijke aanduiding voor afbeelding 59">
            <a:extLst>
              <a:ext uri="{FF2B5EF4-FFF2-40B4-BE49-F238E27FC236}">
                <a16:creationId xmlns:a16="http://schemas.microsoft.com/office/drawing/2014/main" id="{6CE72364-5CC2-F2A4-A8D3-D4CBEC1EAD50}"/>
              </a:ext>
            </a:extLst>
          </p:cNvPr>
          <p:cNvSpPr>
            <a:spLocks noGrp="1" noRot="1" noMove="1" noResize="1" noEditPoints="1" noAdjustHandles="1" noChangeArrowheads="1" noChangeShapeType="1"/>
          </p:cNvSpPr>
          <p:nvPr>
            <p:ph type="pic" sz="quarter" idx="17" hasCustomPrompt="1"/>
          </p:nvPr>
        </p:nvSpPr>
        <p:spPr>
          <a:xfrm>
            <a:off x="11550188" y="130793"/>
            <a:ext cx="642837" cy="3290039"/>
          </a:xfrm>
          <a:custGeom>
            <a:avLst/>
            <a:gdLst>
              <a:gd name="connsiteX0" fmla="*/ 127015 w 642837"/>
              <a:gd name="connsiteY0" fmla="*/ 0 h 3290039"/>
              <a:gd name="connsiteX1" fmla="*/ 642837 w 642837"/>
              <a:gd name="connsiteY1" fmla="*/ 0 h 3290039"/>
              <a:gd name="connsiteX2" fmla="*/ 642837 w 642837"/>
              <a:gd name="connsiteY2" fmla="*/ 3290039 h 3290039"/>
              <a:gd name="connsiteX3" fmla="*/ 127015 w 642837"/>
              <a:gd name="connsiteY3" fmla="*/ 3290039 h 3290039"/>
              <a:gd name="connsiteX4" fmla="*/ 0 w 642837"/>
              <a:gd name="connsiteY4" fmla="*/ 3163025 h 3290039"/>
              <a:gd name="connsiteX5" fmla="*/ 0 w 642837"/>
              <a:gd name="connsiteY5" fmla="*/ 2592066 h 3290039"/>
              <a:gd name="connsiteX6" fmla="*/ 124530 w 642837"/>
              <a:gd name="connsiteY6" fmla="*/ 2467537 h 3290039"/>
              <a:gd name="connsiteX7" fmla="*/ 249059 w 642837"/>
              <a:gd name="connsiteY7" fmla="*/ 2343474 h 3290039"/>
              <a:gd name="connsiteX8" fmla="*/ 254464 w 642837"/>
              <a:gd name="connsiteY8" fmla="*/ 950013 h 3290039"/>
              <a:gd name="connsiteX9" fmla="*/ 127232 w 642837"/>
              <a:gd name="connsiteY9" fmla="*/ 822502 h 3290039"/>
              <a:gd name="connsiteX10" fmla="*/ 0 w 642837"/>
              <a:gd name="connsiteY10" fmla="*/ 695488 h 3290039"/>
              <a:gd name="connsiteX11" fmla="*/ 0 w 642837"/>
              <a:gd name="connsiteY11" fmla="*/ 127014 h 3290039"/>
              <a:gd name="connsiteX12" fmla="*/ 127015 w 642837"/>
              <a:gd name="connsiteY12" fmla="*/ 0 h 329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2837" h="3290039">
                <a:moveTo>
                  <a:pt x="127015" y="0"/>
                </a:moveTo>
                <a:lnTo>
                  <a:pt x="642837" y="0"/>
                </a:lnTo>
                <a:lnTo>
                  <a:pt x="642837" y="3290039"/>
                </a:lnTo>
                <a:lnTo>
                  <a:pt x="127015" y="3290039"/>
                </a:lnTo>
                <a:cubicBezTo>
                  <a:pt x="56875" y="3290039"/>
                  <a:pt x="0" y="3233163"/>
                  <a:pt x="0" y="3163025"/>
                </a:cubicBezTo>
                <a:lnTo>
                  <a:pt x="0" y="2592066"/>
                </a:lnTo>
                <a:cubicBezTo>
                  <a:pt x="0" y="2523294"/>
                  <a:pt x="55943" y="2467537"/>
                  <a:pt x="124530" y="2467537"/>
                </a:cubicBezTo>
                <a:cubicBezTo>
                  <a:pt x="193116" y="2467537"/>
                  <a:pt x="248779" y="2412059"/>
                  <a:pt x="249059" y="2343474"/>
                </a:cubicBezTo>
                <a:lnTo>
                  <a:pt x="254464" y="950013"/>
                </a:lnTo>
                <a:cubicBezTo>
                  <a:pt x="254743" y="879657"/>
                  <a:pt x="197371" y="822502"/>
                  <a:pt x="127232" y="822502"/>
                </a:cubicBezTo>
                <a:cubicBezTo>
                  <a:pt x="57093" y="822502"/>
                  <a:pt x="0" y="765627"/>
                  <a:pt x="0" y="695488"/>
                </a:cubicBezTo>
                <a:lnTo>
                  <a:pt x="0" y="127014"/>
                </a:lnTo>
                <a:cubicBezTo>
                  <a:pt x="0" y="56875"/>
                  <a:pt x="56875" y="0"/>
                  <a:pt x="127015" y="0"/>
                </a:cubicBez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
        <p:nvSpPr>
          <p:cNvPr id="61" name="Tijdelijke aanduiding voor afbeelding 60">
            <a:extLst>
              <a:ext uri="{FF2B5EF4-FFF2-40B4-BE49-F238E27FC236}">
                <a16:creationId xmlns:a16="http://schemas.microsoft.com/office/drawing/2014/main" id="{CCF2569C-5F47-F0BA-2370-A572BB6B73A5}"/>
              </a:ext>
            </a:extLst>
          </p:cNvPr>
          <p:cNvSpPr>
            <a:spLocks noGrp="1" noRot="1" noMove="1" noResize="1" noEditPoints="1" noAdjustHandles="1" noChangeArrowheads="1" noChangeShapeType="1"/>
          </p:cNvSpPr>
          <p:nvPr>
            <p:ph type="pic" sz="quarter" idx="18" hasCustomPrompt="1"/>
          </p:nvPr>
        </p:nvSpPr>
        <p:spPr>
          <a:xfrm>
            <a:off x="0" y="3534239"/>
            <a:ext cx="864840" cy="3290008"/>
          </a:xfrm>
          <a:custGeom>
            <a:avLst/>
            <a:gdLst>
              <a:gd name="connsiteX0" fmla="*/ 0 w 864840"/>
              <a:gd name="connsiteY0" fmla="*/ 0 h 3290008"/>
              <a:gd name="connsiteX1" fmla="*/ 504423 w 864840"/>
              <a:gd name="connsiteY1" fmla="*/ 0 h 3290008"/>
              <a:gd name="connsiteX2" fmla="*/ 631437 w 864840"/>
              <a:gd name="connsiteY2" fmla="*/ 127014 h 3290008"/>
              <a:gd name="connsiteX3" fmla="*/ 631437 w 864840"/>
              <a:gd name="connsiteY3" fmla="*/ 705800 h 3290008"/>
              <a:gd name="connsiteX4" fmla="*/ 748138 w 864840"/>
              <a:gd name="connsiteY4" fmla="*/ 822502 h 3290008"/>
              <a:gd name="connsiteX5" fmla="*/ 748138 w 864840"/>
              <a:gd name="connsiteY5" fmla="*/ 822471 h 3290008"/>
              <a:gd name="connsiteX6" fmla="*/ 864840 w 864840"/>
              <a:gd name="connsiteY6" fmla="*/ 939172 h 3290008"/>
              <a:gd name="connsiteX7" fmla="*/ 864840 w 864840"/>
              <a:gd name="connsiteY7" fmla="*/ 2354904 h 3290008"/>
              <a:gd name="connsiteX8" fmla="*/ 748138 w 864840"/>
              <a:gd name="connsiteY8" fmla="*/ 2469556 h 3290008"/>
              <a:gd name="connsiteX9" fmla="*/ 631437 w 864840"/>
              <a:gd name="connsiteY9" fmla="*/ 2584207 h 3290008"/>
              <a:gd name="connsiteX10" fmla="*/ 631437 w 864840"/>
              <a:gd name="connsiteY10" fmla="*/ 3162993 h 3290008"/>
              <a:gd name="connsiteX11" fmla="*/ 504423 w 864840"/>
              <a:gd name="connsiteY11" fmla="*/ 3290008 h 3290008"/>
              <a:gd name="connsiteX12" fmla="*/ 0 w 864840"/>
              <a:gd name="connsiteY12" fmla="*/ 3290008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4840" h="3290008">
                <a:moveTo>
                  <a:pt x="0" y="0"/>
                </a:moveTo>
                <a:lnTo>
                  <a:pt x="504423" y="0"/>
                </a:lnTo>
                <a:cubicBezTo>
                  <a:pt x="574562" y="0"/>
                  <a:pt x="631437" y="56875"/>
                  <a:pt x="631437" y="127014"/>
                </a:cubicBezTo>
                <a:lnTo>
                  <a:pt x="631437" y="705800"/>
                </a:lnTo>
                <a:cubicBezTo>
                  <a:pt x="631437" y="770255"/>
                  <a:pt x="683684" y="822502"/>
                  <a:pt x="748138" y="822502"/>
                </a:cubicBezTo>
                <a:lnTo>
                  <a:pt x="748138" y="822471"/>
                </a:lnTo>
                <a:cubicBezTo>
                  <a:pt x="812593" y="822471"/>
                  <a:pt x="864840" y="874718"/>
                  <a:pt x="864840" y="939172"/>
                </a:cubicBezTo>
                <a:lnTo>
                  <a:pt x="864840" y="2354904"/>
                </a:lnTo>
                <a:cubicBezTo>
                  <a:pt x="864840" y="2419048"/>
                  <a:pt x="812251" y="2470705"/>
                  <a:pt x="748138" y="2469556"/>
                </a:cubicBezTo>
                <a:cubicBezTo>
                  <a:pt x="684026" y="2468437"/>
                  <a:pt x="631437" y="2520094"/>
                  <a:pt x="631437" y="2584207"/>
                </a:cubicBezTo>
                <a:lnTo>
                  <a:pt x="631437" y="3162993"/>
                </a:lnTo>
                <a:cubicBezTo>
                  <a:pt x="631437" y="3233132"/>
                  <a:pt x="574562" y="3290008"/>
                  <a:pt x="504423" y="3290008"/>
                </a:cubicBezTo>
                <a:lnTo>
                  <a:pt x="0" y="3290008"/>
                </a:ln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
        <p:nvSpPr>
          <p:cNvPr id="62" name="Tijdelijke aanduiding voor afbeelding 61">
            <a:extLst>
              <a:ext uri="{FF2B5EF4-FFF2-40B4-BE49-F238E27FC236}">
                <a16:creationId xmlns:a16="http://schemas.microsoft.com/office/drawing/2014/main" id="{F816D805-2908-A7A3-EA63-97A255479F0C}"/>
              </a:ext>
            </a:extLst>
          </p:cNvPr>
          <p:cNvSpPr>
            <a:spLocks noGrp="1" noRot="1" noMove="1" noResize="1" noEditPoints="1" noAdjustHandles="1" noChangeArrowheads="1" noChangeShapeType="1"/>
          </p:cNvSpPr>
          <p:nvPr>
            <p:ph type="pic" sz="quarter" idx="19"/>
          </p:nvPr>
        </p:nvSpPr>
        <p:spPr>
          <a:xfrm>
            <a:off x="704403" y="3534239"/>
            <a:ext cx="3827045" cy="3290008"/>
          </a:xfrm>
          <a:custGeom>
            <a:avLst/>
            <a:gdLst>
              <a:gd name="connsiteX0" fmla="*/ 127045 w 3827045"/>
              <a:gd name="connsiteY0" fmla="*/ 0 h 3290008"/>
              <a:gd name="connsiteX1" fmla="*/ 3700032 w 3827045"/>
              <a:gd name="connsiteY1" fmla="*/ 0 h 3290008"/>
              <a:gd name="connsiteX2" fmla="*/ 3827045 w 3827045"/>
              <a:gd name="connsiteY2" fmla="*/ 127014 h 3290008"/>
              <a:gd name="connsiteX3" fmla="*/ 3827045 w 3827045"/>
              <a:gd name="connsiteY3" fmla="*/ 705831 h 3290008"/>
              <a:gd name="connsiteX4" fmla="*/ 3710375 w 3827045"/>
              <a:gd name="connsiteY4" fmla="*/ 822502 h 3290008"/>
              <a:gd name="connsiteX5" fmla="*/ 3593705 w 3827045"/>
              <a:gd name="connsiteY5" fmla="*/ 939172 h 3290008"/>
              <a:gd name="connsiteX6" fmla="*/ 3593705 w 3827045"/>
              <a:gd name="connsiteY6" fmla="*/ 2354966 h 3290008"/>
              <a:gd name="connsiteX7" fmla="*/ 3710375 w 3827045"/>
              <a:gd name="connsiteY7" fmla="*/ 2469587 h 3290008"/>
              <a:gd name="connsiteX8" fmla="*/ 3827045 w 3827045"/>
              <a:gd name="connsiteY8" fmla="*/ 2584207 h 3290008"/>
              <a:gd name="connsiteX9" fmla="*/ 3827045 w 3827045"/>
              <a:gd name="connsiteY9" fmla="*/ 3162993 h 3290008"/>
              <a:gd name="connsiteX10" fmla="*/ 3700032 w 3827045"/>
              <a:gd name="connsiteY10" fmla="*/ 3290008 h 3290008"/>
              <a:gd name="connsiteX11" fmla="*/ 127014 w 3827045"/>
              <a:gd name="connsiteY11" fmla="*/ 3290008 h 3290008"/>
              <a:gd name="connsiteX12" fmla="*/ 0 w 3827045"/>
              <a:gd name="connsiteY12" fmla="*/ 3162993 h 3290008"/>
              <a:gd name="connsiteX13" fmla="*/ 0 w 3827045"/>
              <a:gd name="connsiteY13" fmla="*/ 2581474 h 3290008"/>
              <a:gd name="connsiteX14" fmla="*/ 113968 w 3827045"/>
              <a:gd name="connsiteY14" fmla="*/ 2467506 h 3290008"/>
              <a:gd name="connsiteX15" fmla="*/ 227936 w 3827045"/>
              <a:gd name="connsiteY15" fmla="*/ 2353941 h 3290008"/>
              <a:gd name="connsiteX16" fmla="*/ 232968 w 3827045"/>
              <a:gd name="connsiteY16" fmla="*/ 939390 h 3290008"/>
              <a:gd name="connsiteX17" fmla="*/ 116484 w 3827045"/>
              <a:gd name="connsiteY17" fmla="*/ 822502 h 3290008"/>
              <a:gd name="connsiteX18" fmla="*/ 0 w 3827045"/>
              <a:gd name="connsiteY18" fmla="*/ 706018 h 3290008"/>
              <a:gd name="connsiteX19" fmla="*/ 0 w 3827045"/>
              <a:gd name="connsiteY19" fmla="*/ 126983 h 3290008"/>
              <a:gd name="connsiteX20" fmla="*/ 31 w 3827045"/>
              <a:gd name="connsiteY20" fmla="*/ 127014 h 3290008"/>
              <a:gd name="connsiteX21" fmla="*/ 127045 w 3827045"/>
              <a:gd name="connsiteY21" fmla="*/ 0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27045" h="3290008">
                <a:moveTo>
                  <a:pt x="127045" y="0"/>
                </a:moveTo>
                <a:lnTo>
                  <a:pt x="3700032" y="0"/>
                </a:lnTo>
                <a:cubicBezTo>
                  <a:pt x="3770170" y="0"/>
                  <a:pt x="3827045" y="56875"/>
                  <a:pt x="3827045" y="127014"/>
                </a:cubicBezTo>
                <a:lnTo>
                  <a:pt x="3827045" y="705831"/>
                </a:lnTo>
                <a:cubicBezTo>
                  <a:pt x="3827045" y="770286"/>
                  <a:pt x="3774799" y="822502"/>
                  <a:pt x="3710375" y="822502"/>
                </a:cubicBezTo>
                <a:cubicBezTo>
                  <a:pt x="3645952" y="822502"/>
                  <a:pt x="3593705" y="874749"/>
                  <a:pt x="3593705" y="939172"/>
                </a:cubicBezTo>
                <a:lnTo>
                  <a:pt x="3593705" y="2354966"/>
                </a:lnTo>
                <a:cubicBezTo>
                  <a:pt x="3593705" y="2419079"/>
                  <a:pt x="3646293" y="2470736"/>
                  <a:pt x="3710375" y="2469587"/>
                </a:cubicBezTo>
                <a:cubicBezTo>
                  <a:pt x="3774488" y="2468437"/>
                  <a:pt x="3827045" y="2520094"/>
                  <a:pt x="3827045" y="2584207"/>
                </a:cubicBezTo>
                <a:lnTo>
                  <a:pt x="3827045" y="3162993"/>
                </a:lnTo>
                <a:cubicBezTo>
                  <a:pt x="3827045" y="3233132"/>
                  <a:pt x="3770170" y="3290008"/>
                  <a:pt x="3700032" y="3290008"/>
                </a:cubicBezTo>
                <a:lnTo>
                  <a:pt x="127014" y="3290008"/>
                </a:lnTo>
                <a:cubicBezTo>
                  <a:pt x="56875" y="3290008"/>
                  <a:pt x="0" y="3233132"/>
                  <a:pt x="0" y="3162993"/>
                </a:cubicBezTo>
                <a:lnTo>
                  <a:pt x="0" y="2581474"/>
                </a:lnTo>
                <a:cubicBezTo>
                  <a:pt x="0" y="2518541"/>
                  <a:pt x="51036" y="2467506"/>
                  <a:pt x="113968" y="2467506"/>
                </a:cubicBezTo>
                <a:cubicBezTo>
                  <a:pt x="176900" y="2467506"/>
                  <a:pt x="227719" y="2416718"/>
                  <a:pt x="227936" y="2353941"/>
                </a:cubicBezTo>
                <a:lnTo>
                  <a:pt x="232968" y="939390"/>
                </a:lnTo>
                <a:cubicBezTo>
                  <a:pt x="233186" y="874904"/>
                  <a:pt x="180970" y="822502"/>
                  <a:pt x="116484" y="822502"/>
                </a:cubicBezTo>
                <a:cubicBezTo>
                  <a:pt x="51998" y="822502"/>
                  <a:pt x="0" y="770348"/>
                  <a:pt x="0" y="706018"/>
                </a:cubicBezTo>
                <a:lnTo>
                  <a:pt x="0" y="126983"/>
                </a:lnTo>
                <a:lnTo>
                  <a:pt x="31" y="127014"/>
                </a:lnTo>
                <a:cubicBezTo>
                  <a:pt x="31" y="56875"/>
                  <a:pt x="56906" y="0"/>
                  <a:pt x="12704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63" name="Tijdelijke aanduiding voor afbeelding 62">
            <a:extLst>
              <a:ext uri="{FF2B5EF4-FFF2-40B4-BE49-F238E27FC236}">
                <a16:creationId xmlns:a16="http://schemas.microsoft.com/office/drawing/2014/main" id="{386B8893-B9E2-6FB6-EFBA-996C11F8907A}"/>
              </a:ext>
            </a:extLst>
          </p:cNvPr>
          <p:cNvSpPr>
            <a:spLocks noGrp="1" noRot="1" noMove="1" noResize="1" noEditPoints="1" noAdjustHandles="1" noChangeArrowheads="1" noChangeShapeType="1"/>
          </p:cNvSpPr>
          <p:nvPr>
            <p:ph type="pic" sz="quarter" idx="20"/>
          </p:nvPr>
        </p:nvSpPr>
        <p:spPr>
          <a:xfrm>
            <a:off x="4369953" y="3534240"/>
            <a:ext cx="4160844" cy="3289977"/>
          </a:xfrm>
          <a:custGeom>
            <a:avLst/>
            <a:gdLst>
              <a:gd name="connsiteX0" fmla="*/ 358057 w 4160844"/>
              <a:gd name="connsiteY0" fmla="*/ 0 h 3289977"/>
              <a:gd name="connsiteX1" fmla="*/ 3808005 w 4160844"/>
              <a:gd name="connsiteY1" fmla="*/ 0 h 3289977"/>
              <a:gd name="connsiteX2" fmla="*/ 3935019 w 4160844"/>
              <a:gd name="connsiteY2" fmla="*/ 127014 h 3289977"/>
              <a:gd name="connsiteX3" fmla="*/ 3935019 w 4160844"/>
              <a:gd name="connsiteY3" fmla="*/ 803305 h 3289977"/>
              <a:gd name="connsiteX4" fmla="*/ 4047931 w 4160844"/>
              <a:gd name="connsiteY4" fmla="*/ 916217 h 3289977"/>
              <a:gd name="connsiteX5" fmla="*/ 4160844 w 4160844"/>
              <a:gd name="connsiteY5" fmla="*/ 1029129 h 3289977"/>
              <a:gd name="connsiteX6" fmla="*/ 4160844 w 4160844"/>
              <a:gd name="connsiteY6" fmla="*/ 2264947 h 3289977"/>
              <a:gd name="connsiteX7" fmla="*/ 4047931 w 4160844"/>
              <a:gd name="connsiteY7" fmla="*/ 2375809 h 3289977"/>
              <a:gd name="connsiteX8" fmla="*/ 3935019 w 4160844"/>
              <a:gd name="connsiteY8" fmla="*/ 2486671 h 3289977"/>
              <a:gd name="connsiteX9" fmla="*/ 3935019 w 4160844"/>
              <a:gd name="connsiteY9" fmla="*/ 3162962 h 3289977"/>
              <a:gd name="connsiteX10" fmla="*/ 3808005 w 4160844"/>
              <a:gd name="connsiteY10" fmla="*/ 3289977 h 3289977"/>
              <a:gd name="connsiteX11" fmla="*/ 358057 w 4160844"/>
              <a:gd name="connsiteY11" fmla="*/ 3289977 h 3289977"/>
              <a:gd name="connsiteX12" fmla="*/ 231043 w 4160844"/>
              <a:gd name="connsiteY12" fmla="*/ 3162962 h 3289977"/>
              <a:gd name="connsiteX13" fmla="*/ 231043 w 4160844"/>
              <a:gd name="connsiteY13" fmla="*/ 2489249 h 3289977"/>
              <a:gd name="connsiteX14" fmla="*/ 115522 w 4160844"/>
              <a:gd name="connsiteY14" fmla="*/ 2373728 h 3289977"/>
              <a:gd name="connsiteX15" fmla="*/ 1 w 4160844"/>
              <a:gd name="connsiteY15" fmla="*/ 2257741 h 3289977"/>
              <a:gd name="connsiteX16" fmla="*/ 4754 w 4160844"/>
              <a:gd name="connsiteY16" fmla="*/ 1028881 h 3289977"/>
              <a:gd name="connsiteX17" fmla="*/ 117883 w 4160844"/>
              <a:gd name="connsiteY17" fmla="*/ 916186 h 3289977"/>
              <a:gd name="connsiteX18" fmla="*/ 231043 w 4160844"/>
              <a:gd name="connsiteY18" fmla="*/ 803025 h 3289977"/>
              <a:gd name="connsiteX19" fmla="*/ 231043 w 4160844"/>
              <a:gd name="connsiteY19" fmla="*/ 127014 h 3289977"/>
              <a:gd name="connsiteX20" fmla="*/ 358057 w 4160844"/>
              <a:gd name="connsiteY20" fmla="*/ 0 h 328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60844" h="3289977">
                <a:moveTo>
                  <a:pt x="358057" y="0"/>
                </a:moveTo>
                <a:lnTo>
                  <a:pt x="3808005" y="0"/>
                </a:lnTo>
                <a:cubicBezTo>
                  <a:pt x="3878145" y="0"/>
                  <a:pt x="3935019" y="56875"/>
                  <a:pt x="3935019" y="127014"/>
                </a:cubicBezTo>
                <a:lnTo>
                  <a:pt x="3935019" y="803305"/>
                </a:lnTo>
                <a:cubicBezTo>
                  <a:pt x="3935019" y="865678"/>
                  <a:pt x="3985589" y="916217"/>
                  <a:pt x="4047931" y="916217"/>
                </a:cubicBezTo>
                <a:cubicBezTo>
                  <a:pt x="4110274" y="916217"/>
                  <a:pt x="4160844" y="966787"/>
                  <a:pt x="4160844" y="1029129"/>
                </a:cubicBezTo>
                <a:lnTo>
                  <a:pt x="4160844" y="2264947"/>
                </a:lnTo>
                <a:cubicBezTo>
                  <a:pt x="4160844" y="2326979"/>
                  <a:pt x="4109932" y="2376959"/>
                  <a:pt x="4047931" y="2375809"/>
                </a:cubicBezTo>
                <a:cubicBezTo>
                  <a:pt x="3985900" y="2374660"/>
                  <a:pt x="3935019" y="2424639"/>
                  <a:pt x="3935019" y="2486671"/>
                </a:cubicBezTo>
                <a:lnTo>
                  <a:pt x="3935019" y="3162962"/>
                </a:lnTo>
                <a:cubicBezTo>
                  <a:pt x="3935019" y="3233101"/>
                  <a:pt x="3878145" y="3289977"/>
                  <a:pt x="3808005" y="3289977"/>
                </a:cubicBezTo>
                <a:lnTo>
                  <a:pt x="358057" y="3289977"/>
                </a:lnTo>
                <a:cubicBezTo>
                  <a:pt x="287919" y="3289977"/>
                  <a:pt x="231043" y="3233101"/>
                  <a:pt x="231043" y="3162962"/>
                </a:cubicBezTo>
                <a:lnTo>
                  <a:pt x="231043" y="2489249"/>
                </a:lnTo>
                <a:cubicBezTo>
                  <a:pt x="231043" y="2425447"/>
                  <a:pt x="179325" y="2373728"/>
                  <a:pt x="115522" y="2373728"/>
                </a:cubicBezTo>
                <a:cubicBezTo>
                  <a:pt x="51720" y="2373728"/>
                  <a:pt x="-247" y="2321730"/>
                  <a:pt x="1" y="2257741"/>
                </a:cubicBezTo>
                <a:lnTo>
                  <a:pt x="4754" y="1028881"/>
                </a:lnTo>
                <a:cubicBezTo>
                  <a:pt x="5002" y="966569"/>
                  <a:pt x="55572" y="916186"/>
                  <a:pt x="117883" y="916186"/>
                </a:cubicBezTo>
                <a:cubicBezTo>
                  <a:pt x="180194" y="916186"/>
                  <a:pt x="231043" y="865523"/>
                  <a:pt x="231043" y="803025"/>
                </a:cubicBezTo>
                <a:lnTo>
                  <a:pt x="231043" y="127014"/>
                </a:lnTo>
                <a:cubicBezTo>
                  <a:pt x="231043" y="56875"/>
                  <a:pt x="287919" y="0"/>
                  <a:pt x="358057"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64" name="Tijdelijke aanduiding voor afbeelding 63">
            <a:extLst>
              <a:ext uri="{FF2B5EF4-FFF2-40B4-BE49-F238E27FC236}">
                <a16:creationId xmlns:a16="http://schemas.microsoft.com/office/drawing/2014/main" id="{ACBBC147-5E61-A1E7-9F50-3DBA5031A52F}"/>
              </a:ext>
            </a:extLst>
          </p:cNvPr>
          <p:cNvSpPr>
            <a:spLocks noGrp="1" noRot="1" noMove="1" noResize="1" noEditPoints="1" noAdjustHandles="1" noChangeArrowheads="1" noChangeShapeType="1"/>
          </p:cNvSpPr>
          <p:nvPr>
            <p:ph type="pic" sz="quarter" idx="21"/>
          </p:nvPr>
        </p:nvSpPr>
        <p:spPr>
          <a:xfrm>
            <a:off x="8374831" y="3534239"/>
            <a:ext cx="3818162" cy="3290008"/>
          </a:xfrm>
          <a:custGeom>
            <a:avLst/>
            <a:gdLst>
              <a:gd name="connsiteX0" fmla="*/ 127046 w 3818162"/>
              <a:gd name="connsiteY0" fmla="*/ 0 h 3290008"/>
              <a:gd name="connsiteX1" fmla="*/ 3818162 w 3818162"/>
              <a:gd name="connsiteY1" fmla="*/ 0 h 3290008"/>
              <a:gd name="connsiteX2" fmla="*/ 3818162 w 3818162"/>
              <a:gd name="connsiteY2" fmla="*/ 3290008 h 3290008"/>
              <a:gd name="connsiteX3" fmla="*/ 127015 w 3818162"/>
              <a:gd name="connsiteY3" fmla="*/ 3290008 h 3290008"/>
              <a:gd name="connsiteX4" fmla="*/ 0 w 3818162"/>
              <a:gd name="connsiteY4" fmla="*/ 3162993 h 3290008"/>
              <a:gd name="connsiteX5" fmla="*/ 0 w 3818162"/>
              <a:gd name="connsiteY5" fmla="*/ 2591445 h 3290008"/>
              <a:gd name="connsiteX6" fmla="*/ 123940 w 3818162"/>
              <a:gd name="connsiteY6" fmla="*/ 2467506 h 3290008"/>
              <a:gd name="connsiteX7" fmla="*/ 247878 w 3818162"/>
              <a:gd name="connsiteY7" fmla="*/ 2344033 h 3290008"/>
              <a:gd name="connsiteX8" fmla="*/ 253252 w 3818162"/>
              <a:gd name="connsiteY8" fmla="*/ 949609 h 3290008"/>
              <a:gd name="connsiteX9" fmla="*/ 126642 w 3818162"/>
              <a:gd name="connsiteY9" fmla="*/ 822502 h 3290008"/>
              <a:gd name="connsiteX10" fmla="*/ 31 w 3818162"/>
              <a:gd name="connsiteY10" fmla="*/ 695891 h 3290008"/>
              <a:gd name="connsiteX11" fmla="*/ 31 w 3818162"/>
              <a:gd name="connsiteY11" fmla="*/ 127014 h 3290008"/>
              <a:gd name="connsiteX12" fmla="*/ 127046 w 3818162"/>
              <a:gd name="connsiteY12" fmla="*/ 0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8162" h="3290008">
                <a:moveTo>
                  <a:pt x="127046" y="0"/>
                </a:moveTo>
                <a:lnTo>
                  <a:pt x="3818162" y="0"/>
                </a:lnTo>
                <a:lnTo>
                  <a:pt x="3818162" y="3290008"/>
                </a:lnTo>
                <a:lnTo>
                  <a:pt x="127015" y="3290008"/>
                </a:lnTo>
                <a:cubicBezTo>
                  <a:pt x="56875" y="3290008"/>
                  <a:pt x="0" y="3233132"/>
                  <a:pt x="0" y="3162993"/>
                </a:cubicBezTo>
                <a:lnTo>
                  <a:pt x="0" y="2591445"/>
                </a:lnTo>
                <a:cubicBezTo>
                  <a:pt x="0" y="2522983"/>
                  <a:pt x="55664" y="2467506"/>
                  <a:pt x="123940" y="2467506"/>
                </a:cubicBezTo>
                <a:cubicBezTo>
                  <a:pt x="192215" y="2467506"/>
                  <a:pt x="247630" y="2412308"/>
                  <a:pt x="247878" y="2344033"/>
                </a:cubicBezTo>
                <a:lnTo>
                  <a:pt x="253252" y="949609"/>
                </a:lnTo>
                <a:cubicBezTo>
                  <a:pt x="253532" y="879501"/>
                  <a:pt x="196563" y="822502"/>
                  <a:pt x="126642" y="822502"/>
                </a:cubicBezTo>
                <a:cubicBezTo>
                  <a:pt x="56720" y="822502"/>
                  <a:pt x="31" y="765813"/>
                  <a:pt x="31" y="695891"/>
                </a:cubicBezTo>
                <a:lnTo>
                  <a:pt x="31" y="127014"/>
                </a:lnTo>
                <a:cubicBezTo>
                  <a:pt x="31" y="56875"/>
                  <a:pt x="56907" y="0"/>
                  <a:pt x="127046"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2513575395"/>
      </p:ext>
    </p:extLst>
  </p:cSld>
  <p:clrMapOvr>
    <a:masterClrMapping/>
  </p:clrMapOvr>
  <p:extLst>
    <p:ext uri="{DCECCB84-F9BA-43D5-87BE-67443E8EF086}">
      <p15:sldGuideLst xmlns:p15="http://schemas.microsoft.com/office/powerpoint/2012/main">
        <p15:guide id="1" orient="horz" pos="572">
          <p15:clr>
            <a:srgbClr val="FBAE40"/>
          </p15:clr>
        </p15:guide>
        <p15:guide id="2" pos="438">
          <p15:clr>
            <a:srgbClr val="FBAE40"/>
          </p15:clr>
        </p15:guide>
        <p15:guide id="3" pos="728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lage 11">
    <p:spTree>
      <p:nvGrpSpPr>
        <p:cNvPr id="1" name=""/>
        <p:cNvGrpSpPr/>
        <p:nvPr/>
      </p:nvGrpSpPr>
      <p:grpSpPr>
        <a:xfrm>
          <a:off x="0" y="0"/>
          <a:ext cx="0" cy="0"/>
          <a:chOff x="0" y="0"/>
          <a:chExt cx="0" cy="0"/>
        </a:xfrm>
      </p:grpSpPr>
      <p:sp>
        <p:nvSpPr>
          <p:cNvPr id="47" name="Tijdelijke aanduiding voor afbeelding 46">
            <a:extLst>
              <a:ext uri="{FF2B5EF4-FFF2-40B4-BE49-F238E27FC236}">
                <a16:creationId xmlns:a16="http://schemas.microsoft.com/office/drawing/2014/main" id="{09DD4B54-C27D-393F-567B-36F38165622F}"/>
              </a:ext>
            </a:extLst>
          </p:cNvPr>
          <p:cNvSpPr>
            <a:spLocks noGrp="1" noRot="1" noMove="1" noResize="1" noEditPoints="1" noAdjustHandles="1" noChangeArrowheads="1" noChangeShapeType="1"/>
          </p:cNvSpPr>
          <p:nvPr>
            <p:ph type="pic" sz="quarter" idx="33"/>
          </p:nvPr>
        </p:nvSpPr>
        <p:spPr>
          <a:xfrm>
            <a:off x="7734236" y="4597400"/>
            <a:ext cx="3727514" cy="2209864"/>
          </a:xfrm>
          <a:custGeom>
            <a:avLst/>
            <a:gdLst>
              <a:gd name="connsiteX0" fmla="*/ 127064 w 3727514"/>
              <a:gd name="connsiteY0" fmla="*/ 0 h 2209864"/>
              <a:gd name="connsiteX1" fmla="*/ 3600514 w 3727514"/>
              <a:gd name="connsiteY1" fmla="*/ 0 h 2209864"/>
              <a:gd name="connsiteX2" fmla="*/ 3727514 w 3727514"/>
              <a:gd name="connsiteY2" fmla="*/ 127000 h 2209864"/>
              <a:gd name="connsiteX3" fmla="*/ 3727514 w 3727514"/>
              <a:gd name="connsiteY3" fmla="*/ 438785 h 2209864"/>
              <a:gd name="connsiteX4" fmla="*/ 3613849 w 3727514"/>
              <a:gd name="connsiteY4" fmla="*/ 552450 h 2209864"/>
              <a:gd name="connsiteX5" fmla="*/ 3500183 w 3727514"/>
              <a:gd name="connsiteY5" fmla="*/ 666115 h 2209864"/>
              <a:gd name="connsiteX6" fmla="*/ 3500183 w 3727514"/>
              <a:gd name="connsiteY6" fmla="*/ 1546542 h 2209864"/>
              <a:gd name="connsiteX7" fmla="*/ 3613849 w 3727514"/>
              <a:gd name="connsiteY7" fmla="*/ 1658810 h 2209864"/>
              <a:gd name="connsiteX8" fmla="*/ 3727514 w 3727514"/>
              <a:gd name="connsiteY8" fmla="*/ 1771078 h 2209864"/>
              <a:gd name="connsiteX9" fmla="*/ 3727514 w 3727514"/>
              <a:gd name="connsiteY9" fmla="*/ 2082864 h 2209864"/>
              <a:gd name="connsiteX10" fmla="*/ 3600514 w 3727514"/>
              <a:gd name="connsiteY10" fmla="*/ 2209864 h 2209864"/>
              <a:gd name="connsiteX11" fmla="*/ 127064 w 3727514"/>
              <a:gd name="connsiteY11" fmla="*/ 2209864 h 2209864"/>
              <a:gd name="connsiteX12" fmla="*/ 64 w 3727514"/>
              <a:gd name="connsiteY12" fmla="*/ 2082864 h 2209864"/>
              <a:gd name="connsiteX13" fmla="*/ 64 w 3727514"/>
              <a:gd name="connsiteY13" fmla="*/ 1768475 h 2209864"/>
              <a:gd name="connsiteX14" fmla="*/ 111125 w 3727514"/>
              <a:gd name="connsiteY14" fmla="*/ 1657414 h 2209864"/>
              <a:gd name="connsiteX15" fmla="*/ 222186 w 3727514"/>
              <a:gd name="connsiteY15" fmla="*/ 1546923 h 2209864"/>
              <a:gd name="connsiteX16" fmla="*/ 226695 w 3727514"/>
              <a:gd name="connsiteY16" fmla="*/ 666496 h 2209864"/>
              <a:gd name="connsiteX17" fmla="*/ 113347 w 3727514"/>
              <a:gd name="connsiteY17" fmla="*/ 552577 h 2209864"/>
              <a:gd name="connsiteX18" fmla="*/ 0 w 3727514"/>
              <a:gd name="connsiteY18" fmla="*/ 439229 h 2209864"/>
              <a:gd name="connsiteX19" fmla="*/ 0 w 3727514"/>
              <a:gd name="connsiteY19" fmla="*/ 127127 h 2209864"/>
              <a:gd name="connsiteX20" fmla="*/ 64 w 3727514"/>
              <a:gd name="connsiteY20" fmla="*/ 127000 h 2209864"/>
              <a:gd name="connsiteX21" fmla="*/ 127064 w 3727514"/>
              <a:gd name="connsiteY21" fmla="*/ 0 h 220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514" h="2209864">
                <a:moveTo>
                  <a:pt x="127064" y="0"/>
                </a:moveTo>
                <a:lnTo>
                  <a:pt x="3600514" y="0"/>
                </a:lnTo>
                <a:cubicBezTo>
                  <a:pt x="3670681" y="0"/>
                  <a:pt x="3727514" y="56833"/>
                  <a:pt x="3727514" y="127000"/>
                </a:cubicBezTo>
                <a:lnTo>
                  <a:pt x="3727514" y="438785"/>
                </a:lnTo>
                <a:cubicBezTo>
                  <a:pt x="3727514" y="501523"/>
                  <a:pt x="3676650" y="552450"/>
                  <a:pt x="3613849" y="552450"/>
                </a:cubicBezTo>
                <a:cubicBezTo>
                  <a:pt x="3551047" y="552450"/>
                  <a:pt x="3500183" y="603314"/>
                  <a:pt x="3500183" y="666115"/>
                </a:cubicBezTo>
                <a:lnTo>
                  <a:pt x="3500183" y="1546542"/>
                </a:lnTo>
                <a:cubicBezTo>
                  <a:pt x="3500183" y="1609090"/>
                  <a:pt x="3551301" y="1659572"/>
                  <a:pt x="3613849" y="1658810"/>
                </a:cubicBezTo>
                <a:cubicBezTo>
                  <a:pt x="3676396" y="1658048"/>
                  <a:pt x="3727514" y="1708531"/>
                  <a:pt x="3727514" y="1771078"/>
                </a:cubicBezTo>
                <a:lnTo>
                  <a:pt x="3727514" y="2082864"/>
                </a:lnTo>
                <a:cubicBezTo>
                  <a:pt x="3727514" y="2153031"/>
                  <a:pt x="3670681" y="2209864"/>
                  <a:pt x="3600514" y="2209864"/>
                </a:cubicBezTo>
                <a:lnTo>
                  <a:pt x="127064" y="2209864"/>
                </a:lnTo>
                <a:cubicBezTo>
                  <a:pt x="56896" y="2209864"/>
                  <a:pt x="64" y="2153031"/>
                  <a:pt x="64" y="2082864"/>
                </a:cubicBezTo>
                <a:lnTo>
                  <a:pt x="64" y="1768475"/>
                </a:lnTo>
                <a:cubicBezTo>
                  <a:pt x="64" y="1707134"/>
                  <a:pt x="49784" y="1657414"/>
                  <a:pt x="111125" y="1657414"/>
                </a:cubicBezTo>
                <a:cubicBezTo>
                  <a:pt x="172466" y="1657414"/>
                  <a:pt x="221869" y="1608010"/>
                  <a:pt x="222186" y="1546923"/>
                </a:cubicBezTo>
                <a:lnTo>
                  <a:pt x="226695" y="666496"/>
                </a:lnTo>
                <a:cubicBezTo>
                  <a:pt x="227013" y="603695"/>
                  <a:pt x="176149" y="552577"/>
                  <a:pt x="113347" y="552577"/>
                </a:cubicBezTo>
                <a:cubicBezTo>
                  <a:pt x="50546" y="552577"/>
                  <a:pt x="0" y="501841"/>
                  <a:pt x="0" y="439229"/>
                </a:cubicBezTo>
                <a:lnTo>
                  <a:pt x="0" y="127127"/>
                </a:lnTo>
                <a:lnTo>
                  <a:pt x="64" y="127000"/>
                </a:lnTo>
                <a:cubicBezTo>
                  <a:pt x="64" y="56833"/>
                  <a:pt x="56896" y="0"/>
                  <a:pt x="12706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45" name="Tijdelijke aanduiding voor afbeelding 44">
            <a:extLst>
              <a:ext uri="{FF2B5EF4-FFF2-40B4-BE49-F238E27FC236}">
                <a16:creationId xmlns:a16="http://schemas.microsoft.com/office/drawing/2014/main" id="{2A5346AC-D3FC-01A6-AD7D-D375A3E20D11}"/>
              </a:ext>
            </a:extLst>
          </p:cNvPr>
          <p:cNvSpPr>
            <a:spLocks noGrp="1" noRot="1" noMove="1" noResize="1" noEditPoints="1" noAdjustHandles="1" noChangeArrowheads="1" noChangeShapeType="1"/>
          </p:cNvSpPr>
          <p:nvPr>
            <p:ph type="pic" sz="quarter" idx="32"/>
          </p:nvPr>
        </p:nvSpPr>
        <p:spPr>
          <a:xfrm>
            <a:off x="6686486" y="2324100"/>
            <a:ext cx="3727514" cy="2209864"/>
          </a:xfrm>
          <a:custGeom>
            <a:avLst/>
            <a:gdLst>
              <a:gd name="connsiteX0" fmla="*/ 127064 w 3727514"/>
              <a:gd name="connsiteY0" fmla="*/ 0 h 2209864"/>
              <a:gd name="connsiteX1" fmla="*/ 3600514 w 3727514"/>
              <a:gd name="connsiteY1" fmla="*/ 0 h 2209864"/>
              <a:gd name="connsiteX2" fmla="*/ 3727514 w 3727514"/>
              <a:gd name="connsiteY2" fmla="*/ 127000 h 2209864"/>
              <a:gd name="connsiteX3" fmla="*/ 3727514 w 3727514"/>
              <a:gd name="connsiteY3" fmla="*/ 438785 h 2209864"/>
              <a:gd name="connsiteX4" fmla="*/ 3613849 w 3727514"/>
              <a:gd name="connsiteY4" fmla="*/ 552450 h 2209864"/>
              <a:gd name="connsiteX5" fmla="*/ 3500183 w 3727514"/>
              <a:gd name="connsiteY5" fmla="*/ 666115 h 2209864"/>
              <a:gd name="connsiteX6" fmla="*/ 3500183 w 3727514"/>
              <a:gd name="connsiteY6" fmla="*/ 1546542 h 2209864"/>
              <a:gd name="connsiteX7" fmla="*/ 3613849 w 3727514"/>
              <a:gd name="connsiteY7" fmla="*/ 1658810 h 2209864"/>
              <a:gd name="connsiteX8" fmla="*/ 3727514 w 3727514"/>
              <a:gd name="connsiteY8" fmla="*/ 1771078 h 2209864"/>
              <a:gd name="connsiteX9" fmla="*/ 3727514 w 3727514"/>
              <a:gd name="connsiteY9" fmla="*/ 2082864 h 2209864"/>
              <a:gd name="connsiteX10" fmla="*/ 3600514 w 3727514"/>
              <a:gd name="connsiteY10" fmla="*/ 2209864 h 2209864"/>
              <a:gd name="connsiteX11" fmla="*/ 127064 w 3727514"/>
              <a:gd name="connsiteY11" fmla="*/ 2209864 h 2209864"/>
              <a:gd name="connsiteX12" fmla="*/ 64 w 3727514"/>
              <a:gd name="connsiteY12" fmla="*/ 2082864 h 2209864"/>
              <a:gd name="connsiteX13" fmla="*/ 64 w 3727514"/>
              <a:gd name="connsiteY13" fmla="*/ 1768475 h 2209864"/>
              <a:gd name="connsiteX14" fmla="*/ 111125 w 3727514"/>
              <a:gd name="connsiteY14" fmla="*/ 1657414 h 2209864"/>
              <a:gd name="connsiteX15" fmla="*/ 222186 w 3727514"/>
              <a:gd name="connsiteY15" fmla="*/ 1546923 h 2209864"/>
              <a:gd name="connsiteX16" fmla="*/ 226695 w 3727514"/>
              <a:gd name="connsiteY16" fmla="*/ 666496 h 2209864"/>
              <a:gd name="connsiteX17" fmla="*/ 113347 w 3727514"/>
              <a:gd name="connsiteY17" fmla="*/ 552577 h 2209864"/>
              <a:gd name="connsiteX18" fmla="*/ 0 w 3727514"/>
              <a:gd name="connsiteY18" fmla="*/ 439230 h 2209864"/>
              <a:gd name="connsiteX19" fmla="*/ 0 w 3727514"/>
              <a:gd name="connsiteY19" fmla="*/ 127127 h 2209864"/>
              <a:gd name="connsiteX20" fmla="*/ 64 w 3727514"/>
              <a:gd name="connsiteY20" fmla="*/ 127000 h 2209864"/>
              <a:gd name="connsiteX21" fmla="*/ 127064 w 3727514"/>
              <a:gd name="connsiteY21" fmla="*/ 0 h 220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514" h="2209864">
                <a:moveTo>
                  <a:pt x="127064" y="0"/>
                </a:moveTo>
                <a:lnTo>
                  <a:pt x="3600514" y="0"/>
                </a:lnTo>
                <a:cubicBezTo>
                  <a:pt x="3670681" y="0"/>
                  <a:pt x="3727514" y="56833"/>
                  <a:pt x="3727514" y="127000"/>
                </a:cubicBezTo>
                <a:lnTo>
                  <a:pt x="3727514" y="438785"/>
                </a:lnTo>
                <a:cubicBezTo>
                  <a:pt x="3727514" y="501523"/>
                  <a:pt x="3676650" y="552450"/>
                  <a:pt x="3613849" y="552450"/>
                </a:cubicBezTo>
                <a:cubicBezTo>
                  <a:pt x="3551047" y="552450"/>
                  <a:pt x="3500183" y="603314"/>
                  <a:pt x="3500183" y="666115"/>
                </a:cubicBezTo>
                <a:lnTo>
                  <a:pt x="3500183" y="1546542"/>
                </a:lnTo>
                <a:cubicBezTo>
                  <a:pt x="3500183" y="1609090"/>
                  <a:pt x="3551301" y="1659572"/>
                  <a:pt x="3613849" y="1658810"/>
                </a:cubicBezTo>
                <a:cubicBezTo>
                  <a:pt x="3676396" y="1658048"/>
                  <a:pt x="3727514" y="1708531"/>
                  <a:pt x="3727514" y="1771078"/>
                </a:cubicBezTo>
                <a:lnTo>
                  <a:pt x="3727514" y="2082864"/>
                </a:lnTo>
                <a:cubicBezTo>
                  <a:pt x="3727514" y="2153031"/>
                  <a:pt x="3670681" y="2209864"/>
                  <a:pt x="3600514" y="2209864"/>
                </a:cubicBezTo>
                <a:lnTo>
                  <a:pt x="127064" y="2209864"/>
                </a:lnTo>
                <a:cubicBezTo>
                  <a:pt x="56896" y="2209864"/>
                  <a:pt x="64" y="2153031"/>
                  <a:pt x="64" y="2082864"/>
                </a:cubicBezTo>
                <a:lnTo>
                  <a:pt x="64" y="1768475"/>
                </a:lnTo>
                <a:cubicBezTo>
                  <a:pt x="64" y="1707134"/>
                  <a:pt x="49784" y="1657414"/>
                  <a:pt x="111125" y="1657414"/>
                </a:cubicBezTo>
                <a:cubicBezTo>
                  <a:pt x="172466" y="1657414"/>
                  <a:pt x="221869" y="1608010"/>
                  <a:pt x="222186" y="1546923"/>
                </a:cubicBezTo>
                <a:lnTo>
                  <a:pt x="226695" y="666496"/>
                </a:lnTo>
                <a:cubicBezTo>
                  <a:pt x="227013" y="603695"/>
                  <a:pt x="176149" y="552577"/>
                  <a:pt x="113347" y="552577"/>
                </a:cubicBezTo>
                <a:cubicBezTo>
                  <a:pt x="50546" y="552577"/>
                  <a:pt x="0" y="501841"/>
                  <a:pt x="0" y="439230"/>
                </a:cubicBezTo>
                <a:lnTo>
                  <a:pt x="0" y="127127"/>
                </a:lnTo>
                <a:lnTo>
                  <a:pt x="64" y="127000"/>
                </a:lnTo>
                <a:cubicBezTo>
                  <a:pt x="64" y="56833"/>
                  <a:pt x="56896" y="0"/>
                  <a:pt x="12706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41" name="Tijdelijke aanduiding voor afbeelding 40">
            <a:extLst>
              <a:ext uri="{FF2B5EF4-FFF2-40B4-BE49-F238E27FC236}">
                <a16:creationId xmlns:a16="http://schemas.microsoft.com/office/drawing/2014/main" id="{707A245C-7003-B8B7-18A3-AE3A856BBC54}"/>
              </a:ext>
            </a:extLst>
          </p:cNvPr>
          <p:cNvSpPr>
            <a:spLocks noGrp="1" noRot="1" noMove="1" noResize="1" noEditPoints="1" noAdjustHandles="1" noChangeArrowheads="1" noChangeShapeType="1"/>
          </p:cNvSpPr>
          <p:nvPr>
            <p:ph type="pic" sz="quarter" idx="30"/>
          </p:nvPr>
        </p:nvSpPr>
        <p:spPr>
          <a:xfrm>
            <a:off x="4147056" y="4597400"/>
            <a:ext cx="3727008" cy="2209800"/>
          </a:xfrm>
          <a:custGeom>
            <a:avLst/>
            <a:gdLst>
              <a:gd name="connsiteX0" fmla="*/ 333885 w 3727008"/>
              <a:gd name="connsiteY0" fmla="*/ 0 h 2209800"/>
              <a:gd name="connsiteX1" fmla="*/ 3397697 w 3727008"/>
              <a:gd name="connsiteY1" fmla="*/ 0 h 2209800"/>
              <a:gd name="connsiteX2" fmla="*/ 3524697 w 3727008"/>
              <a:gd name="connsiteY2" fmla="*/ 127000 h 2209800"/>
              <a:gd name="connsiteX3" fmla="*/ 3524697 w 3727008"/>
              <a:gd name="connsiteY3" fmla="*/ 514286 h 2209800"/>
              <a:gd name="connsiteX4" fmla="*/ 3625852 w 3727008"/>
              <a:gd name="connsiteY4" fmla="*/ 615442 h 2209800"/>
              <a:gd name="connsiteX5" fmla="*/ 3727008 w 3727008"/>
              <a:gd name="connsiteY5" fmla="*/ 716597 h 2209800"/>
              <a:gd name="connsiteX6" fmla="*/ 3727008 w 3727008"/>
              <a:gd name="connsiteY6" fmla="*/ 1496060 h 2209800"/>
              <a:gd name="connsiteX7" fmla="*/ 3625852 w 3727008"/>
              <a:gd name="connsiteY7" fmla="*/ 1595819 h 2209800"/>
              <a:gd name="connsiteX8" fmla="*/ 3524697 w 3727008"/>
              <a:gd name="connsiteY8" fmla="*/ 1695577 h 2209800"/>
              <a:gd name="connsiteX9" fmla="*/ 3524697 w 3727008"/>
              <a:gd name="connsiteY9" fmla="*/ 2082800 h 2209800"/>
              <a:gd name="connsiteX10" fmla="*/ 3397697 w 3727008"/>
              <a:gd name="connsiteY10" fmla="*/ 2209800 h 2209800"/>
              <a:gd name="connsiteX11" fmla="*/ 333885 w 3727008"/>
              <a:gd name="connsiteY11" fmla="*/ 2209800 h 2209800"/>
              <a:gd name="connsiteX12" fmla="*/ 206885 w 3727008"/>
              <a:gd name="connsiteY12" fmla="*/ 2082800 h 2209800"/>
              <a:gd name="connsiteX13" fmla="*/ 206885 w 3727008"/>
              <a:gd name="connsiteY13" fmla="*/ 1697800 h 2209800"/>
              <a:gd name="connsiteX14" fmla="*/ 103443 w 3727008"/>
              <a:gd name="connsiteY14" fmla="*/ 1594358 h 2209800"/>
              <a:gd name="connsiteX15" fmla="*/ 2 w 3727008"/>
              <a:gd name="connsiteY15" fmla="*/ 1490409 h 2209800"/>
              <a:gd name="connsiteX16" fmla="*/ 4003 w 3727008"/>
              <a:gd name="connsiteY16" fmla="*/ 716280 h 2209800"/>
              <a:gd name="connsiteX17" fmla="*/ 105412 w 3727008"/>
              <a:gd name="connsiteY17" fmla="*/ 615378 h 2209800"/>
              <a:gd name="connsiteX18" fmla="*/ 206822 w 3727008"/>
              <a:gd name="connsiteY18" fmla="*/ 513969 h 2209800"/>
              <a:gd name="connsiteX19" fmla="*/ 206822 w 3727008"/>
              <a:gd name="connsiteY19" fmla="*/ 127000 h 2209800"/>
              <a:gd name="connsiteX20" fmla="*/ 206885 w 3727008"/>
              <a:gd name="connsiteY20" fmla="*/ 127000 h 2209800"/>
              <a:gd name="connsiteX21" fmla="*/ 333885 w 3727008"/>
              <a:gd name="connsiteY21"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008" h="2209800">
                <a:moveTo>
                  <a:pt x="333885" y="0"/>
                </a:moveTo>
                <a:lnTo>
                  <a:pt x="3397697" y="0"/>
                </a:lnTo>
                <a:cubicBezTo>
                  <a:pt x="3467864" y="0"/>
                  <a:pt x="3524697" y="56833"/>
                  <a:pt x="3524697" y="127000"/>
                </a:cubicBezTo>
                <a:lnTo>
                  <a:pt x="3524697" y="514286"/>
                </a:lnTo>
                <a:cubicBezTo>
                  <a:pt x="3524697" y="570166"/>
                  <a:pt x="3569972" y="615442"/>
                  <a:pt x="3625852" y="615442"/>
                </a:cubicBezTo>
                <a:cubicBezTo>
                  <a:pt x="3681732" y="615442"/>
                  <a:pt x="3727008" y="660717"/>
                  <a:pt x="3727008" y="716597"/>
                </a:cubicBezTo>
                <a:lnTo>
                  <a:pt x="3727008" y="1496060"/>
                </a:lnTo>
                <a:cubicBezTo>
                  <a:pt x="3727008" y="1551686"/>
                  <a:pt x="3681478" y="1596581"/>
                  <a:pt x="3625852" y="1595819"/>
                </a:cubicBezTo>
                <a:cubicBezTo>
                  <a:pt x="3570226" y="1595057"/>
                  <a:pt x="3524697" y="1639951"/>
                  <a:pt x="3524697" y="1695577"/>
                </a:cubicBezTo>
                <a:lnTo>
                  <a:pt x="3524697" y="2082800"/>
                </a:lnTo>
                <a:cubicBezTo>
                  <a:pt x="3524697" y="2152968"/>
                  <a:pt x="3467864" y="2209800"/>
                  <a:pt x="3397697" y="2209800"/>
                </a:cubicBezTo>
                <a:lnTo>
                  <a:pt x="333885" y="2209800"/>
                </a:lnTo>
                <a:cubicBezTo>
                  <a:pt x="263717" y="2209800"/>
                  <a:pt x="206885" y="2152968"/>
                  <a:pt x="206885" y="2082800"/>
                </a:cubicBezTo>
                <a:lnTo>
                  <a:pt x="206885" y="1697800"/>
                </a:lnTo>
                <a:cubicBezTo>
                  <a:pt x="206885" y="1640713"/>
                  <a:pt x="160593" y="1594358"/>
                  <a:pt x="103443" y="1594358"/>
                </a:cubicBezTo>
                <a:cubicBezTo>
                  <a:pt x="46293" y="1594358"/>
                  <a:pt x="-252" y="1547749"/>
                  <a:pt x="2" y="1490409"/>
                </a:cubicBezTo>
                <a:lnTo>
                  <a:pt x="4003" y="716280"/>
                </a:lnTo>
                <a:cubicBezTo>
                  <a:pt x="4320" y="660464"/>
                  <a:pt x="49596" y="615378"/>
                  <a:pt x="105412" y="615378"/>
                </a:cubicBezTo>
                <a:cubicBezTo>
                  <a:pt x="161228" y="615378"/>
                  <a:pt x="206822" y="569976"/>
                  <a:pt x="206822" y="513969"/>
                </a:cubicBezTo>
                <a:lnTo>
                  <a:pt x="206822" y="127000"/>
                </a:lnTo>
                <a:lnTo>
                  <a:pt x="206885" y="127000"/>
                </a:lnTo>
                <a:cubicBezTo>
                  <a:pt x="206885" y="56833"/>
                  <a:pt x="263717" y="0"/>
                  <a:pt x="33388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9" name="Tijdelijke aanduiding voor afbeelding 38">
            <a:extLst>
              <a:ext uri="{FF2B5EF4-FFF2-40B4-BE49-F238E27FC236}">
                <a16:creationId xmlns:a16="http://schemas.microsoft.com/office/drawing/2014/main" id="{EE6EE096-BE07-3BAC-BBE5-11B00A8FB035}"/>
              </a:ext>
            </a:extLst>
          </p:cNvPr>
          <p:cNvSpPr>
            <a:spLocks noGrp="1" noRot="1" noMove="1" noResize="1" noEditPoints="1" noAdjustHandles="1" noChangeArrowheads="1" noChangeShapeType="1"/>
          </p:cNvSpPr>
          <p:nvPr>
            <p:ph type="pic" sz="quarter" idx="29"/>
          </p:nvPr>
        </p:nvSpPr>
        <p:spPr>
          <a:xfrm>
            <a:off x="863600" y="4597400"/>
            <a:ext cx="3427984" cy="2209800"/>
          </a:xfrm>
          <a:custGeom>
            <a:avLst/>
            <a:gdLst>
              <a:gd name="connsiteX0" fmla="*/ 127000 w 3427984"/>
              <a:gd name="connsiteY0" fmla="*/ 0 h 2209800"/>
              <a:gd name="connsiteX1" fmla="*/ 3300984 w 3427984"/>
              <a:gd name="connsiteY1" fmla="*/ 0 h 2209800"/>
              <a:gd name="connsiteX2" fmla="*/ 3427984 w 3427984"/>
              <a:gd name="connsiteY2" fmla="*/ 127000 h 2209800"/>
              <a:gd name="connsiteX3" fmla="*/ 3427984 w 3427984"/>
              <a:gd name="connsiteY3" fmla="*/ 447929 h 2209800"/>
              <a:gd name="connsiteX4" fmla="*/ 3323463 w 3427984"/>
              <a:gd name="connsiteY4" fmla="*/ 552450 h 2209800"/>
              <a:gd name="connsiteX5" fmla="*/ 3218942 w 3427984"/>
              <a:gd name="connsiteY5" fmla="*/ 656971 h 2209800"/>
              <a:gd name="connsiteX6" fmla="*/ 3218942 w 3427984"/>
              <a:gd name="connsiteY6" fmla="*/ 1555623 h 2209800"/>
              <a:gd name="connsiteX7" fmla="*/ 3323463 w 3427984"/>
              <a:gd name="connsiteY7" fmla="*/ 1658747 h 2209800"/>
              <a:gd name="connsiteX8" fmla="*/ 3427984 w 3427984"/>
              <a:gd name="connsiteY8" fmla="*/ 1761871 h 2209800"/>
              <a:gd name="connsiteX9" fmla="*/ 3427984 w 3427984"/>
              <a:gd name="connsiteY9" fmla="*/ 2082800 h 2209800"/>
              <a:gd name="connsiteX10" fmla="*/ 3300984 w 3427984"/>
              <a:gd name="connsiteY10" fmla="*/ 2209800 h 2209800"/>
              <a:gd name="connsiteX11" fmla="*/ 127000 w 3427984"/>
              <a:gd name="connsiteY11" fmla="*/ 2209800 h 2209800"/>
              <a:gd name="connsiteX12" fmla="*/ 0 w 3427984"/>
              <a:gd name="connsiteY12" fmla="*/ 2082800 h 2209800"/>
              <a:gd name="connsiteX13" fmla="*/ 0 w 3427984"/>
              <a:gd name="connsiteY13" fmla="*/ 1759522 h 2209800"/>
              <a:gd name="connsiteX14" fmla="*/ 102171 w 3427984"/>
              <a:gd name="connsiteY14" fmla="*/ 1657350 h 2209800"/>
              <a:gd name="connsiteX15" fmla="*/ 204279 w 3427984"/>
              <a:gd name="connsiteY15" fmla="*/ 1555687 h 2209800"/>
              <a:gd name="connsiteX16" fmla="*/ 208534 w 3427984"/>
              <a:gd name="connsiteY16" fmla="*/ 657225 h 2209800"/>
              <a:gd name="connsiteX17" fmla="*/ 104267 w 3427984"/>
              <a:gd name="connsiteY17" fmla="*/ 552450 h 2209800"/>
              <a:gd name="connsiteX18" fmla="*/ 0 w 3427984"/>
              <a:gd name="connsiteY18" fmla="*/ 448183 h 2209800"/>
              <a:gd name="connsiteX19" fmla="*/ 0 w 3427984"/>
              <a:gd name="connsiteY19" fmla="*/ 127000 h 2209800"/>
              <a:gd name="connsiteX20" fmla="*/ 127000 w 3427984"/>
              <a:gd name="connsiteY20"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27984" h="2209800">
                <a:moveTo>
                  <a:pt x="127000" y="0"/>
                </a:moveTo>
                <a:lnTo>
                  <a:pt x="3300984" y="0"/>
                </a:lnTo>
                <a:cubicBezTo>
                  <a:pt x="3371152" y="0"/>
                  <a:pt x="3427984" y="56833"/>
                  <a:pt x="3427984" y="127000"/>
                </a:cubicBezTo>
                <a:lnTo>
                  <a:pt x="3427984" y="447929"/>
                </a:lnTo>
                <a:cubicBezTo>
                  <a:pt x="3427984" y="505651"/>
                  <a:pt x="3381184" y="552450"/>
                  <a:pt x="3323463" y="552450"/>
                </a:cubicBezTo>
                <a:cubicBezTo>
                  <a:pt x="3265741" y="552450"/>
                  <a:pt x="3218942" y="599250"/>
                  <a:pt x="3218942" y="656971"/>
                </a:cubicBezTo>
                <a:lnTo>
                  <a:pt x="3218942" y="1555623"/>
                </a:lnTo>
                <a:cubicBezTo>
                  <a:pt x="3218942" y="1613091"/>
                  <a:pt x="3265932" y="1659509"/>
                  <a:pt x="3323463" y="1658747"/>
                </a:cubicBezTo>
                <a:cubicBezTo>
                  <a:pt x="3380931" y="1657985"/>
                  <a:pt x="3427984" y="1704403"/>
                  <a:pt x="3427984" y="1761871"/>
                </a:cubicBezTo>
                <a:lnTo>
                  <a:pt x="3427984" y="2082800"/>
                </a:lnTo>
                <a:cubicBezTo>
                  <a:pt x="3427984" y="2152968"/>
                  <a:pt x="3371152" y="2209800"/>
                  <a:pt x="3300984" y="2209800"/>
                </a:cubicBezTo>
                <a:lnTo>
                  <a:pt x="127000" y="2209800"/>
                </a:lnTo>
                <a:cubicBezTo>
                  <a:pt x="56832" y="2209800"/>
                  <a:pt x="0" y="2152968"/>
                  <a:pt x="0" y="2082800"/>
                </a:cubicBezTo>
                <a:lnTo>
                  <a:pt x="0" y="1759522"/>
                </a:lnTo>
                <a:cubicBezTo>
                  <a:pt x="0" y="1703134"/>
                  <a:pt x="45720" y="1657350"/>
                  <a:pt x="102171" y="1657350"/>
                </a:cubicBezTo>
                <a:cubicBezTo>
                  <a:pt x="158623" y="1657350"/>
                  <a:pt x="204026" y="1611884"/>
                  <a:pt x="204279" y="1555687"/>
                </a:cubicBezTo>
                <a:lnTo>
                  <a:pt x="208534" y="657225"/>
                </a:lnTo>
                <a:cubicBezTo>
                  <a:pt x="208788" y="599440"/>
                  <a:pt x="162052" y="552450"/>
                  <a:pt x="104267" y="552450"/>
                </a:cubicBezTo>
                <a:cubicBezTo>
                  <a:pt x="46482" y="552450"/>
                  <a:pt x="0" y="505778"/>
                  <a:pt x="0" y="448183"/>
                </a:cubicBezTo>
                <a:lnTo>
                  <a:pt x="0" y="127000"/>
                </a:lnTo>
                <a:cubicBezTo>
                  <a:pt x="0" y="56833"/>
                  <a:pt x="56832"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7" name="Tijdelijke aanduiding voor afbeelding 36">
            <a:extLst>
              <a:ext uri="{FF2B5EF4-FFF2-40B4-BE49-F238E27FC236}">
                <a16:creationId xmlns:a16="http://schemas.microsoft.com/office/drawing/2014/main" id="{03D08C6C-B322-468B-5AF7-4D4A71155478}"/>
              </a:ext>
            </a:extLst>
          </p:cNvPr>
          <p:cNvSpPr>
            <a:spLocks noGrp="1" noRot="1" noMove="1" noResize="1" noEditPoints="1" noAdjustHandles="1" noChangeArrowheads="1" noChangeShapeType="1"/>
          </p:cNvSpPr>
          <p:nvPr>
            <p:ph type="pic" sz="quarter" idx="28" hasCustomPrompt="1"/>
          </p:nvPr>
        </p:nvSpPr>
        <p:spPr>
          <a:xfrm>
            <a:off x="0" y="4597336"/>
            <a:ext cx="1000188" cy="2209800"/>
          </a:xfrm>
          <a:custGeom>
            <a:avLst/>
            <a:gdLst>
              <a:gd name="connsiteX0" fmla="*/ 0 w 1000188"/>
              <a:gd name="connsiteY0" fmla="*/ 0 h 2209800"/>
              <a:gd name="connsiteX1" fmla="*/ 670878 w 1000188"/>
              <a:gd name="connsiteY1" fmla="*/ 0 h 2209800"/>
              <a:gd name="connsiteX2" fmla="*/ 797878 w 1000188"/>
              <a:gd name="connsiteY2" fmla="*/ 127000 h 2209800"/>
              <a:gd name="connsiteX3" fmla="*/ 797878 w 1000188"/>
              <a:gd name="connsiteY3" fmla="*/ 514286 h 2209800"/>
              <a:gd name="connsiteX4" fmla="*/ 899033 w 1000188"/>
              <a:gd name="connsiteY4" fmla="*/ 615442 h 2209800"/>
              <a:gd name="connsiteX5" fmla="*/ 1000188 w 1000188"/>
              <a:gd name="connsiteY5" fmla="*/ 716598 h 2209800"/>
              <a:gd name="connsiteX6" fmla="*/ 1000188 w 1000188"/>
              <a:gd name="connsiteY6" fmla="*/ 1496060 h 2209800"/>
              <a:gd name="connsiteX7" fmla="*/ 899033 w 1000188"/>
              <a:gd name="connsiteY7" fmla="*/ 1595819 h 2209800"/>
              <a:gd name="connsiteX8" fmla="*/ 797878 w 1000188"/>
              <a:gd name="connsiteY8" fmla="*/ 1695577 h 2209800"/>
              <a:gd name="connsiteX9" fmla="*/ 797878 w 1000188"/>
              <a:gd name="connsiteY9" fmla="*/ 2082800 h 2209800"/>
              <a:gd name="connsiteX10" fmla="*/ 670878 w 1000188"/>
              <a:gd name="connsiteY10" fmla="*/ 2209800 h 2209800"/>
              <a:gd name="connsiteX11" fmla="*/ 0 w 1000188"/>
              <a:gd name="connsiteY11" fmla="*/ 22098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188" h="2209800">
                <a:moveTo>
                  <a:pt x="0" y="0"/>
                </a:moveTo>
                <a:lnTo>
                  <a:pt x="670878" y="0"/>
                </a:lnTo>
                <a:cubicBezTo>
                  <a:pt x="741045" y="0"/>
                  <a:pt x="797878" y="56833"/>
                  <a:pt x="797878" y="127000"/>
                </a:cubicBezTo>
                <a:lnTo>
                  <a:pt x="797878" y="514286"/>
                </a:lnTo>
                <a:cubicBezTo>
                  <a:pt x="797878" y="570167"/>
                  <a:pt x="843153" y="615442"/>
                  <a:pt x="899033" y="615442"/>
                </a:cubicBezTo>
                <a:cubicBezTo>
                  <a:pt x="954913" y="615442"/>
                  <a:pt x="1000188" y="660717"/>
                  <a:pt x="1000188" y="716598"/>
                </a:cubicBezTo>
                <a:lnTo>
                  <a:pt x="1000188" y="1496060"/>
                </a:lnTo>
                <a:cubicBezTo>
                  <a:pt x="1000188" y="1551686"/>
                  <a:pt x="954659" y="1596581"/>
                  <a:pt x="899033" y="1595819"/>
                </a:cubicBezTo>
                <a:cubicBezTo>
                  <a:pt x="843407" y="1595057"/>
                  <a:pt x="797878" y="1639951"/>
                  <a:pt x="797878" y="1695577"/>
                </a:cubicBezTo>
                <a:lnTo>
                  <a:pt x="797878" y="2082800"/>
                </a:lnTo>
                <a:cubicBezTo>
                  <a:pt x="797878" y="2152968"/>
                  <a:pt x="741045" y="2209800"/>
                  <a:pt x="670878" y="2209800"/>
                </a:cubicBezTo>
                <a:lnTo>
                  <a:pt x="0" y="2209800"/>
                </a:ln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
        <p:nvSpPr>
          <p:cNvPr id="35" name="Tijdelijke aanduiding voor afbeelding 34">
            <a:extLst>
              <a:ext uri="{FF2B5EF4-FFF2-40B4-BE49-F238E27FC236}">
                <a16:creationId xmlns:a16="http://schemas.microsoft.com/office/drawing/2014/main" id="{2639BFEE-DF92-CC45-DA6A-AA56F4DC6A8B}"/>
              </a:ext>
            </a:extLst>
          </p:cNvPr>
          <p:cNvSpPr>
            <a:spLocks noGrp="1" noRot="1" noMove="1" noResize="1" noEditPoints="1" noAdjustHandles="1" noChangeArrowheads="1" noChangeShapeType="1"/>
          </p:cNvSpPr>
          <p:nvPr>
            <p:ph type="pic" sz="quarter" idx="27"/>
          </p:nvPr>
        </p:nvSpPr>
        <p:spPr>
          <a:xfrm>
            <a:off x="10263567" y="2324100"/>
            <a:ext cx="1928496" cy="2209800"/>
          </a:xfrm>
          <a:custGeom>
            <a:avLst/>
            <a:gdLst>
              <a:gd name="connsiteX0" fmla="*/ 333821 w 1928496"/>
              <a:gd name="connsiteY0" fmla="*/ 0 h 2209800"/>
              <a:gd name="connsiteX1" fmla="*/ 1928433 w 1928496"/>
              <a:gd name="connsiteY1" fmla="*/ 0 h 2209800"/>
              <a:gd name="connsiteX2" fmla="*/ 1928496 w 1928496"/>
              <a:gd name="connsiteY2" fmla="*/ 0 h 2209800"/>
              <a:gd name="connsiteX3" fmla="*/ 1928496 w 1928496"/>
              <a:gd name="connsiteY3" fmla="*/ 2209800 h 2209800"/>
              <a:gd name="connsiteX4" fmla="*/ 333884 w 1928496"/>
              <a:gd name="connsiteY4" fmla="*/ 2209800 h 2209800"/>
              <a:gd name="connsiteX5" fmla="*/ 206884 w 1928496"/>
              <a:gd name="connsiteY5" fmla="*/ 2082800 h 2209800"/>
              <a:gd name="connsiteX6" fmla="*/ 206884 w 1928496"/>
              <a:gd name="connsiteY6" fmla="*/ 1697800 h 2209800"/>
              <a:gd name="connsiteX7" fmla="*/ 103443 w 1928496"/>
              <a:gd name="connsiteY7" fmla="*/ 1594358 h 2209800"/>
              <a:gd name="connsiteX8" fmla="*/ 2 w 1928496"/>
              <a:gd name="connsiteY8" fmla="*/ 1490409 h 2209800"/>
              <a:gd name="connsiteX9" fmla="*/ 4001 w 1928496"/>
              <a:gd name="connsiteY9" fmla="*/ 716280 h 2209800"/>
              <a:gd name="connsiteX10" fmla="*/ 105411 w 1928496"/>
              <a:gd name="connsiteY10" fmla="*/ 615379 h 2209800"/>
              <a:gd name="connsiteX11" fmla="*/ 206821 w 1928496"/>
              <a:gd name="connsiteY11" fmla="*/ 513969 h 2209800"/>
              <a:gd name="connsiteX12" fmla="*/ 206821 w 1928496"/>
              <a:gd name="connsiteY12" fmla="*/ 127000 h 2209800"/>
              <a:gd name="connsiteX13" fmla="*/ 333821 w 1928496"/>
              <a:gd name="connsiteY13"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8496" h="2209800">
                <a:moveTo>
                  <a:pt x="333821" y="0"/>
                </a:moveTo>
                <a:lnTo>
                  <a:pt x="1928433" y="0"/>
                </a:lnTo>
                <a:lnTo>
                  <a:pt x="1928496" y="0"/>
                </a:lnTo>
                <a:lnTo>
                  <a:pt x="1928496" y="2209800"/>
                </a:lnTo>
                <a:lnTo>
                  <a:pt x="333884" y="2209800"/>
                </a:lnTo>
                <a:cubicBezTo>
                  <a:pt x="263717" y="2209800"/>
                  <a:pt x="206884" y="2152968"/>
                  <a:pt x="206884" y="2082800"/>
                </a:cubicBezTo>
                <a:lnTo>
                  <a:pt x="206884" y="1697800"/>
                </a:lnTo>
                <a:cubicBezTo>
                  <a:pt x="206884" y="1640650"/>
                  <a:pt x="160783" y="1594358"/>
                  <a:pt x="103443" y="1594358"/>
                </a:cubicBezTo>
                <a:cubicBezTo>
                  <a:pt x="46102" y="1594358"/>
                  <a:pt x="-316" y="1547749"/>
                  <a:pt x="2" y="1490409"/>
                </a:cubicBezTo>
                <a:lnTo>
                  <a:pt x="4001" y="716280"/>
                </a:lnTo>
                <a:cubicBezTo>
                  <a:pt x="4319" y="660464"/>
                  <a:pt x="49404" y="615379"/>
                  <a:pt x="105411" y="615379"/>
                </a:cubicBezTo>
                <a:cubicBezTo>
                  <a:pt x="161418" y="615379"/>
                  <a:pt x="206821" y="569976"/>
                  <a:pt x="206821" y="513969"/>
                </a:cubicBezTo>
                <a:lnTo>
                  <a:pt x="206821" y="127000"/>
                </a:lnTo>
                <a:cubicBezTo>
                  <a:pt x="206821" y="56833"/>
                  <a:pt x="263653" y="0"/>
                  <a:pt x="333821"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0" name="Tijdelijke aanduiding voor afbeelding 29">
            <a:extLst>
              <a:ext uri="{FF2B5EF4-FFF2-40B4-BE49-F238E27FC236}">
                <a16:creationId xmlns:a16="http://schemas.microsoft.com/office/drawing/2014/main" id="{A0A4F14F-547D-4596-7962-820ACA250677}"/>
              </a:ext>
            </a:extLst>
          </p:cNvPr>
          <p:cNvSpPr>
            <a:spLocks noGrp="1" noRot="1" noMove="1" noResize="1" noEditPoints="1" noAdjustHandles="1" noChangeArrowheads="1" noChangeShapeType="1"/>
          </p:cNvSpPr>
          <p:nvPr>
            <p:ph type="pic" sz="quarter" idx="25"/>
          </p:nvPr>
        </p:nvSpPr>
        <p:spPr>
          <a:xfrm>
            <a:off x="3099305" y="2324100"/>
            <a:ext cx="3727008" cy="2209800"/>
          </a:xfrm>
          <a:custGeom>
            <a:avLst/>
            <a:gdLst>
              <a:gd name="connsiteX0" fmla="*/ 333885 w 3727008"/>
              <a:gd name="connsiteY0" fmla="*/ 0 h 2209800"/>
              <a:gd name="connsiteX1" fmla="*/ 3397697 w 3727008"/>
              <a:gd name="connsiteY1" fmla="*/ 0 h 2209800"/>
              <a:gd name="connsiteX2" fmla="*/ 3524697 w 3727008"/>
              <a:gd name="connsiteY2" fmla="*/ 127000 h 2209800"/>
              <a:gd name="connsiteX3" fmla="*/ 3524697 w 3727008"/>
              <a:gd name="connsiteY3" fmla="*/ 514286 h 2209800"/>
              <a:gd name="connsiteX4" fmla="*/ 3625852 w 3727008"/>
              <a:gd name="connsiteY4" fmla="*/ 615442 h 2209800"/>
              <a:gd name="connsiteX5" fmla="*/ 3727008 w 3727008"/>
              <a:gd name="connsiteY5" fmla="*/ 716598 h 2209800"/>
              <a:gd name="connsiteX6" fmla="*/ 3727008 w 3727008"/>
              <a:gd name="connsiteY6" fmla="*/ 1496060 h 2209800"/>
              <a:gd name="connsiteX7" fmla="*/ 3625852 w 3727008"/>
              <a:gd name="connsiteY7" fmla="*/ 1595819 h 2209800"/>
              <a:gd name="connsiteX8" fmla="*/ 3524697 w 3727008"/>
              <a:gd name="connsiteY8" fmla="*/ 1695577 h 2209800"/>
              <a:gd name="connsiteX9" fmla="*/ 3524697 w 3727008"/>
              <a:gd name="connsiteY9" fmla="*/ 2082800 h 2209800"/>
              <a:gd name="connsiteX10" fmla="*/ 3397697 w 3727008"/>
              <a:gd name="connsiteY10" fmla="*/ 2209800 h 2209800"/>
              <a:gd name="connsiteX11" fmla="*/ 333885 w 3727008"/>
              <a:gd name="connsiteY11" fmla="*/ 2209800 h 2209800"/>
              <a:gd name="connsiteX12" fmla="*/ 206885 w 3727008"/>
              <a:gd name="connsiteY12" fmla="*/ 2082800 h 2209800"/>
              <a:gd name="connsiteX13" fmla="*/ 206885 w 3727008"/>
              <a:gd name="connsiteY13" fmla="*/ 1697800 h 2209800"/>
              <a:gd name="connsiteX14" fmla="*/ 103444 w 3727008"/>
              <a:gd name="connsiteY14" fmla="*/ 1594358 h 2209800"/>
              <a:gd name="connsiteX15" fmla="*/ 2 w 3727008"/>
              <a:gd name="connsiteY15" fmla="*/ 1490409 h 2209800"/>
              <a:gd name="connsiteX16" fmla="*/ 4003 w 3727008"/>
              <a:gd name="connsiteY16" fmla="*/ 716280 h 2209800"/>
              <a:gd name="connsiteX17" fmla="*/ 105412 w 3727008"/>
              <a:gd name="connsiteY17" fmla="*/ 615379 h 2209800"/>
              <a:gd name="connsiteX18" fmla="*/ 206822 w 3727008"/>
              <a:gd name="connsiteY18" fmla="*/ 513969 h 2209800"/>
              <a:gd name="connsiteX19" fmla="*/ 206822 w 3727008"/>
              <a:gd name="connsiteY19" fmla="*/ 127000 h 2209800"/>
              <a:gd name="connsiteX20" fmla="*/ 206885 w 3727008"/>
              <a:gd name="connsiteY20" fmla="*/ 127000 h 2209800"/>
              <a:gd name="connsiteX21" fmla="*/ 333885 w 3727008"/>
              <a:gd name="connsiteY21"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008" h="2209800">
                <a:moveTo>
                  <a:pt x="333885" y="0"/>
                </a:moveTo>
                <a:lnTo>
                  <a:pt x="3397697" y="0"/>
                </a:lnTo>
                <a:cubicBezTo>
                  <a:pt x="3467864" y="0"/>
                  <a:pt x="3524697" y="56833"/>
                  <a:pt x="3524697" y="127000"/>
                </a:cubicBezTo>
                <a:lnTo>
                  <a:pt x="3524697" y="514286"/>
                </a:lnTo>
                <a:cubicBezTo>
                  <a:pt x="3524697" y="570167"/>
                  <a:pt x="3569972" y="615442"/>
                  <a:pt x="3625852" y="615442"/>
                </a:cubicBezTo>
                <a:cubicBezTo>
                  <a:pt x="3681732" y="615442"/>
                  <a:pt x="3727008" y="660717"/>
                  <a:pt x="3727008" y="716598"/>
                </a:cubicBezTo>
                <a:lnTo>
                  <a:pt x="3727008" y="1496060"/>
                </a:lnTo>
                <a:cubicBezTo>
                  <a:pt x="3727008" y="1551686"/>
                  <a:pt x="3681478" y="1596581"/>
                  <a:pt x="3625852" y="1595819"/>
                </a:cubicBezTo>
                <a:cubicBezTo>
                  <a:pt x="3570226" y="1595057"/>
                  <a:pt x="3524697" y="1639951"/>
                  <a:pt x="3524697" y="1695577"/>
                </a:cubicBezTo>
                <a:lnTo>
                  <a:pt x="3524697" y="2082800"/>
                </a:lnTo>
                <a:cubicBezTo>
                  <a:pt x="3524697" y="2152968"/>
                  <a:pt x="3467864" y="2209800"/>
                  <a:pt x="3397697" y="2209800"/>
                </a:cubicBezTo>
                <a:lnTo>
                  <a:pt x="333885" y="2209800"/>
                </a:lnTo>
                <a:cubicBezTo>
                  <a:pt x="263718" y="2209800"/>
                  <a:pt x="206885" y="2152968"/>
                  <a:pt x="206885" y="2082800"/>
                </a:cubicBezTo>
                <a:lnTo>
                  <a:pt x="206885" y="1697800"/>
                </a:lnTo>
                <a:cubicBezTo>
                  <a:pt x="206885" y="1640713"/>
                  <a:pt x="160594" y="1594358"/>
                  <a:pt x="103444" y="1594358"/>
                </a:cubicBezTo>
                <a:cubicBezTo>
                  <a:pt x="46294" y="1594358"/>
                  <a:pt x="-252" y="1547749"/>
                  <a:pt x="2" y="1490409"/>
                </a:cubicBezTo>
                <a:lnTo>
                  <a:pt x="4003" y="716280"/>
                </a:lnTo>
                <a:cubicBezTo>
                  <a:pt x="4320" y="660464"/>
                  <a:pt x="49596" y="615379"/>
                  <a:pt x="105412" y="615379"/>
                </a:cubicBezTo>
                <a:cubicBezTo>
                  <a:pt x="161228" y="615379"/>
                  <a:pt x="206822" y="569976"/>
                  <a:pt x="206822" y="513969"/>
                </a:cubicBezTo>
                <a:lnTo>
                  <a:pt x="206822" y="127000"/>
                </a:lnTo>
                <a:lnTo>
                  <a:pt x="206885" y="127000"/>
                </a:lnTo>
                <a:cubicBezTo>
                  <a:pt x="206885" y="56833"/>
                  <a:pt x="263718" y="0"/>
                  <a:pt x="33388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8" name="Tijdelijke aanduiding voor afbeelding 27">
            <a:extLst>
              <a:ext uri="{FF2B5EF4-FFF2-40B4-BE49-F238E27FC236}">
                <a16:creationId xmlns:a16="http://schemas.microsoft.com/office/drawing/2014/main" id="{8FACCB6F-D3B5-8BFB-1797-2D70C31E645C}"/>
              </a:ext>
            </a:extLst>
          </p:cNvPr>
          <p:cNvSpPr>
            <a:spLocks noGrp="1" noRot="1" noMove="1" noResize="1" noEditPoints="1" noAdjustHandles="1" noChangeArrowheads="1" noChangeShapeType="1"/>
          </p:cNvSpPr>
          <p:nvPr>
            <p:ph type="pic" sz="quarter" idx="24"/>
          </p:nvPr>
        </p:nvSpPr>
        <p:spPr>
          <a:xfrm>
            <a:off x="0" y="2324100"/>
            <a:ext cx="3243834" cy="2209800"/>
          </a:xfrm>
          <a:custGeom>
            <a:avLst/>
            <a:gdLst>
              <a:gd name="connsiteX0" fmla="*/ 0 w 3243834"/>
              <a:gd name="connsiteY0" fmla="*/ 0 h 2209800"/>
              <a:gd name="connsiteX1" fmla="*/ 3116834 w 3243834"/>
              <a:gd name="connsiteY1" fmla="*/ 0 h 2209800"/>
              <a:gd name="connsiteX2" fmla="*/ 3243834 w 3243834"/>
              <a:gd name="connsiteY2" fmla="*/ 127000 h 2209800"/>
              <a:gd name="connsiteX3" fmla="*/ 3243834 w 3243834"/>
              <a:gd name="connsiteY3" fmla="*/ 447929 h 2209800"/>
              <a:gd name="connsiteX4" fmla="*/ 3139313 w 3243834"/>
              <a:gd name="connsiteY4" fmla="*/ 552450 h 2209800"/>
              <a:gd name="connsiteX5" fmla="*/ 3034792 w 3243834"/>
              <a:gd name="connsiteY5" fmla="*/ 656971 h 2209800"/>
              <a:gd name="connsiteX6" fmla="*/ 3034792 w 3243834"/>
              <a:gd name="connsiteY6" fmla="*/ 1555623 h 2209800"/>
              <a:gd name="connsiteX7" fmla="*/ 3139313 w 3243834"/>
              <a:gd name="connsiteY7" fmla="*/ 1658747 h 2209800"/>
              <a:gd name="connsiteX8" fmla="*/ 3243834 w 3243834"/>
              <a:gd name="connsiteY8" fmla="*/ 1761871 h 2209800"/>
              <a:gd name="connsiteX9" fmla="*/ 3243834 w 3243834"/>
              <a:gd name="connsiteY9" fmla="*/ 2082800 h 2209800"/>
              <a:gd name="connsiteX10" fmla="*/ 3116834 w 3243834"/>
              <a:gd name="connsiteY10" fmla="*/ 2209800 h 2209800"/>
              <a:gd name="connsiteX11" fmla="*/ 0 w 3243834"/>
              <a:gd name="connsiteY11" fmla="*/ 2209800 h 2209800"/>
              <a:gd name="connsiteX12" fmla="*/ 0 w 3243834"/>
              <a:gd name="connsiteY12" fmla="*/ 1615884 h 2209800"/>
              <a:gd name="connsiteX13" fmla="*/ 20130 w 3243834"/>
              <a:gd name="connsiteY13" fmla="*/ 1555687 h 2209800"/>
              <a:gd name="connsiteX14" fmla="*/ 24384 w 3243834"/>
              <a:gd name="connsiteY14" fmla="*/ 657225 h 2209800"/>
              <a:gd name="connsiteX15" fmla="*/ 0 w 3243834"/>
              <a:gd name="connsiteY15" fmla="*/ 589788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3834" h="2209800">
                <a:moveTo>
                  <a:pt x="0" y="0"/>
                </a:moveTo>
                <a:lnTo>
                  <a:pt x="3116834" y="0"/>
                </a:lnTo>
                <a:cubicBezTo>
                  <a:pt x="3187002" y="0"/>
                  <a:pt x="3243834" y="56833"/>
                  <a:pt x="3243834" y="127000"/>
                </a:cubicBezTo>
                <a:lnTo>
                  <a:pt x="3243834" y="447929"/>
                </a:lnTo>
                <a:cubicBezTo>
                  <a:pt x="3243834" y="505651"/>
                  <a:pt x="3197035" y="552450"/>
                  <a:pt x="3139313" y="552450"/>
                </a:cubicBezTo>
                <a:cubicBezTo>
                  <a:pt x="3081592" y="552450"/>
                  <a:pt x="3034792" y="599250"/>
                  <a:pt x="3034792" y="656971"/>
                </a:cubicBezTo>
                <a:lnTo>
                  <a:pt x="3034792" y="1555623"/>
                </a:lnTo>
                <a:cubicBezTo>
                  <a:pt x="3034792" y="1613091"/>
                  <a:pt x="3081846" y="1659509"/>
                  <a:pt x="3139313" y="1658747"/>
                </a:cubicBezTo>
                <a:cubicBezTo>
                  <a:pt x="3196844" y="1657985"/>
                  <a:pt x="3243834" y="1704403"/>
                  <a:pt x="3243834" y="1761871"/>
                </a:cubicBezTo>
                <a:lnTo>
                  <a:pt x="3243834" y="2082800"/>
                </a:lnTo>
                <a:cubicBezTo>
                  <a:pt x="3243834" y="2152968"/>
                  <a:pt x="3187002" y="2209800"/>
                  <a:pt x="3116834" y="2209800"/>
                </a:cubicBezTo>
                <a:lnTo>
                  <a:pt x="0" y="2209800"/>
                </a:lnTo>
                <a:lnTo>
                  <a:pt x="0" y="1615884"/>
                </a:lnTo>
                <a:cubicBezTo>
                  <a:pt x="12510" y="1599057"/>
                  <a:pt x="20003" y="1578292"/>
                  <a:pt x="20130" y="1555687"/>
                </a:cubicBezTo>
                <a:lnTo>
                  <a:pt x="24384" y="657225"/>
                </a:lnTo>
                <a:cubicBezTo>
                  <a:pt x="24511" y="631508"/>
                  <a:pt x="15304" y="608013"/>
                  <a:pt x="0" y="589788"/>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6" name="Tijdelijke aanduiding voor afbeelding 25">
            <a:extLst>
              <a:ext uri="{FF2B5EF4-FFF2-40B4-BE49-F238E27FC236}">
                <a16:creationId xmlns:a16="http://schemas.microsoft.com/office/drawing/2014/main" id="{1177B1B6-C399-77F5-605E-F84DBDE75865}"/>
              </a:ext>
            </a:extLst>
          </p:cNvPr>
          <p:cNvSpPr>
            <a:spLocks noGrp="1" noRot="1" noMove="1" noResize="1" noEditPoints="1" noAdjustHandles="1" noChangeArrowheads="1" noChangeShapeType="1"/>
          </p:cNvSpPr>
          <p:nvPr>
            <p:ph type="pic" sz="quarter" idx="23"/>
          </p:nvPr>
        </p:nvSpPr>
        <p:spPr>
          <a:xfrm>
            <a:off x="10261600" y="50801"/>
            <a:ext cx="1930464" cy="2209737"/>
          </a:xfrm>
          <a:custGeom>
            <a:avLst/>
            <a:gdLst>
              <a:gd name="connsiteX0" fmla="*/ 127000 w 1930464"/>
              <a:gd name="connsiteY0" fmla="*/ 0 h 2209737"/>
              <a:gd name="connsiteX1" fmla="*/ 1930400 w 1930464"/>
              <a:gd name="connsiteY1" fmla="*/ 0 h 2209737"/>
              <a:gd name="connsiteX2" fmla="*/ 1930464 w 1930464"/>
              <a:gd name="connsiteY2" fmla="*/ 0 h 2209737"/>
              <a:gd name="connsiteX3" fmla="*/ 1930464 w 1930464"/>
              <a:gd name="connsiteY3" fmla="*/ 2209737 h 2209737"/>
              <a:gd name="connsiteX4" fmla="*/ 127064 w 1930464"/>
              <a:gd name="connsiteY4" fmla="*/ 2209737 h 2209737"/>
              <a:gd name="connsiteX5" fmla="*/ 64 w 1930464"/>
              <a:gd name="connsiteY5" fmla="*/ 2082737 h 2209737"/>
              <a:gd name="connsiteX6" fmla="*/ 64 w 1930464"/>
              <a:gd name="connsiteY6" fmla="*/ 1768348 h 2209737"/>
              <a:gd name="connsiteX7" fmla="*/ 111125 w 1930464"/>
              <a:gd name="connsiteY7" fmla="*/ 1657287 h 2209737"/>
              <a:gd name="connsiteX8" fmla="*/ 222186 w 1930464"/>
              <a:gd name="connsiteY8" fmla="*/ 1546797 h 2209737"/>
              <a:gd name="connsiteX9" fmla="*/ 226695 w 1930464"/>
              <a:gd name="connsiteY9" fmla="*/ 666369 h 2209737"/>
              <a:gd name="connsiteX10" fmla="*/ 113347 w 1930464"/>
              <a:gd name="connsiteY10" fmla="*/ 552450 h 2209737"/>
              <a:gd name="connsiteX11" fmla="*/ 0 w 1930464"/>
              <a:gd name="connsiteY11" fmla="*/ 439103 h 2209737"/>
              <a:gd name="connsiteX12" fmla="*/ 0 w 1930464"/>
              <a:gd name="connsiteY12" fmla="*/ 127000 h 2209737"/>
              <a:gd name="connsiteX13" fmla="*/ 127000 w 1930464"/>
              <a:gd name="connsiteY13" fmla="*/ 0 h 220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0464" h="2209737">
                <a:moveTo>
                  <a:pt x="127000" y="0"/>
                </a:moveTo>
                <a:lnTo>
                  <a:pt x="1930400" y="0"/>
                </a:lnTo>
                <a:lnTo>
                  <a:pt x="1930464" y="0"/>
                </a:lnTo>
                <a:lnTo>
                  <a:pt x="1930464" y="2209737"/>
                </a:lnTo>
                <a:lnTo>
                  <a:pt x="127064" y="2209737"/>
                </a:lnTo>
                <a:cubicBezTo>
                  <a:pt x="56896" y="2209737"/>
                  <a:pt x="64" y="2152904"/>
                  <a:pt x="64" y="2082737"/>
                </a:cubicBezTo>
                <a:lnTo>
                  <a:pt x="64" y="1768348"/>
                </a:lnTo>
                <a:cubicBezTo>
                  <a:pt x="64" y="1707007"/>
                  <a:pt x="50038" y="1657287"/>
                  <a:pt x="111125" y="1657287"/>
                </a:cubicBezTo>
                <a:cubicBezTo>
                  <a:pt x="172212" y="1657287"/>
                  <a:pt x="221869" y="1607947"/>
                  <a:pt x="222186" y="1546797"/>
                </a:cubicBezTo>
                <a:lnTo>
                  <a:pt x="226695" y="666369"/>
                </a:lnTo>
                <a:cubicBezTo>
                  <a:pt x="227013" y="603568"/>
                  <a:pt x="175958" y="552450"/>
                  <a:pt x="113347" y="552450"/>
                </a:cubicBezTo>
                <a:cubicBezTo>
                  <a:pt x="50736" y="552450"/>
                  <a:pt x="0" y="501714"/>
                  <a:pt x="0" y="439103"/>
                </a:cubicBezTo>
                <a:lnTo>
                  <a:pt x="0" y="127000"/>
                </a:lnTo>
                <a:cubicBezTo>
                  <a:pt x="0" y="56833"/>
                  <a:pt x="56832"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4" name="Tijdelijke aanduiding voor afbeelding 23">
            <a:extLst>
              <a:ext uri="{FF2B5EF4-FFF2-40B4-BE49-F238E27FC236}">
                <a16:creationId xmlns:a16="http://schemas.microsoft.com/office/drawing/2014/main" id="{DB62F765-D64D-B15E-DC7E-3648B6E61759}"/>
              </a:ext>
            </a:extLst>
          </p:cNvPr>
          <p:cNvSpPr>
            <a:spLocks noGrp="1" noRot="1" noMove="1" noResize="1" noEditPoints="1" noAdjustHandles="1" noChangeArrowheads="1" noChangeShapeType="1"/>
          </p:cNvSpPr>
          <p:nvPr>
            <p:ph type="pic" sz="quarter" idx="22"/>
          </p:nvPr>
        </p:nvSpPr>
        <p:spPr>
          <a:xfrm>
            <a:off x="6674355" y="50800"/>
            <a:ext cx="3727008" cy="2209800"/>
          </a:xfrm>
          <a:custGeom>
            <a:avLst/>
            <a:gdLst>
              <a:gd name="connsiteX0" fmla="*/ 333886 w 3727008"/>
              <a:gd name="connsiteY0" fmla="*/ 0 h 2209800"/>
              <a:gd name="connsiteX1" fmla="*/ 3397697 w 3727008"/>
              <a:gd name="connsiteY1" fmla="*/ 0 h 2209800"/>
              <a:gd name="connsiteX2" fmla="*/ 3524697 w 3727008"/>
              <a:gd name="connsiteY2" fmla="*/ 127000 h 2209800"/>
              <a:gd name="connsiteX3" fmla="*/ 3524697 w 3727008"/>
              <a:gd name="connsiteY3" fmla="*/ 514287 h 2209800"/>
              <a:gd name="connsiteX4" fmla="*/ 3625852 w 3727008"/>
              <a:gd name="connsiteY4" fmla="*/ 615442 h 2209800"/>
              <a:gd name="connsiteX5" fmla="*/ 3727008 w 3727008"/>
              <a:gd name="connsiteY5" fmla="*/ 716598 h 2209800"/>
              <a:gd name="connsiteX6" fmla="*/ 3727008 w 3727008"/>
              <a:gd name="connsiteY6" fmla="*/ 1496060 h 2209800"/>
              <a:gd name="connsiteX7" fmla="*/ 3625852 w 3727008"/>
              <a:gd name="connsiteY7" fmla="*/ 1595819 h 2209800"/>
              <a:gd name="connsiteX8" fmla="*/ 3524697 w 3727008"/>
              <a:gd name="connsiteY8" fmla="*/ 1695577 h 2209800"/>
              <a:gd name="connsiteX9" fmla="*/ 3524697 w 3727008"/>
              <a:gd name="connsiteY9" fmla="*/ 2082800 h 2209800"/>
              <a:gd name="connsiteX10" fmla="*/ 3397697 w 3727008"/>
              <a:gd name="connsiteY10" fmla="*/ 2209800 h 2209800"/>
              <a:gd name="connsiteX11" fmla="*/ 333886 w 3727008"/>
              <a:gd name="connsiteY11" fmla="*/ 2209800 h 2209800"/>
              <a:gd name="connsiteX12" fmla="*/ 206886 w 3727008"/>
              <a:gd name="connsiteY12" fmla="*/ 2082800 h 2209800"/>
              <a:gd name="connsiteX13" fmla="*/ 206886 w 3727008"/>
              <a:gd name="connsiteY13" fmla="*/ 1697800 h 2209800"/>
              <a:gd name="connsiteX14" fmla="*/ 103444 w 3727008"/>
              <a:gd name="connsiteY14" fmla="*/ 1594358 h 2209800"/>
              <a:gd name="connsiteX15" fmla="*/ 2 w 3727008"/>
              <a:gd name="connsiteY15" fmla="*/ 1490409 h 2209800"/>
              <a:gd name="connsiteX16" fmla="*/ 4003 w 3727008"/>
              <a:gd name="connsiteY16" fmla="*/ 716280 h 2209800"/>
              <a:gd name="connsiteX17" fmla="*/ 105413 w 3727008"/>
              <a:gd name="connsiteY17" fmla="*/ 615379 h 2209800"/>
              <a:gd name="connsiteX18" fmla="*/ 206822 w 3727008"/>
              <a:gd name="connsiteY18" fmla="*/ 513969 h 2209800"/>
              <a:gd name="connsiteX19" fmla="*/ 206822 w 3727008"/>
              <a:gd name="connsiteY19" fmla="*/ 127000 h 2209800"/>
              <a:gd name="connsiteX20" fmla="*/ 206886 w 3727008"/>
              <a:gd name="connsiteY20" fmla="*/ 127000 h 2209800"/>
              <a:gd name="connsiteX21" fmla="*/ 333886 w 3727008"/>
              <a:gd name="connsiteY21"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008" h="2209800">
                <a:moveTo>
                  <a:pt x="333886" y="0"/>
                </a:moveTo>
                <a:lnTo>
                  <a:pt x="3397697" y="0"/>
                </a:lnTo>
                <a:cubicBezTo>
                  <a:pt x="3467864" y="0"/>
                  <a:pt x="3524697" y="56833"/>
                  <a:pt x="3524697" y="127000"/>
                </a:cubicBezTo>
                <a:lnTo>
                  <a:pt x="3524697" y="514287"/>
                </a:lnTo>
                <a:cubicBezTo>
                  <a:pt x="3524697" y="570167"/>
                  <a:pt x="3569973" y="615442"/>
                  <a:pt x="3625852" y="615442"/>
                </a:cubicBezTo>
                <a:cubicBezTo>
                  <a:pt x="3681732" y="615442"/>
                  <a:pt x="3727008" y="660718"/>
                  <a:pt x="3727008" y="716598"/>
                </a:cubicBezTo>
                <a:lnTo>
                  <a:pt x="3727008" y="1496060"/>
                </a:lnTo>
                <a:cubicBezTo>
                  <a:pt x="3727008" y="1551686"/>
                  <a:pt x="3681478" y="1596581"/>
                  <a:pt x="3625852" y="1595819"/>
                </a:cubicBezTo>
                <a:cubicBezTo>
                  <a:pt x="3570226" y="1595057"/>
                  <a:pt x="3524697" y="1639951"/>
                  <a:pt x="3524697" y="1695577"/>
                </a:cubicBezTo>
                <a:lnTo>
                  <a:pt x="3524697" y="2082800"/>
                </a:lnTo>
                <a:cubicBezTo>
                  <a:pt x="3524697" y="2152968"/>
                  <a:pt x="3467864" y="2209800"/>
                  <a:pt x="3397697" y="2209800"/>
                </a:cubicBezTo>
                <a:lnTo>
                  <a:pt x="333886" y="2209800"/>
                </a:lnTo>
                <a:cubicBezTo>
                  <a:pt x="263718" y="2209800"/>
                  <a:pt x="206886" y="2152968"/>
                  <a:pt x="206886" y="2082800"/>
                </a:cubicBezTo>
                <a:lnTo>
                  <a:pt x="206886" y="1697800"/>
                </a:lnTo>
                <a:cubicBezTo>
                  <a:pt x="206886" y="1640713"/>
                  <a:pt x="160594" y="1594358"/>
                  <a:pt x="103444" y="1594358"/>
                </a:cubicBezTo>
                <a:cubicBezTo>
                  <a:pt x="46294" y="1594358"/>
                  <a:pt x="-251" y="1547749"/>
                  <a:pt x="2" y="1490409"/>
                </a:cubicBezTo>
                <a:lnTo>
                  <a:pt x="4003" y="716280"/>
                </a:lnTo>
                <a:cubicBezTo>
                  <a:pt x="4320" y="660464"/>
                  <a:pt x="49596" y="615379"/>
                  <a:pt x="105413" y="615379"/>
                </a:cubicBezTo>
                <a:cubicBezTo>
                  <a:pt x="161229" y="615379"/>
                  <a:pt x="206822" y="569976"/>
                  <a:pt x="206822" y="513969"/>
                </a:cubicBezTo>
                <a:lnTo>
                  <a:pt x="206822" y="127000"/>
                </a:lnTo>
                <a:lnTo>
                  <a:pt x="206886" y="127000"/>
                </a:lnTo>
                <a:cubicBezTo>
                  <a:pt x="206886" y="56833"/>
                  <a:pt x="263718" y="0"/>
                  <a:pt x="333886"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2" name="Tijdelijke aanduiding voor afbeelding 21">
            <a:extLst>
              <a:ext uri="{FF2B5EF4-FFF2-40B4-BE49-F238E27FC236}">
                <a16:creationId xmlns:a16="http://schemas.microsoft.com/office/drawing/2014/main" id="{7A803D5B-C447-052D-C79E-D30A5991F10A}"/>
              </a:ext>
            </a:extLst>
          </p:cNvPr>
          <p:cNvSpPr>
            <a:spLocks noGrp="1" noRot="1" noMove="1" noResize="1" noEditPoints="1" noAdjustHandles="1" noChangeArrowheads="1" noChangeShapeType="1"/>
          </p:cNvSpPr>
          <p:nvPr>
            <p:ph type="pic" sz="quarter" idx="21"/>
          </p:nvPr>
        </p:nvSpPr>
        <p:spPr>
          <a:xfrm>
            <a:off x="3390900" y="50800"/>
            <a:ext cx="3427984" cy="2209800"/>
          </a:xfrm>
          <a:custGeom>
            <a:avLst/>
            <a:gdLst>
              <a:gd name="connsiteX0" fmla="*/ 127000 w 3427984"/>
              <a:gd name="connsiteY0" fmla="*/ 0 h 2209800"/>
              <a:gd name="connsiteX1" fmla="*/ 3300984 w 3427984"/>
              <a:gd name="connsiteY1" fmla="*/ 0 h 2209800"/>
              <a:gd name="connsiteX2" fmla="*/ 3427984 w 3427984"/>
              <a:gd name="connsiteY2" fmla="*/ 127000 h 2209800"/>
              <a:gd name="connsiteX3" fmla="*/ 3427984 w 3427984"/>
              <a:gd name="connsiteY3" fmla="*/ 447929 h 2209800"/>
              <a:gd name="connsiteX4" fmla="*/ 3323463 w 3427984"/>
              <a:gd name="connsiteY4" fmla="*/ 552450 h 2209800"/>
              <a:gd name="connsiteX5" fmla="*/ 3218942 w 3427984"/>
              <a:gd name="connsiteY5" fmla="*/ 656971 h 2209800"/>
              <a:gd name="connsiteX6" fmla="*/ 3218942 w 3427984"/>
              <a:gd name="connsiteY6" fmla="*/ 1555623 h 2209800"/>
              <a:gd name="connsiteX7" fmla="*/ 3323463 w 3427984"/>
              <a:gd name="connsiteY7" fmla="*/ 1658747 h 2209800"/>
              <a:gd name="connsiteX8" fmla="*/ 3427984 w 3427984"/>
              <a:gd name="connsiteY8" fmla="*/ 1761871 h 2209800"/>
              <a:gd name="connsiteX9" fmla="*/ 3427984 w 3427984"/>
              <a:gd name="connsiteY9" fmla="*/ 2082800 h 2209800"/>
              <a:gd name="connsiteX10" fmla="*/ 3300984 w 3427984"/>
              <a:gd name="connsiteY10" fmla="*/ 2209800 h 2209800"/>
              <a:gd name="connsiteX11" fmla="*/ 127000 w 3427984"/>
              <a:gd name="connsiteY11" fmla="*/ 2209800 h 2209800"/>
              <a:gd name="connsiteX12" fmla="*/ 0 w 3427984"/>
              <a:gd name="connsiteY12" fmla="*/ 2082800 h 2209800"/>
              <a:gd name="connsiteX13" fmla="*/ 0 w 3427984"/>
              <a:gd name="connsiteY13" fmla="*/ 1759522 h 2209800"/>
              <a:gd name="connsiteX14" fmla="*/ 102172 w 3427984"/>
              <a:gd name="connsiteY14" fmla="*/ 1657350 h 2209800"/>
              <a:gd name="connsiteX15" fmla="*/ 204279 w 3427984"/>
              <a:gd name="connsiteY15" fmla="*/ 1555687 h 2209800"/>
              <a:gd name="connsiteX16" fmla="*/ 208534 w 3427984"/>
              <a:gd name="connsiteY16" fmla="*/ 657225 h 2209800"/>
              <a:gd name="connsiteX17" fmla="*/ 104267 w 3427984"/>
              <a:gd name="connsiteY17" fmla="*/ 552450 h 2209800"/>
              <a:gd name="connsiteX18" fmla="*/ 0 w 3427984"/>
              <a:gd name="connsiteY18" fmla="*/ 448183 h 2209800"/>
              <a:gd name="connsiteX19" fmla="*/ 0 w 3427984"/>
              <a:gd name="connsiteY19" fmla="*/ 127000 h 2209800"/>
              <a:gd name="connsiteX20" fmla="*/ 127000 w 3427984"/>
              <a:gd name="connsiteY20"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27984" h="2209800">
                <a:moveTo>
                  <a:pt x="127000" y="0"/>
                </a:moveTo>
                <a:lnTo>
                  <a:pt x="3300984" y="0"/>
                </a:lnTo>
                <a:cubicBezTo>
                  <a:pt x="3371152" y="0"/>
                  <a:pt x="3427984" y="56833"/>
                  <a:pt x="3427984" y="127000"/>
                </a:cubicBezTo>
                <a:lnTo>
                  <a:pt x="3427984" y="447929"/>
                </a:lnTo>
                <a:cubicBezTo>
                  <a:pt x="3427984" y="505650"/>
                  <a:pt x="3381184" y="552450"/>
                  <a:pt x="3323463" y="552450"/>
                </a:cubicBezTo>
                <a:cubicBezTo>
                  <a:pt x="3265742" y="552450"/>
                  <a:pt x="3218942" y="599250"/>
                  <a:pt x="3218942" y="656971"/>
                </a:cubicBezTo>
                <a:lnTo>
                  <a:pt x="3218942" y="1555623"/>
                </a:lnTo>
                <a:cubicBezTo>
                  <a:pt x="3218942" y="1613091"/>
                  <a:pt x="3265932" y="1659509"/>
                  <a:pt x="3323463" y="1658747"/>
                </a:cubicBezTo>
                <a:cubicBezTo>
                  <a:pt x="3380994" y="1657985"/>
                  <a:pt x="3427984" y="1704404"/>
                  <a:pt x="3427984" y="1761871"/>
                </a:cubicBezTo>
                <a:lnTo>
                  <a:pt x="3427984" y="2082800"/>
                </a:lnTo>
                <a:cubicBezTo>
                  <a:pt x="3427984" y="2152968"/>
                  <a:pt x="3371152" y="2209800"/>
                  <a:pt x="3300984" y="2209800"/>
                </a:cubicBezTo>
                <a:lnTo>
                  <a:pt x="127000" y="2209800"/>
                </a:lnTo>
                <a:cubicBezTo>
                  <a:pt x="56833" y="2209800"/>
                  <a:pt x="0" y="2152968"/>
                  <a:pt x="0" y="2082800"/>
                </a:cubicBezTo>
                <a:lnTo>
                  <a:pt x="0" y="1759522"/>
                </a:lnTo>
                <a:cubicBezTo>
                  <a:pt x="0" y="1703134"/>
                  <a:pt x="45720" y="1657350"/>
                  <a:pt x="102172" y="1657350"/>
                </a:cubicBezTo>
                <a:cubicBezTo>
                  <a:pt x="158623" y="1657350"/>
                  <a:pt x="204026" y="1611884"/>
                  <a:pt x="204279" y="1555687"/>
                </a:cubicBezTo>
                <a:lnTo>
                  <a:pt x="208534" y="657225"/>
                </a:lnTo>
                <a:cubicBezTo>
                  <a:pt x="208788" y="599440"/>
                  <a:pt x="162052" y="552450"/>
                  <a:pt x="104267" y="552450"/>
                </a:cubicBezTo>
                <a:cubicBezTo>
                  <a:pt x="46482" y="552450"/>
                  <a:pt x="0" y="505778"/>
                  <a:pt x="0" y="448183"/>
                </a:cubicBezTo>
                <a:lnTo>
                  <a:pt x="0" y="127000"/>
                </a:lnTo>
                <a:cubicBezTo>
                  <a:pt x="0" y="56833"/>
                  <a:pt x="56833"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0" name="Tijdelijke aanduiding voor afbeelding 19">
            <a:extLst>
              <a:ext uri="{FF2B5EF4-FFF2-40B4-BE49-F238E27FC236}">
                <a16:creationId xmlns:a16="http://schemas.microsoft.com/office/drawing/2014/main" id="{404B92F4-3A99-9BF8-C1D8-8983A1D524C1}"/>
              </a:ext>
            </a:extLst>
          </p:cNvPr>
          <p:cNvSpPr>
            <a:spLocks noGrp="1"/>
          </p:cNvSpPr>
          <p:nvPr>
            <p:ph type="pic" sz="quarter" idx="16"/>
          </p:nvPr>
        </p:nvSpPr>
        <p:spPr>
          <a:xfrm>
            <a:off x="1" y="50800"/>
            <a:ext cx="3534601" cy="2209800"/>
          </a:xfrm>
          <a:custGeom>
            <a:avLst/>
            <a:gdLst>
              <a:gd name="connsiteX0" fmla="*/ 1865249 w 3534601"/>
              <a:gd name="connsiteY0" fmla="*/ 0 h 2209800"/>
              <a:gd name="connsiteX1" fmla="*/ 3198495 w 3534601"/>
              <a:gd name="connsiteY1" fmla="*/ 0 h 2209800"/>
              <a:gd name="connsiteX2" fmla="*/ 3325495 w 3534601"/>
              <a:gd name="connsiteY2" fmla="*/ 127000 h 2209800"/>
              <a:gd name="connsiteX3" fmla="*/ 3325495 w 3534601"/>
              <a:gd name="connsiteY3" fmla="*/ 447929 h 2209800"/>
              <a:gd name="connsiteX4" fmla="*/ 3430016 w 3534601"/>
              <a:gd name="connsiteY4" fmla="*/ 552450 h 2209800"/>
              <a:gd name="connsiteX5" fmla="*/ 3430080 w 3534601"/>
              <a:gd name="connsiteY5" fmla="*/ 552450 h 2209800"/>
              <a:gd name="connsiteX6" fmla="*/ 3534601 w 3534601"/>
              <a:gd name="connsiteY6" fmla="*/ 656971 h 2209800"/>
              <a:gd name="connsiteX7" fmla="*/ 3534601 w 3534601"/>
              <a:gd name="connsiteY7" fmla="*/ 1555623 h 2209800"/>
              <a:gd name="connsiteX8" fmla="*/ 3430080 w 3534601"/>
              <a:gd name="connsiteY8" fmla="*/ 1658747 h 2209800"/>
              <a:gd name="connsiteX9" fmla="*/ 3325559 w 3534601"/>
              <a:gd name="connsiteY9" fmla="*/ 1761871 h 2209800"/>
              <a:gd name="connsiteX10" fmla="*/ 3325559 w 3534601"/>
              <a:gd name="connsiteY10" fmla="*/ 2082800 h 2209800"/>
              <a:gd name="connsiteX11" fmla="*/ 3198559 w 3534601"/>
              <a:gd name="connsiteY11" fmla="*/ 2209800 h 2209800"/>
              <a:gd name="connsiteX12" fmla="*/ 23813 w 3534601"/>
              <a:gd name="connsiteY12" fmla="*/ 2209800 h 2209800"/>
              <a:gd name="connsiteX13" fmla="*/ 0 w 3534601"/>
              <a:gd name="connsiteY13" fmla="*/ 2207514 h 2209800"/>
              <a:gd name="connsiteX14" fmla="*/ 0 w 3534601"/>
              <a:gd name="connsiteY14" fmla="*/ 698500 h 2209800"/>
              <a:gd name="connsiteX15" fmla="*/ 1611249 w 3534601"/>
              <a:gd name="connsiteY15" fmla="*/ 698500 h 2209800"/>
              <a:gd name="connsiteX16" fmla="*/ 1738249 w 3534601"/>
              <a:gd name="connsiteY16" fmla="*/ 571500 h 2209800"/>
              <a:gd name="connsiteX17" fmla="*/ 1738249 w 3534601"/>
              <a:gd name="connsiteY17" fmla="*/ 127000 h 2209800"/>
              <a:gd name="connsiteX18" fmla="*/ 1865249 w 3534601"/>
              <a:gd name="connsiteY18"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34601" h="2209800">
                <a:moveTo>
                  <a:pt x="1865249" y="0"/>
                </a:moveTo>
                <a:lnTo>
                  <a:pt x="3198495" y="0"/>
                </a:lnTo>
                <a:cubicBezTo>
                  <a:pt x="3268663" y="0"/>
                  <a:pt x="3325495" y="56833"/>
                  <a:pt x="3325495" y="127000"/>
                </a:cubicBezTo>
                <a:lnTo>
                  <a:pt x="3325495" y="447929"/>
                </a:lnTo>
                <a:cubicBezTo>
                  <a:pt x="3325495" y="505650"/>
                  <a:pt x="3372295" y="552450"/>
                  <a:pt x="3430016" y="552450"/>
                </a:cubicBezTo>
                <a:lnTo>
                  <a:pt x="3430080" y="552450"/>
                </a:lnTo>
                <a:cubicBezTo>
                  <a:pt x="3487801" y="552450"/>
                  <a:pt x="3534601" y="599250"/>
                  <a:pt x="3534601" y="656971"/>
                </a:cubicBezTo>
                <a:lnTo>
                  <a:pt x="3534601" y="1555623"/>
                </a:lnTo>
                <a:cubicBezTo>
                  <a:pt x="3534601" y="1613091"/>
                  <a:pt x="3487611" y="1659509"/>
                  <a:pt x="3430080" y="1658747"/>
                </a:cubicBezTo>
                <a:cubicBezTo>
                  <a:pt x="3372612" y="1657985"/>
                  <a:pt x="3325559" y="1704340"/>
                  <a:pt x="3325559" y="1761871"/>
                </a:cubicBezTo>
                <a:lnTo>
                  <a:pt x="3325559" y="2082800"/>
                </a:lnTo>
                <a:cubicBezTo>
                  <a:pt x="3325559" y="2152968"/>
                  <a:pt x="3268726" y="2209800"/>
                  <a:pt x="3198559" y="2209800"/>
                </a:cubicBezTo>
                <a:lnTo>
                  <a:pt x="23813" y="2209800"/>
                </a:lnTo>
                <a:cubicBezTo>
                  <a:pt x="15685" y="2209800"/>
                  <a:pt x="7747" y="2208975"/>
                  <a:pt x="0" y="2207514"/>
                </a:cubicBezTo>
                <a:lnTo>
                  <a:pt x="0" y="698500"/>
                </a:lnTo>
                <a:lnTo>
                  <a:pt x="1611249" y="698500"/>
                </a:lnTo>
                <a:cubicBezTo>
                  <a:pt x="1681417" y="698500"/>
                  <a:pt x="1738249" y="641668"/>
                  <a:pt x="1738249" y="571500"/>
                </a:cubicBezTo>
                <a:lnTo>
                  <a:pt x="1738249" y="127000"/>
                </a:lnTo>
                <a:cubicBezTo>
                  <a:pt x="1738249" y="56833"/>
                  <a:pt x="1795082" y="0"/>
                  <a:pt x="1865249"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48" name="Tijdelijke aanduiding voor afbeelding 47">
            <a:extLst>
              <a:ext uri="{FF2B5EF4-FFF2-40B4-BE49-F238E27FC236}">
                <a16:creationId xmlns:a16="http://schemas.microsoft.com/office/drawing/2014/main" id="{CED9B4A9-9D66-B925-082E-833A9A227AB6}"/>
              </a:ext>
            </a:extLst>
          </p:cNvPr>
          <p:cNvSpPr>
            <a:spLocks noGrp="1" noRot="1" noMove="1" noResize="1" noEditPoints="1" noAdjustHandles="1" noChangeArrowheads="1" noChangeShapeType="1"/>
          </p:cNvSpPr>
          <p:nvPr>
            <p:ph type="pic" sz="quarter" idx="20" hasCustomPrompt="1"/>
          </p:nvPr>
        </p:nvSpPr>
        <p:spPr>
          <a:xfrm>
            <a:off x="11311317" y="4597400"/>
            <a:ext cx="880746" cy="2209800"/>
          </a:xfrm>
          <a:custGeom>
            <a:avLst/>
            <a:gdLst>
              <a:gd name="connsiteX0" fmla="*/ 333821 w 880746"/>
              <a:gd name="connsiteY0" fmla="*/ 0 h 2209800"/>
              <a:gd name="connsiteX1" fmla="*/ 880683 w 880746"/>
              <a:gd name="connsiteY1" fmla="*/ 0 h 2209800"/>
              <a:gd name="connsiteX2" fmla="*/ 880746 w 880746"/>
              <a:gd name="connsiteY2" fmla="*/ 0 h 2209800"/>
              <a:gd name="connsiteX3" fmla="*/ 880746 w 880746"/>
              <a:gd name="connsiteY3" fmla="*/ 2209800 h 2209800"/>
              <a:gd name="connsiteX4" fmla="*/ 333884 w 880746"/>
              <a:gd name="connsiteY4" fmla="*/ 2209800 h 2209800"/>
              <a:gd name="connsiteX5" fmla="*/ 206884 w 880746"/>
              <a:gd name="connsiteY5" fmla="*/ 2082800 h 2209800"/>
              <a:gd name="connsiteX6" fmla="*/ 206884 w 880746"/>
              <a:gd name="connsiteY6" fmla="*/ 1697800 h 2209800"/>
              <a:gd name="connsiteX7" fmla="*/ 103443 w 880746"/>
              <a:gd name="connsiteY7" fmla="*/ 1594358 h 2209800"/>
              <a:gd name="connsiteX8" fmla="*/ 2 w 880746"/>
              <a:gd name="connsiteY8" fmla="*/ 1490409 h 2209800"/>
              <a:gd name="connsiteX9" fmla="*/ 4001 w 880746"/>
              <a:gd name="connsiteY9" fmla="*/ 716280 h 2209800"/>
              <a:gd name="connsiteX10" fmla="*/ 105411 w 880746"/>
              <a:gd name="connsiteY10" fmla="*/ 615378 h 2209800"/>
              <a:gd name="connsiteX11" fmla="*/ 206821 w 880746"/>
              <a:gd name="connsiteY11" fmla="*/ 513969 h 2209800"/>
              <a:gd name="connsiteX12" fmla="*/ 206821 w 880746"/>
              <a:gd name="connsiteY12" fmla="*/ 127000 h 2209800"/>
              <a:gd name="connsiteX13" fmla="*/ 333821 w 880746"/>
              <a:gd name="connsiteY13"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0746" h="2209800">
                <a:moveTo>
                  <a:pt x="333821" y="0"/>
                </a:moveTo>
                <a:lnTo>
                  <a:pt x="880683" y="0"/>
                </a:lnTo>
                <a:lnTo>
                  <a:pt x="880746" y="0"/>
                </a:lnTo>
                <a:lnTo>
                  <a:pt x="880746" y="2209800"/>
                </a:lnTo>
                <a:lnTo>
                  <a:pt x="333884" y="2209800"/>
                </a:lnTo>
                <a:cubicBezTo>
                  <a:pt x="263717" y="2209800"/>
                  <a:pt x="206884" y="2152968"/>
                  <a:pt x="206884" y="2082800"/>
                </a:cubicBezTo>
                <a:lnTo>
                  <a:pt x="206884" y="1697800"/>
                </a:lnTo>
                <a:cubicBezTo>
                  <a:pt x="206884" y="1640650"/>
                  <a:pt x="160783" y="1594358"/>
                  <a:pt x="103443" y="1594358"/>
                </a:cubicBezTo>
                <a:cubicBezTo>
                  <a:pt x="46102" y="1594358"/>
                  <a:pt x="-316" y="1547749"/>
                  <a:pt x="2" y="1490409"/>
                </a:cubicBezTo>
                <a:lnTo>
                  <a:pt x="4001" y="716280"/>
                </a:lnTo>
                <a:cubicBezTo>
                  <a:pt x="4319" y="660464"/>
                  <a:pt x="49404" y="615378"/>
                  <a:pt x="105411" y="615378"/>
                </a:cubicBezTo>
                <a:cubicBezTo>
                  <a:pt x="161418" y="615378"/>
                  <a:pt x="206821" y="569976"/>
                  <a:pt x="206821" y="513969"/>
                </a:cubicBezTo>
                <a:lnTo>
                  <a:pt x="206821" y="127000"/>
                </a:lnTo>
                <a:cubicBezTo>
                  <a:pt x="206821" y="56833"/>
                  <a:pt x="263653" y="0"/>
                  <a:pt x="333821" y="0"/>
                </a:cubicBez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Tree>
    <p:extLst>
      <p:ext uri="{BB962C8B-B14F-4D97-AF65-F5344CB8AC3E}">
        <p14:creationId xmlns:p14="http://schemas.microsoft.com/office/powerpoint/2010/main" val="3532524149"/>
      </p:ext>
    </p:extLst>
  </p:cSld>
  <p:clrMapOvr>
    <a:masterClrMapping/>
  </p:clrMapOvr>
  <p:extLst>
    <p:ext uri="{DCECCB84-F9BA-43D5-87BE-67443E8EF086}">
      <p15:sldGuideLst xmlns:p15="http://schemas.microsoft.com/office/powerpoint/2012/main">
        <p15:guide id="1" orient="horz" pos="572">
          <p15:clr>
            <a:srgbClr val="FBAE40"/>
          </p15:clr>
        </p15:guide>
        <p15:guide id="2" pos="438">
          <p15:clr>
            <a:srgbClr val="FBAE40"/>
          </p15:clr>
        </p15:guide>
        <p15:guide id="3" pos="728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met tekst en tekst">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p:nvPicPr>
        <p:blipFill>
          <a:blip r:embed="rId2"/>
          <a:stretch>
            <a:fillRect/>
          </a:stretch>
        </p:blipFill>
        <p:spPr>
          <a:xfrm>
            <a:off x="10335003" y="-1525"/>
            <a:ext cx="1862049" cy="1671070"/>
          </a:xfrm>
          <a:prstGeom prst="rect">
            <a:avLst/>
          </a:prstGeom>
          <a:ln w="12700">
            <a:miter lim="400000"/>
          </a:ln>
        </p:spPr>
      </p:pic>
      <p:pic>
        <p:nvPicPr>
          <p:cNvPr id="5" name="Picture 4">
            <a:extLst>
              <a:ext uri="{FF2B5EF4-FFF2-40B4-BE49-F238E27FC236}">
                <a16:creationId xmlns:a16="http://schemas.microsoft.com/office/drawing/2014/main" id="{72FD96E4-D44C-3C48-A1D5-1732CA45C16D}"/>
              </a:ext>
            </a:extLst>
          </p:cNvPr>
          <p:cNvPicPr>
            <a:picLocks noChangeAspect="1"/>
          </p:cNvPicPr>
          <p:nvPr/>
        </p:nvPicPr>
        <p:blipFill>
          <a:blip r:embed="rId3"/>
          <a:stretch>
            <a:fillRect/>
          </a:stretch>
        </p:blipFill>
        <p:spPr>
          <a:xfrm>
            <a:off x="9731" y="1739565"/>
            <a:ext cx="12192000" cy="51771"/>
          </a:xfrm>
          <a:prstGeom prst="rect">
            <a:avLst/>
          </a:prstGeom>
        </p:spPr>
      </p:pic>
      <p:sp>
        <p:nvSpPr>
          <p:cNvPr id="7" name="Tijdelijke aanduiding voor dianummer 2">
            <a:extLst>
              <a:ext uri="{FF2B5EF4-FFF2-40B4-BE49-F238E27FC236}">
                <a16:creationId xmlns:a16="http://schemas.microsoft.com/office/drawing/2014/main" id="{0788763F-0171-B7DF-1D17-A8141B70F188}"/>
              </a:ext>
            </a:extLst>
          </p:cNvPr>
          <p:cNvSpPr txBox="1">
            <a:spLocks/>
          </p:cNvSpPr>
          <p:nvPr userDrawn="1"/>
        </p:nvSpPr>
        <p:spPr>
          <a:xfrm>
            <a:off x="11465560" y="6573205"/>
            <a:ext cx="559101" cy="175775"/>
          </a:xfrm>
          <a:prstGeom prst="rect">
            <a:avLst/>
          </a:prstGeom>
        </p:spPr>
        <p:txBody>
          <a:bodyPr anchor="ctr" anchorCtr="0"/>
          <a:lstStyle>
            <a:defPPr>
              <a:defRPr lang="en-US"/>
            </a:defPPr>
            <a:lvl1pPr marL="0" algn="l" defTabSz="914400" rtl="0" eaLnBrk="1" latinLnBrk="0" hangingPunct="1">
              <a:defRPr sz="800" i="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sz="1000" b="1" i="0">
                <a:solidFill>
                  <a:schemeClr val="accent1"/>
                </a:solidFill>
                <a:latin typeface="Muli" panose="00000500000000000000" pitchFamily="2" charset="0"/>
              </a:rPr>
              <a:t>|  </a:t>
            </a:r>
            <a:fld id="{45E449D3-B577-44D2-89AE-17D980B37AF7}" type="slidenum">
              <a:rPr lang="nl-NL" sz="1000" b="1" i="0" smtClean="0">
                <a:solidFill>
                  <a:schemeClr val="accent1"/>
                </a:solidFill>
                <a:latin typeface="Muli" panose="00000500000000000000" pitchFamily="2" charset="0"/>
              </a:rPr>
              <a:pPr algn="r"/>
              <a:t>‹#›</a:t>
            </a:fld>
            <a:r>
              <a:rPr lang="nl-NL" sz="1000" i="0">
                <a:solidFill>
                  <a:schemeClr val="bg2"/>
                </a:solidFill>
                <a:latin typeface="Muli" panose="00000500000000000000" pitchFamily="2" charset="0"/>
              </a:rPr>
              <a:t> </a:t>
            </a:r>
          </a:p>
        </p:txBody>
      </p:sp>
      <p:sp>
        <p:nvSpPr>
          <p:cNvPr id="11" name="Tijdelijke aanduiding voor tekst 10">
            <a:extLst>
              <a:ext uri="{FF2B5EF4-FFF2-40B4-BE49-F238E27FC236}">
                <a16:creationId xmlns:a16="http://schemas.microsoft.com/office/drawing/2014/main" id="{E5AE5DC9-8F4D-ACF8-BD70-62E853ACAEA7}"/>
              </a:ext>
            </a:extLst>
          </p:cNvPr>
          <p:cNvSpPr>
            <a:spLocks noGrp="1"/>
          </p:cNvSpPr>
          <p:nvPr>
            <p:ph type="body" sz="quarter" idx="14" hasCustomPrompt="1"/>
          </p:nvPr>
        </p:nvSpPr>
        <p:spPr>
          <a:xfrm>
            <a:off x="7485062" y="6573205"/>
            <a:ext cx="4183697" cy="175775"/>
          </a:xfrm>
          <a:prstGeom prst="rect">
            <a:avLst/>
          </a:prstGeom>
        </p:spPr>
        <p:txBody>
          <a:bodyPr anchor="ctr">
            <a:noAutofit/>
          </a:bodyPr>
          <a:lstStyle>
            <a:lvl1pPr marL="0" indent="0" algn="r">
              <a:buNone/>
              <a:defRPr sz="1000">
                <a:solidFill>
                  <a:schemeClr val="accent1"/>
                </a:solidFill>
              </a:defRPr>
            </a:lvl1pPr>
            <a:lvl2pPr marL="457200" indent="0" algn="r">
              <a:buNone/>
              <a:defRPr sz="1000">
                <a:solidFill>
                  <a:schemeClr val="accent1"/>
                </a:solidFill>
              </a:defRPr>
            </a:lvl2pPr>
            <a:lvl3pPr marL="914400" indent="0" algn="r">
              <a:buNone/>
              <a:defRPr sz="1000">
                <a:solidFill>
                  <a:schemeClr val="accent1"/>
                </a:solidFill>
              </a:defRPr>
            </a:lvl3pPr>
            <a:lvl4pPr marL="1371600" indent="0" algn="r">
              <a:buNone/>
              <a:defRPr sz="1000">
                <a:solidFill>
                  <a:schemeClr val="accent1"/>
                </a:solidFill>
              </a:defRPr>
            </a:lvl4pPr>
            <a:lvl5pPr marL="1828800" indent="0" algn="r">
              <a:buNone/>
              <a:defRPr sz="1000">
                <a:solidFill>
                  <a:schemeClr val="accent1"/>
                </a:solidFill>
              </a:defRPr>
            </a:lvl5pPr>
          </a:lstStyle>
          <a:p>
            <a:pPr lvl="0"/>
            <a:r>
              <a:rPr lang="nl-NL"/>
              <a:t>Hoofdstuk aanduiding</a:t>
            </a:r>
          </a:p>
        </p:txBody>
      </p:sp>
      <p:sp>
        <p:nvSpPr>
          <p:cNvPr id="18" name="Title 1">
            <a:extLst>
              <a:ext uri="{FF2B5EF4-FFF2-40B4-BE49-F238E27FC236}">
                <a16:creationId xmlns:a16="http://schemas.microsoft.com/office/drawing/2014/main" id="{F048D936-B5FE-F7E2-0EC2-347242C94B09}"/>
              </a:ext>
            </a:extLst>
          </p:cNvPr>
          <p:cNvSpPr>
            <a:spLocks noGrp="1"/>
          </p:cNvSpPr>
          <p:nvPr>
            <p:ph type="title"/>
          </p:nvPr>
        </p:nvSpPr>
        <p:spPr>
          <a:xfrm>
            <a:off x="850426" y="414000"/>
            <a:ext cx="10512000" cy="659829"/>
          </a:xfrm>
          <a:prstGeom prst="rect">
            <a:avLst/>
          </a:prstGeom>
        </p:spPr>
        <p:txBody>
          <a:bodyPr>
            <a:normAutofit/>
          </a:bodyPr>
          <a:lstStyle>
            <a:lvl1pPr>
              <a:defRPr sz="3600"/>
            </a:lvl1pPr>
          </a:lstStyle>
          <a:p>
            <a:r>
              <a:rPr lang="en-US"/>
              <a:t>Click to edit Master title style</a:t>
            </a:r>
          </a:p>
        </p:txBody>
      </p:sp>
      <p:sp>
        <p:nvSpPr>
          <p:cNvPr id="20" name="Text Placeholder 13">
            <a:extLst>
              <a:ext uri="{FF2B5EF4-FFF2-40B4-BE49-F238E27FC236}">
                <a16:creationId xmlns:a16="http://schemas.microsoft.com/office/drawing/2014/main" id="{A0AFFE21-2944-5790-817F-E313FBF5F504}"/>
              </a:ext>
            </a:extLst>
          </p:cNvPr>
          <p:cNvSpPr>
            <a:spLocks noGrp="1"/>
          </p:cNvSpPr>
          <p:nvPr>
            <p:ph type="body" sz="quarter" idx="11" hasCustomPrompt="1"/>
          </p:nvPr>
        </p:nvSpPr>
        <p:spPr>
          <a:xfrm>
            <a:off x="850426" y="1080000"/>
            <a:ext cx="10512000" cy="431800"/>
          </a:xfrm>
          <a:prstGeom prst="rect">
            <a:avLst/>
          </a:prstGeom>
        </p:spPr>
        <p:txBody>
          <a:bodyPr>
            <a:noAutofit/>
          </a:bodyPr>
          <a:lstStyle>
            <a:lvl1pPr marL="0" indent="0">
              <a:buNone/>
              <a:defRPr sz="2400">
                <a:solidFill>
                  <a:schemeClr val="bg2"/>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sp>
        <p:nvSpPr>
          <p:cNvPr id="21" name="Content Placeholder 7">
            <a:extLst>
              <a:ext uri="{FF2B5EF4-FFF2-40B4-BE49-F238E27FC236}">
                <a16:creationId xmlns:a16="http://schemas.microsoft.com/office/drawing/2014/main" id="{5D587243-DFC4-CB66-7356-2C1211B7CF33}"/>
              </a:ext>
            </a:extLst>
          </p:cNvPr>
          <p:cNvSpPr>
            <a:spLocks noGrp="1"/>
          </p:cNvSpPr>
          <p:nvPr>
            <p:ph sz="quarter" idx="12"/>
          </p:nvPr>
        </p:nvSpPr>
        <p:spPr>
          <a:xfrm>
            <a:off x="849600" y="1990800"/>
            <a:ext cx="5076000" cy="41751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7">
            <a:extLst>
              <a:ext uri="{FF2B5EF4-FFF2-40B4-BE49-F238E27FC236}">
                <a16:creationId xmlns:a16="http://schemas.microsoft.com/office/drawing/2014/main" id="{4E0C37F4-0542-F8E8-9540-386311F29C4F}"/>
              </a:ext>
            </a:extLst>
          </p:cNvPr>
          <p:cNvSpPr>
            <a:spLocks noGrp="1"/>
          </p:cNvSpPr>
          <p:nvPr>
            <p:ph sz="quarter" idx="17"/>
          </p:nvPr>
        </p:nvSpPr>
        <p:spPr>
          <a:xfrm>
            <a:off x="6286426" y="1990800"/>
            <a:ext cx="5076000" cy="41751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jdelijke aanduiding voor tekst 12" descr="Bronvermelding">
            <a:extLst>
              <a:ext uri="{FF2B5EF4-FFF2-40B4-BE49-F238E27FC236}">
                <a16:creationId xmlns:a16="http://schemas.microsoft.com/office/drawing/2014/main" id="{2E17C0F8-C15E-D95E-2B13-C0BBCE03F51F}"/>
              </a:ext>
            </a:extLst>
          </p:cNvPr>
          <p:cNvSpPr>
            <a:spLocks noGrp="1"/>
          </p:cNvSpPr>
          <p:nvPr>
            <p:ph type="body" sz="quarter" idx="16"/>
          </p:nvPr>
        </p:nvSpPr>
        <p:spPr>
          <a:xfrm>
            <a:off x="6284912" y="6197600"/>
            <a:ext cx="5077514" cy="169377"/>
          </a:xfrm>
          <a:prstGeom prst="rect">
            <a:avLst/>
          </a:prstGeom>
        </p:spPr>
        <p:txBody>
          <a:bodyPr anchor="ctr"/>
          <a:lstStyle>
            <a:lvl1pPr marL="0" indent="0" algn="r">
              <a:buNone/>
              <a:defRPr sz="1000" i="1">
                <a:solidFill>
                  <a:schemeClr val="bg2"/>
                </a:solidFill>
              </a:defRPr>
            </a:lvl1pPr>
            <a:lvl2pPr marL="457200" indent="0" algn="r">
              <a:buNone/>
              <a:defRPr sz="1000" i="1">
                <a:solidFill>
                  <a:schemeClr val="bg2"/>
                </a:solidFill>
              </a:defRPr>
            </a:lvl2pPr>
            <a:lvl3pPr marL="914400" indent="0" algn="r">
              <a:buNone/>
              <a:defRPr sz="1000" i="1">
                <a:solidFill>
                  <a:schemeClr val="bg2"/>
                </a:solidFill>
              </a:defRPr>
            </a:lvl3pPr>
            <a:lvl4pPr marL="1371600" indent="0" algn="r">
              <a:buNone/>
              <a:defRPr sz="1000" i="1">
                <a:solidFill>
                  <a:schemeClr val="bg2"/>
                </a:solidFill>
              </a:defRPr>
            </a:lvl4pPr>
            <a:lvl5pPr marL="1828800" indent="0" algn="r">
              <a:buNone/>
              <a:defRPr sz="1000" i="1">
                <a:solidFill>
                  <a:schemeClr val="bg2"/>
                </a:solidFill>
              </a:defRPr>
            </a:lvl5pPr>
          </a:lstStyle>
          <a:p>
            <a:pPr lvl="0"/>
            <a:r>
              <a:rPr lang="nl-NL"/>
              <a:t>Klikken om de tekststijl van het model te bewerken</a:t>
            </a:r>
          </a:p>
        </p:txBody>
      </p:sp>
    </p:spTree>
    <p:extLst>
      <p:ext uri="{BB962C8B-B14F-4D97-AF65-F5344CB8AC3E}">
        <p14:creationId xmlns:p14="http://schemas.microsoft.com/office/powerpoint/2010/main" val="3032150425"/>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guide id="3" orient="horz" pos="22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en grafiek/tabel">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695324" y="2744787"/>
            <a:ext cx="5148000" cy="28800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a:extLst>
              <a:ext uri="{FF2B5EF4-FFF2-40B4-BE49-F238E27FC236}">
                <a16:creationId xmlns:a16="http://schemas.microsoft.com/office/drawing/2014/main" id="{FF3B1F70-8B1E-6DA8-9F21-4C8B113B95A7}"/>
              </a:ext>
            </a:extLst>
          </p:cNvPr>
          <p:cNvSpPr>
            <a:spLocks noGrp="1"/>
          </p:cNvSpPr>
          <p:nvPr>
            <p:ph type="title" hasCustomPrompt="1"/>
          </p:nvPr>
        </p:nvSpPr>
        <p:spPr/>
        <p:txBody>
          <a:bodyPr/>
          <a:lstStyle>
            <a:lvl1pPr>
              <a:defRPr/>
            </a:lvl1pPr>
          </a:lstStyle>
          <a:p>
            <a:r>
              <a:rPr lang="nl-NL"/>
              <a:t>Titel</a:t>
            </a:r>
            <a:endParaRPr lang="nl-NL" dirty="0"/>
          </a:p>
        </p:txBody>
      </p:sp>
      <p:sp>
        <p:nvSpPr>
          <p:cNvPr id="8" name="Tijdelijke aanduiding voor inhoud 7">
            <a:extLst>
              <a:ext uri="{FF2B5EF4-FFF2-40B4-BE49-F238E27FC236}">
                <a16:creationId xmlns:a16="http://schemas.microsoft.com/office/drawing/2014/main" id="{4865FA58-AE6F-92E5-6725-AE237036B5AC}"/>
              </a:ext>
            </a:extLst>
          </p:cNvPr>
          <p:cNvSpPr>
            <a:spLocks noGrp="1"/>
          </p:cNvSpPr>
          <p:nvPr>
            <p:ph sz="quarter" idx="14" hasCustomPrompt="1"/>
          </p:nvPr>
        </p:nvSpPr>
        <p:spPr>
          <a:xfrm>
            <a:off x="6420113" y="2744788"/>
            <a:ext cx="5148000" cy="2880000"/>
          </a:xfrm>
        </p:spPr>
        <p:txBody>
          <a:bodyPr/>
          <a:lstStyle>
            <a:lvl1pPr>
              <a:defRPr/>
            </a:lvl1pPr>
          </a:lstStyle>
          <a:p>
            <a:pPr lvl="0"/>
            <a:r>
              <a:rPr lang="nl-NL" dirty="0"/>
              <a:t>Klik op het corresponderende icoon om een tabel of grafiek in te voegen</a:t>
            </a:r>
          </a:p>
          <a:p>
            <a:pPr lvl="1"/>
            <a:r>
              <a:rPr lang="nl-NL" dirty="0"/>
              <a:t>Tweede niveau</a:t>
            </a:r>
          </a:p>
          <a:p>
            <a:pPr lvl="2"/>
            <a:r>
              <a:rPr lang="nl-NL" dirty="0"/>
              <a:t>Derde niveau</a:t>
            </a:r>
          </a:p>
          <a:p>
            <a:pPr lvl="3"/>
            <a:r>
              <a:rPr lang="nl-NL" dirty="0"/>
              <a:t>Vierde niveau</a:t>
            </a:r>
          </a:p>
          <a:p>
            <a:pPr lvl="4"/>
            <a:r>
              <a:rPr lang="nl-NL" dirty="0"/>
              <a:t>Vijfde niveau</a:t>
            </a:r>
          </a:p>
        </p:txBody>
      </p:sp>
      <p:pic>
        <p:nvPicPr>
          <p:cNvPr id="13" name="Afbeelding 12">
            <a:extLst>
              <a:ext uri="{FF2B5EF4-FFF2-40B4-BE49-F238E27FC236}">
                <a16:creationId xmlns:a16="http://schemas.microsoft.com/office/drawing/2014/main" id="{290DC24E-08A4-D3B8-F53A-ECD870D2BAF9}"/>
              </a:ext>
            </a:extLst>
          </p:cNvPr>
          <p:cNvPicPr>
            <a:picLocks noChangeAspect="1"/>
          </p:cNvPicPr>
          <p:nvPr userDrawn="1"/>
        </p:nvPicPr>
        <p:blipFill>
          <a:blip r:embed="rId2"/>
          <a:stretch>
            <a:fillRect/>
          </a:stretch>
        </p:blipFill>
        <p:spPr>
          <a:xfrm>
            <a:off x="-1731414" y="2744787"/>
            <a:ext cx="1731414" cy="2853175"/>
          </a:xfrm>
          <a:prstGeom prst="rect">
            <a:avLst/>
          </a:prstGeom>
        </p:spPr>
      </p:pic>
    </p:spTree>
    <p:extLst>
      <p:ext uri="{BB962C8B-B14F-4D97-AF65-F5344CB8AC3E}">
        <p14:creationId xmlns:p14="http://schemas.microsoft.com/office/powerpoint/2010/main" val="838957980"/>
      </p:ext>
    </p:extLst>
  </p:cSld>
  <p:clrMapOvr>
    <a:masterClrMapping/>
  </p:clrMapOvr>
  <p:extLst>
    <p:ext uri="{DCECCB84-F9BA-43D5-87BE-67443E8EF086}">
      <p15:sldGuideLst xmlns:p15="http://schemas.microsoft.com/office/powerpoint/2012/main">
        <p15:guide id="1" orient="horz" pos="1729">
          <p15:clr>
            <a:srgbClr val="FBAE40"/>
          </p15:clr>
        </p15:guide>
        <p15:guide id="2" pos="438">
          <p15:clr>
            <a:srgbClr val="FBAE40"/>
          </p15:clr>
        </p15:guide>
        <p15:guide id="3" pos="728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lleen titel - 1">
    <p:spTree>
      <p:nvGrpSpPr>
        <p:cNvPr id="1" name=""/>
        <p:cNvGrpSpPr/>
        <p:nvPr/>
      </p:nvGrpSpPr>
      <p:grpSpPr>
        <a:xfrm>
          <a:off x="0" y="0"/>
          <a:ext cx="0" cy="0"/>
          <a:chOff x="0" y="0"/>
          <a:chExt cx="0" cy="0"/>
        </a:xfrm>
      </p:grpSpPr>
      <p:sp>
        <p:nvSpPr>
          <p:cNvPr id="8" name="Vrije vorm: vorm 7">
            <a:extLst>
              <a:ext uri="{FF2B5EF4-FFF2-40B4-BE49-F238E27FC236}">
                <a16:creationId xmlns:a16="http://schemas.microsoft.com/office/drawing/2014/main" id="{D94C0A5D-59B9-0BE2-50E9-11C2BB9FF121}"/>
              </a:ext>
            </a:extLst>
          </p:cNvPr>
          <p:cNvSpPr>
            <a:spLocks noGrp="1" noRot="1" noMove="1" noResize="1" noEditPoints="1" noAdjustHandles="1" noChangeArrowheads="1" noChangeShapeType="1"/>
          </p:cNvSpPr>
          <p:nvPr/>
        </p:nvSpPr>
        <p:spPr>
          <a:xfrm>
            <a:off x="63626"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11433048 w 12064873"/>
              <a:gd name="connsiteY14" fmla="*/ 6223000 h 6731000"/>
              <a:gd name="connsiteX15" fmla="*/ 11306048 w 12064873"/>
              <a:gd name="connsiteY15" fmla="*/ 6350000 h 6731000"/>
              <a:gd name="connsiteX16" fmla="*/ 11306048 w 12064873"/>
              <a:gd name="connsiteY16" fmla="*/ 6604000 h 6731000"/>
              <a:gd name="connsiteX17" fmla="*/ 11179048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11433048" y="6223000"/>
                </a:lnTo>
                <a:cubicBezTo>
                  <a:pt x="11362880" y="6223000"/>
                  <a:pt x="11306048" y="6279833"/>
                  <a:pt x="11306048" y="6350000"/>
                </a:cubicBezTo>
                <a:lnTo>
                  <a:pt x="11306048" y="6604000"/>
                </a:lnTo>
                <a:cubicBezTo>
                  <a:pt x="11306048" y="6674168"/>
                  <a:pt x="11249216" y="6731000"/>
                  <a:pt x="11179048" y="6731000"/>
                </a:cubicBezTo>
                <a:lnTo>
                  <a:pt x="133096" y="6731000"/>
                </a:lnTo>
                <a:cubicBezTo>
                  <a:pt x="62992" y="6731000"/>
                  <a:pt x="6160" y="6674232"/>
                  <a:pt x="6096" y="6604127"/>
                </a:cubicBezTo>
                <a:lnTo>
                  <a:pt x="0" y="806577"/>
                </a:lnTo>
                <a:close/>
              </a:path>
            </a:pathLst>
          </a:custGeom>
          <a:solidFill>
            <a:schemeClr val="bg1"/>
          </a:solidFill>
          <a:ln w="0" cap="flat">
            <a:noFill/>
            <a:prstDash val="solid"/>
            <a:miter/>
          </a:ln>
        </p:spPr>
        <p:txBody>
          <a:bodyPr rtlCol="0" anchor="ctr"/>
          <a:lstStyle/>
          <a:p>
            <a:endParaRPr lang="nl-NL" dirty="0"/>
          </a:p>
        </p:txBody>
      </p:sp>
      <p:sp>
        <p:nvSpPr>
          <p:cNvPr id="4" name="Tijdelijke aanduiding voor voettekst 3">
            <a:extLst>
              <a:ext uri="{FF2B5EF4-FFF2-40B4-BE49-F238E27FC236}">
                <a16:creationId xmlns:a16="http://schemas.microsoft.com/office/drawing/2014/main" id="{55EA9843-550B-D8F8-794A-178E81DD9C2B}"/>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C4757F9E-3BBF-D0FF-CFA1-A33581CFD1BD}"/>
              </a:ext>
            </a:extLst>
          </p:cNvPr>
          <p:cNvSpPr>
            <a:spLocks noGrp="1"/>
          </p:cNvSpPr>
          <p:nvPr>
            <p:ph type="sldNum" sz="quarter" idx="12"/>
          </p:nvPr>
        </p:nvSpPr>
        <p:spPr>
          <a:xfrm>
            <a:off x="11568113" y="6469662"/>
            <a:ext cx="219611" cy="138499"/>
          </a:xfrm>
        </p:spPr>
        <p:txBody>
          <a:bodyPr/>
          <a:lstStyle/>
          <a:p>
            <a:fld id="{DD6527FB-D334-4076-8B97-2824752A4342}" type="slidenum">
              <a:rPr lang="nl-NL" smtClean="0"/>
              <a:t>‹#›</a:t>
            </a:fld>
            <a:endParaRPr lang="nl-NL" dirty="0"/>
          </a:p>
        </p:txBody>
      </p:sp>
      <p:sp>
        <p:nvSpPr>
          <p:cNvPr id="6" name="Titel 5">
            <a:extLst>
              <a:ext uri="{FF2B5EF4-FFF2-40B4-BE49-F238E27FC236}">
                <a16:creationId xmlns:a16="http://schemas.microsoft.com/office/drawing/2014/main" id="{9D224E02-4F43-8B35-2EA3-70B8C5607D20}"/>
              </a:ext>
            </a:extLst>
          </p:cNvPr>
          <p:cNvSpPr>
            <a:spLocks noGrp="1"/>
          </p:cNvSpPr>
          <p:nvPr>
            <p:ph type="title" hasCustomPrompt="1"/>
          </p:nvPr>
        </p:nvSpPr>
        <p:spPr>
          <a:xfrm>
            <a:off x="152997" y="3177008"/>
            <a:ext cx="4680000" cy="503984"/>
          </a:xfrm>
        </p:spPr>
        <p:txBody>
          <a:bodyPr anchor="ctr" anchorCtr="0"/>
          <a:lstStyle>
            <a:lvl1pPr>
              <a:defRPr/>
            </a:lvl1pPr>
          </a:lstStyle>
          <a:p>
            <a:r>
              <a:rPr lang="nl-NL" dirty="0"/>
              <a:t>Titel</a:t>
            </a:r>
          </a:p>
        </p:txBody>
      </p:sp>
      <p:pic>
        <p:nvPicPr>
          <p:cNvPr id="10" name="Logo">
            <a:extLst>
              <a:ext uri="{FF2B5EF4-FFF2-40B4-BE49-F238E27FC236}">
                <a16:creationId xmlns:a16="http://schemas.microsoft.com/office/drawing/2014/main" id="{5B1D227C-53AB-7CDD-6B4B-3E98010D77A7}"/>
              </a:ext>
            </a:extLst>
          </p:cNvPr>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Tree>
    <p:extLst>
      <p:ext uri="{BB962C8B-B14F-4D97-AF65-F5344CB8AC3E}">
        <p14:creationId xmlns:p14="http://schemas.microsoft.com/office/powerpoint/2010/main" val="3348539426"/>
      </p:ext>
    </p:extLst>
  </p:cSld>
  <p:clrMapOvr>
    <a:masterClrMapping/>
  </p:clrMapOvr>
  <p:extLst>
    <p:ext uri="{DCECCB84-F9BA-43D5-87BE-67443E8EF086}">
      <p15:sldGuideLst xmlns:p15="http://schemas.microsoft.com/office/powerpoint/2012/main">
        <p15:guide id="1" orient="horz" pos="663">
          <p15:clr>
            <a:srgbClr val="FBAE40"/>
          </p15:clr>
        </p15:guide>
        <p15:guide id="2" pos="98">
          <p15:clr>
            <a:srgbClr val="FBAE40"/>
          </p15:clr>
        </p15:guide>
        <p15:guide id="3" pos="7287">
          <p15:clr>
            <a:srgbClr val="FBAE40"/>
          </p15:clr>
        </p15:guide>
        <p15:guide id="4" orient="horz" pos="365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lleen titel - 2">
    <p:spTree>
      <p:nvGrpSpPr>
        <p:cNvPr id="1" name=""/>
        <p:cNvGrpSpPr/>
        <p:nvPr/>
      </p:nvGrpSpPr>
      <p:grpSpPr>
        <a:xfrm>
          <a:off x="0" y="0"/>
          <a:ext cx="0" cy="0"/>
          <a:chOff x="0" y="0"/>
          <a:chExt cx="0" cy="0"/>
        </a:xfrm>
      </p:grpSpPr>
      <p:sp>
        <p:nvSpPr>
          <p:cNvPr id="7" name="Vrije vorm: vorm 6">
            <a:extLst>
              <a:ext uri="{FF2B5EF4-FFF2-40B4-BE49-F238E27FC236}">
                <a16:creationId xmlns:a16="http://schemas.microsoft.com/office/drawing/2014/main" id="{E7C18C33-0B1F-4E21-2734-5009925F4EB0}"/>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11433048 w 12064873"/>
              <a:gd name="connsiteY14" fmla="*/ 6223000 h 6731000"/>
              <a:gd name="connsiteX15" fmla="*/ 11306048 w 12064873"/>
              <a:gd name="connsiteY15" fmla="*/ 6350000 h 6731000"/>
              <a:gd name="connsiteX16" fmla="*/ 11306048 w 12064873"/>
              <a:gd name="connsiteY16" fmla="*/ 6604000 h 6731000"/>
              <a:gd name="connsiteX17" fmla="*/ 11179048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11433048" y="6223000"/>
                </a:lnTo>
                <a:cubicBezTo>
                  <a:pt x="11362880" y="6223000"/>
                  <a:pt x="11306048" y="6279833"/>
                  <a:pt x="11306048" y="6350000"/>
                </a:cubicBezTo>
                <a:lnTo>
                  <a:pt x="11306048" y="6604000"/>
                </a:lnTo>
                <a:cubicBezTo>
                  <a:pt x="11306048" y="6674168"/>
                  <a:pt x="11249216" y="6731000"/>
                  <a:pt x="11179048" y="6731000"/>
                </a:cubicBezTo>
                <a:lnTo>
                  <a:pt x="133096" y="6731000"/>
                </a:lnTo>
                <a:cubicBezTo>
                  <a:pt x="62992" y="6731000"/>
                  <a:pt x="6160" y="6674232"/>
                  <a:pt x="6096" y="6604127"/>
                </a:cubicBezTo>
                <a:lnTo>
                  <a:pt x="0" y="806577"/>
                </a:lnTo>
                <a:close/>
              </a:path>
            </a:pathLst>
          </a:custGeom>
          <a:solidFill>
            <a:srgbClr val="212154"/>
          </a:solidFill>
          <a:ln w="0" cap="flat">
            <a:noFill/>
            <a:prstDash val="solid"/>
            <a:miter/>
          </a:ln>
        </p:spPr>
        <p:txBody>
          <a:bodyPr rtlCol="0" anchor="ctr"/>
          <a:lstStyle/>
          <a:p>
            <a:endParaRPr lang="nl-NL" dirty="0"/>
          </a:p>
        </p:txBody>
      </p:sp>
      <p:pic>
        <p:nvPicPr>
          <p:cNvPr id="3" name="Logo">
            <a:extLst>
              <a:ext uri="{FF2B5EF4-FFF2-40B4-BE49-F238E27FC236}">
                <a16:creationId xmlns:a16="http://schemas.microsoft.com/office/drawing/2014/main" id="{2970608C-20F7-D86D-2C69-09FECC61B3A0}"/>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4" name="Tijdelijke aanduiding voor voettekst 3">
            <a:extLst>
              <a:ext uri="{FF2B5EF4-FFF2-40B4-BE49-F238E27FC236}">
                <a16:creationId xmlns:a16="http://schemas.microsoft.com/office/drawing/2014/main" id="{55EA9843-550B-D8F8-794A-178E81DD9C2B}"/>
              </a:ext>
            </a:extLst>
          </p:cNvPr>
          <p:cNvSpPr>
            <a:spLocks noGrp="1"/>
          </p:cNvSpPr>
          <p:nvPr>
            <p:ph type="ftr" sz="quarter" idx="11"/>
          </p:nvPr>
        </p:nvSpPr>
        <p:spPr/>
        <p:txBody>
          <a:bodyPr/>
          <a:lstStyle>
            <a:lvl1pPr>
              <a:defRPr>
                <a:solidFill>
                  <a:schemeClr val="bg1"/>
                </a:solidFill>
              </a:defRPr>
            </a:lvl1pPr>
          </a:lstStyle>
          <a:p>
            <a:endParaRPr lang="nl-NL" dirty="0"/>
          </a:p>
        </p:txBody>
      </p:sp>
      <p:sp>
        <p:nvSpPr>
          <p:cNvPr id="5" name="Tijdelijke aanduiding voor dianummer 4">
            <a:extLst>
              <a:ext uri="{FF2B5EF4-FFF2-40B4-BE49-F238E27FC236}">
                <a16:creationId xmlns:a16="http://schemas.microsoft.com/office/drawing/2014/main" id="{C4757F9E-3BBF-D0FF-CFA1-A33581CFD1BD}"/>
              </a:ext>
            </a:extLst>
          </p:cNvPr>
          <p:cNvSpPr>
            <a:spLocks noGrp="1"/>
          </p:cNvSpPr>
          <p:nvPr>
            <p:ph type="sldNum" sz="quarter" idx="12"/>
          </p:nvPr>
        </p:nvSpPr>
        <p:spPr>
          <a:xfrm>
            <a:off x="11568113" y="6469662"/>
            <a:ext cx="219611" cy="138499"/>
          </a:xfrm>
        </p:spPr>
        <p:txBody>
          <a:bodyPr/>
          <a:lstStyle>
            <a:lvl1pPr>
              <a:defRPr>
                <a:solidFill>
                  <a:schemeClr val="tx2"/>
                </a:solidFill>
              </a:defRPr>
            </a:lvl1pPr>
          </a:lstStyle>
          <a:p>
            <a:fld id="{DD6527FB-D334-4076-8B97-2824752A4342}" type="slidenum">
              <a:rPr lang="nl-NL" smtClean="0"/>
              <a:pPr/>
              <a:t>‹#›</a:t>
            </a:fld>
            <a:endParaRPr lang="nl-NL" dirty="0"/>
          </a:p>
        </p:txBody>
      </p:sp>
      <p:sp>
        <p:nvSpPr>
          <p:cNvPr id="6" name="Titel 5">
            <a:extLst>
              <a:ext uri="{FF2B5EF4-FFF2-40B4-BE49-F238E27FC236}">
                <a16:creationId xmlns:a16="http://schemas.microsoft.com/office/drawing/2014/main" id="{9D224E02-4F43-8B35-2EA3-70B8C5607D20}"/>
              </a:ext>
            </a:extLst>
          </p:cNvPr>
          <p:cNvSpPr>
            <a:spLocks noGrp="1"/>
          </p:cNvSpPr>
          <p:nvPr>
            <p:ph type="title" hasCustomPrompt="1"/>
          </p:nvPr>
        </p:nvSpPr>
        <p:spPr>
          <a:xfrm>
            <a:off x="152997" y="3177008"/>
            <a:ext cx="4680000" cy="503984"/>
          </a:xfrm>
        </p:spPr>
        <p:txBody>
          <a:bodyPr anchor="ctr" anchorCtr="0"/>
          <a:lstStyle>
            <a:lvl1pPr>
              <a:defRPr>
                <a:solidFill>
                  <a:schemeClr val="bg1"/>
                </a:solidFill>
              </a:defRPr>
            </a:lvl1pPr>
          </a:lstStyle>
          <a:p>
            <a:r>
              <a:rPr lang="nl-NL" dirty="0"/>
              <a:t>Titel</a:t>
            </a:r>
          </a:p>
        </p:txBody>
      </p:sp>
    </p:spTree>
    <p:extLst>
      <p:ext uri="{BB962C8B-B14F-4D97-AF65-F5344CB8AC3E}">
        <p14:creationId xmlns:p14="http://schemas.microsoft.com/office/powerpoint/2010/main" val="3100416503"/>
      </p:ext>
    </p:extLst>
  </p:cSld>
  <p:clrMapOvr>
    <a:masterClrMapping/>
  </p:clrMapOvr>
  <p:extLst>
    <p:ext uri="{DCECCB84-F9BA-43D5-87BE-67443E8EF086}">
      <p15:sldGuideLst xmlns:p15="http://schemas.microsoft.com/office/powerpoint/2012/main">
        <p15:guide id="1" orient="horz" pos="663">
          <p15:clr>
            <a:srgbClr val="FBAE40"/>
          </p15:clr>
        </p15:guide>
        <p15:guide id="2" pos="98">
          <p15:clr>
            <a:srgbClr val="FBAE40"/>
          </p15:clr>
        </p15:guide>
        <p15:guide id="3" pos="7287">
          <p15:clr>
            <a:srgbClr val="FBAE40"/>
          </p15:clr>
        </p15:guide>
        <p15:guide id="4" orient="horz" pos="365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lleen titel - 3">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55EA9843-550B-D8F8-794A-178E81DD9C2B}"/>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C4757F9E-3BBF-D0FF-CFA1-A33581CFD1B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6" name="Titel 5">
            <a:extLst>
              <a:ext uri="{FF2B5EF4-FFF2-40B4-BE49-F238E27FC236}">
                <a16:creationId xmlns:a16="http://schemas.microsoft.com/office/drawing/2014/main" id="{9D224E02-4F43-8B35-2EA3-70B8C5607D20}"/>
              </a:ext>
            </a:extLst>
          </p:cNvPr>
          <p:cNvSpPr>
            <a:spLocks noGrp="1"/>
          </p:cNvSpPr>
          <p:nvPr>
            <p:ph type="title" hasCustomPrompt="1"/>
          </p:nvPr>
        </p:nvSpPr>
        <p:spPr/>
        <p:txBody>
          <a:bodyPr/>
          <a:lstStyle>
            <a:lvl1pPr>
              <a:defRPr/>
            </a:lvl1pPr>
          </a:lstStyle>
          <a:p>
            <a:r>
              <a:rPr lang="nl-NL"/>
              <a:t>Titel</a:t>
            </a:r>
            <a:endParaRPr lang="nl-NL" dirty="0"/>
          </a:p>
        </p:txBody>
      </p:sp>
    </p:spTree>
    <p:extLst>
      <p:ext uri="{BB962C8B-B14F-4D97-AF65-F5344CB8AC3E}">
        <p14:creationId xmlns:p14="http://schemas.microsoft.com/office/powerpoint/2010/main" val="3071048562"/>
      </p:ext>
    </p:extLst>
  </p:cSld>
  <p:clrMapOvr>
    <a:masterClrMapping/>
  </p:clrMapOvr>
  <p:extLst>
    <p:ext uri="{DCECCB84-F9BA-43D5-87BE-67443E8EF086}">
      <p15:sldGuideLst xmlns:p15="http://schemas.microsoft.com/office/powerpoint/2012/main">
        <p15:guide id="1" orient="horz" pos="1729">
          <p15:clr>
            <a:srgbClr val="FBAE40"/>
          </p15:clr>
        </p15:guide>
        <p15:guide id="2" pos="438">
          <p15:clr>
            <a:srgbClr val="FBAE40"/>
          </p15:clr>
        </p15:guide>
        <p15:guide id="3" pos="7287">
          <p15:clr>
            <a:srgbClr val="FBAE40"/>
          </p15:clr>
        </p15:guide>
        <p15:guide id="4" orient="horz" pos="363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fsluiting - 1">
    <p:spTree>
      <p:nvGrpSpPr>
        <p:cNvPr id="1" name=""/>
        <p:cNvGrpSpPr/>
        <p:nvPr/>
      </p:nvGrpSpPr>
      <p:grpSpPr>
        <a:xfrm>
          <a:off x="0" y="0"/>
          <a:ext cx="0" cy="0"/>
          <a:chOff x="0" y="0"/>
          <a:chExt cx="0" cy="0"/>
        </a:xfrm>
      </p:grpSpPr>
      <p:sp>
        <p:nvSpPr>
          <p:cNvPr id="20" name="Tijdelijke aanduiding voor afbeelding 19">
            <a:extLst>
              <a:ext uri="{FF2B5EF4-FFF2-40B4-BE49-F238E27FC236}">
                <a16:creationId xmlns:a16="http://schemas.microsoft.com/office/drawing/2014/main" id="{04F27665-3837-4293-1FA7-7300D840F5C8}"/>
              </a:ext>
            </a:extLst>
          </p:cNvPr>
          <p:cNvSpPr>
            <a:spLocks noGrp="1" noRot="1" noMove="1" noResize="1" noEditPoints="1" noAdjustHandles="1" noChangeArrowheads="1" noChangeShapeType="1"/>
          </p:cNvSpPr>
          <p:nvPr>
            <p:ph type="pic" sz="quarter" idx="15"/>
          </p:nvPr>
        </p:nvSpPr>
        <p:spPr>
          <a:xfrm>
            <a:off x="6381825" y="3274330"/>
            <a:ext cx="5646209" cy="3257328"/>
          </a:xfrm>
          <a:custGeom>
            <a:avLst/>
            <a:gdLst>
              <a:gd name="connsiteX0" fmla="*/ 1228667 w 5646209"/>
              <a:gd name="connsiteY0" fmla="*/ 0 h 3257328"/>
              <a:gd name="connsiteX1" fmla="*/ 4422681 w 5646209"/>
              <a:gd name="connsiteY1" fmla="*/ 0 h 3257328"/>
              <a:gd name="connsiteX2" fmla="*/ 4508517 w 5646209"/>
              <a:gd name="connsiteY2" fmla="*/ 88374 h 3257328"/>
              <a:gd name="connsiteX3" fmla="*/ 4594353 w 5646209"/>
              <a:gd name="connsiteY3" fmla="*/ 176747 h 3257328"/>
              <a:gd name="connsiteX4" fmla="*/ 5519326 w 5646209"/>
              <a:gd name="connsiteY4" fmla="*/ 176747 h 3257328"/>
              <a:gd name="connsiteX5" fmla="*/ 5646209 w 5646209"/>
              <a:gd name="connsiteY5" fmla="*/ 303630 h 3257328"/>
              <a:gd name="connsiteX6" fmla="*/ 5646209 w 5646209"/>
              <a:gd name="connsiteY6" fmla="*/ 2949321 h 3257328"/>
              <a:gd name="connsiteX7" fmla="*/ 5519326 w 5646209"/>
              <a:gd name="connsiteY7" fmla="*/ 3076203 h 3257328"/>
              <a:gd name="connsiteX8" fmla="*/ 4596446 w 5646209"/>
              <a:gd name="connsiteY8" fmla="*/ 3076203 h 3257328"/>
              <a:gd name="connsiteX9" fmla="*/ 4505916 w 5646209"/>
              <a:gd name="connsiteY9" fmla="*/ 3166734 h 3257328"/>
              <a:gd name="connsiteX10" fmla="*/ 4415258 w 5646209"/>
              <a:gd name="connsiteY10" fmla="*/ 3257328 h 3257328"/>
              <a:gd name="connsiteX11" fmla="*/ 1228603 w 5646209"/>
              <a:gd name="connsiteY11" fmla="*/ 3253141 h 3257328"/>
              <a:gd name="connsiteX12" fmla="*/ 1140293 w 5646209"/>
              <a:gd name="connsiteY12" fmla="*/ 3164641 h 3257328"/>
              <a:gd name="connsiteX13" fmla="*/ 1051856 w 5646209"/>
              <a:gd name="connsiteY13" fmla="*/ 3076203 h 3257328"/>
              <a:gd name="connsiteX14" fmla="*/ 126883 w 5646209"/>
              <a:gd name="connsiteY14" fmla="*/ 3076203 h 3257328"/>
              <a:gd name="connsiteX15" fmla="*/ 0 w 5646209"/>
              <a:gd name="connsiteY15" fmla="*/ 2949321 h 3257328"/>
              <a:gd name="connsiteX16" fmla="*/ 0 w 5646209"/>
              <a:gd name="connsiteY16" fmla="*/ 303630 h 3257328"/>
              <a:gd name="connsiteX17" fmla="*/ 126883 w 5646209"/>
              <a:gd name="connsiteY17" fmla="*/ 176747 h 3257328"/>
              <a:gd name="connsiteX18" fmla="*/ 1051920 w 5646209"/>
              <a:gd name="connsiteY18" fmla="*/ 176747 h 3257328"/>
              <a:gd name="connsiteX19" fmla="*/ 1140293 w 5646209"/>
              <a:gd name="connsiteY19" fmla="*/ 88374 h 3257328"/>
              <a:gd name="connsiteX20" fmla="*/ 1228667 w 5646209"/>
              <a:gd name="connsiteY20" fmla="*/ 0 h 32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6209" h="3257328">
                <a:moveTo>
                  <a:pt x="1228667" y="0"/>
                </a:moveTo>
                <a:lnTo>
                  <a:pt x="4422681" y="0"/>
                </a:lnTo>
                <a:cubicBezTo>
                  <a:pt x="4471086" y="0"/>
                  <a:pt x="4509976" y="39968"/>
                  <a:pt x="4508517" y="88374"/>
                </a:cubicBezTo>
                <a:cubicBezTo>
                  <a:pt x="4507121" y="136779"/>
                  <a:pt x="4545947" y="176747"/>
                  <a:pt x="4594353" y="176747"/>
                </a:cubicBezTo>
                <a:lnTo>
                  <a:pt x="5519326" y="176747"/>
                </a:lnTo>
                <a:cubicBezTo>
                  <a:pt x="5589429" y="176747"/>
                  <a:pt x="5646209" y="233527"/>
                  <a:pt x="5646209" y="303630"/>
                </a:cubicBezTo>
                <a:lnTo>
                  <a:pt x="5646209" y="2949321"/>
                </a:lnTo>
                <a:cubicBezTo>
                  <a:pt x="5646209" y="3019423"/>
                  <a:pt x="5589429" y="3076203"/>
                  <a:pt x="5519326" y="3076203"/>
                </a:cubicBezTo>
                <a:lnTo>
                  <a:pt x="4596446" y="3076203"/>
                </a:lnTo>
                <a:cubicBezTo>
                  <a:pt x="4546455" y="3076203"/>
                  <a:pt x="4505916" y="3116742"/>
                  <a:pt x="4505916" y="3166734"/>
                </a:cubicBezTo>
                <a:cubicBezTo>
                  <a:pt x="4505916" y="3216726"/>
                  <a:pt x="4465313" y="3257391"/>
                  <a:pt x="4415258" y="3257328"/>
                </a:cubicBezTo>
                <a:lnTo>
                  <a:pt x="1228603" y="3253141"/>
                </a:lnTo>
                <a:cubicBezTo>
                  <a:pt x="1179817" y="3253078"/>
                  <a:pt x="1140293" y="3213490"/>
                  <a:pt x="1140293" y="3164641"/>
                </a:cubicBezTo>
                <a:cubicBezTo>
                  <a:pt x="1140293" y="3115791"/>
                  <a:pt x="1100706" y="3076203"/>
                  <a:pt x="1051856" y="3076203"/>
                </a:cubicBezTo>
                <a:lnTo>
                  <a:pt x="126883" y="3076203"/>
                </a:lnTo>
                <a:cubicBezTo>
                  <a:pt x="56780" y="3076203"/>
                  <a:pt x="0" y="3019423"/>
                  <a:pt x="0" y="2949321"/>
                </a:cubicBezTo>
                <a:lnTo>
                  <a:pt x="0" y="303630"/>
                </a:lnTo>
                <a:cubicBezTo>
                  <a:pt x="0" y="233527"/>
                  <a:pt x="56780" y="176747"/>
                  <a:pt x="126883" y="176747"/>
                </a:cubicBezTo>
                <a:lnTo>
                  <a:pt x="1051920" y="176747"/>
                </a:lnTo>
                <a:cubicBezTo>
                  <a:pt x="1100769" y="176747"/>
                  <a:pt x="1140293" y="137160"/>
                  <a:pt x="1140293" y="88374"/>
                </a:cubicBezTo>
                <a:cubicBezTo>
                  <a:pt x="1140293" y="39587"/>
                  <a:pt x="1179881" y="0"/>
                  <a:pt x="1228667"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9" name="Tijdelijke aanduiding voor afbeelding 18">
            <a:extLst>
              <a:ext uri="{FF2B5EF4-FFF2-40B4-BE49-F238E27FC236}">
                <a16:creationId xmlns:a16="http://schemas.microsoft.com/office/drawing/2014/main" id="{6975DEEF-BAED-A67D-A1E8-24811E69557A}"/>
              </a:ext>
            </a:extLst>
          </p:cNvPr>
          <p:cNvSpPr>
            <a:spLocks noGrp="1" noRot="1" noMove="1" noResize="1" noEditPoints="1" noAdjustHandles="1" noChangeArrowheads="1" noChangeShapeType="1"/>
          </p:cNvSpPr>
          <p:nvPr>
            <p:ph type="pic" sz="quarter" idx="14"/>
          </p:nvPr>
        </p:nvSpPr>
        <p:spPr>
          <a:xfrm>
            <a:off x="6381824" y="377983"/>
            <a:ext cx="5646336" cy="2896347"/>
          </a:xfrm>
          <a:custGeom>
            <a:avLst/>
            <a:gdLst>
              <a:gd name="connsiteX0" fmla="*/ 126883 w 5646336"/>
              <a:gd name="connsiteY0" fmla="*/ 0 h 2896347"/>
              <a:gd name="connsiteX1" fmla="*/ 935314 w 5646336"/>
              <a:gd name="connsiteY1" fmla="*/ 0 h 2896347"/>
              <a:gd name="connsiteX2" fmla="*/ 1023625 w 5646336"/>
              <a:gd name="connsiteY2" fmla="*/ 88310 h 2896347"/>
              <a:gd name="connsiteX3" fmla="*/ 1111935 w 5646336"/>
              <a:gd name="connsiteY3" fmla="*/ 176620 h 2896347"/>
              <a:gd name="connsiteX4" fmla="*/ 4539476 w 5646336"/>
              <a:gd name="connsiteY4" fmla="*/ 176620 h 2896347"/>
              <a:gd name="connsiteX5" fmla="*/ 4625249 w 5646336"/>
              <a:gd name="connsiteY5" fmla="*/ 88310 h 2896347"/>
              <a:gd name="connsiteX6" fmla="*/ 4711021 w 5646336"/>
              <a:gd name="connsiteY6" fmla="*/ 0 h 2896347"/>
              <a:gd name="connsiteX7" fmla="*/ 5519453 w 5646336"/>
              <a:gd name="connsiteY7" fmla="*/ 0 h 2896347"/>
              <a:gd name="connsiteX8" fmla="*/ 5646336 w 5646336"/>
              <a:gd name="connsiteY8" fmla="*/ 126883 h 2896347"/>
              <a:gd name="connsiteX9" fmla="*/ 5646336 w 5646336"/>
              <a:gd name="connsiteY9" fmla="*/ 2769465 h 2896347"/>
              <a:gd name="connsiteX10" fmla="*/ 5519453 w 5646336"/>
              <a:gd name="connsiteY10" fmla="*/ 2896347 h 2896347"/>
              <a:gd name="connsiteX11" fmla="*/ 4708864 w 5646336"/>
              <a:gd name="connsiteY11" fmla="*/ 2896347 h 2896347"/>
              <a:gd name="connsiteX12" fmla="*/ 4622711 w 5646336"/>
              <a:gd name="connsiteY12" fmla="*/ 2810194 h 2896347"/>
              <a:gd name="connsiteX13" fmla="*/ 4536684 w 5646336"/>
              <a:gd name="connsiteY13" fmla="*/ 2724041 h 2896347"/>
              <a:gd name="connsiteX14" fmla="*/ 1112062 w 5646336"/>
              <a:gd name="connsiteY14" fmla="*/ 2719854 h 2896347"/>
              <a:gd name="connsiteX15" fmla="*/ 1023688 w 5646336"/>
              <a:gd name="connsiteY15" fmla="*/ 2808100 h 2896347"/>
              <a:gd name="connsiteX16" fmla="*/ 935441 w 5646336"/>
              <a:gd name="connsiteY16" fmla="*/ 2896347 h 2896347"/>
              <a:gd name="connsiteX17" fmla="*/ 126883 w 5646336"/>
              <a:gd name="connsiteY17" fmla="*/ 2896347 h 2896347"/>
              <a:gd name="connsiteX18" fmla="*/ 126883 w 5646336"/>
              <a:gd name="connsiteY18" fmla="*/ 2896284 h 2896347"/>
              <a:gd name="connsiteX19" fmla="*/ 0 w 5646336"/>
              <a:gd name="connsiteY19" fmla="*/ 2769401 h 2896347"/>
              <a:gd name="connsiteX20" fmla="*/ 0 w 5646336"/>
              <a:gd name="connsiteY20" fmla="*/ 126883 h 2896347"/>
              <a:gd name="connsiteX21" fmla="*/ 126883 w 5646336"/>
              <a:gd name="connsiteY21" fmla="*/ 0 h 289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46336" h="2896347">
                <a:moveTo>
                  <a:pt x="126883" y="0"/>
                </a:moveTo>
                <a:lnTo>
                  <a:pt x="935314" y="0"/>
                </a:lnTo>
                <a:cubicBezTo>
                  <a:pt x="984101" y="0"/>
                  <a:pt x="1023625" y="39524"/>
                  <a:pt x="1023625" y="88310"/>
                </a:cubicBezTo>
                <a:cubicBezTo>
                  <a:pt x="1023625" y="137097"/>
                  <a:pt x="1063149" y="176620"/>
                  <a:pt x="1111935" y="176620"/>
                </a:cubicBezTo>
                <a:lnTo>
                  <a:pt x="4539476" y="176620"/>
                </a:lnTo>
                <a:cubicBezTo>
                  <a:pt x="4587818" y="176620"/>
                  <a:pt x="4626645" y="136652"/>
                  <a:pt x="4625249" y="88310"/>
                </a:cubicBezTo>
                <a:cubicBezTo>
                  <a:pt x="4623853" y="39968"/>
                  <a:pt x="4662616" y="0"/>
                  <a:pt x="4711021" y="0"/>
                </a:cubicBezTo>
                <a:lnTo>
                  <a:pt x="5519453" y="0"/>
                </a:lnTo>
                <a:cubicBezTo>
                  <a:pt x="5589556" y="0"/>
                  <a:pt x="5646336" y="56780"/>
                  <a:pt x="5646336" y="126883"/>
                </a:cubicBezTo>
                <a:lnTo>
                  <a:pt x="5646336" y="2769465"/>
                </a:lnTo>
                <a:cubicBezTo>
                  <a:pt x="5646336" y="2839567"/>
                  <a:pt x="5589556" y="2896347"/>
                  <a:pt x="5519453" y="2896347"/>
                </a:cubicBezTo>
                <a:lnTo>
                  <a:pt x="4708864" y="2896347"/>
                </a:lnTo>
                <a:cubicBezTo>
                  <a:pt x="4661283" y="2896347"/>
                  <a:pt x="4622711" y="2857775"/>
                  <a:pt x="4622711" y="2810194"/>
                </a:cubicBezTo>
                <a:cubicBezTo>
                  <a:pt x="4622711" y="2762613"/>
                  <a:pt x="4584202" y="2724104"/>
                  <a:pt x="4536684" y="2724041"/>
                </a:cubicBezTo>
                <a:lnTo>
                  <a:pt x="1112062" y="2719854"/>
                </a:lnTo>
                <a:cubicBezTo>
                  <a:pt x="1063276" y="2719854"/>
                  <a:pt x="1023688" y="2759314"/>
                  <a:pt x="1023688" y="2808100"/>
                </a:cubicBezTo>
                <a:cubicBezTo>
                  <a:pt x="1023688" y="2856887"/>
                  <a:pt x="984164" y="2896347"/>
                  <a:pt x="935441" y="2896347"/>
                </a:cubicBezTo>
                <a:lnTo>
                  <a:pt x="126883" y="2896347"/>
                </a:lnTo>
                <a:lnTo>
                  <a:pt x="126883" y="2896284"/>
                </a:lnTo>
                <a:cubicBezTo>
                  <a:pt x="56780" y="2896284"/>
                  <a:pt x="0" y="2839504"/>
                  <a:pt x="0" y="2769401"/>
                </a:cubicBezTo>
                <a:lnTo>
                  <a:pt x="0" y="126883"/>
                </a:lnTo>
                <a:cubicBezTo>
                  <a:pt x="0" y="56780"/>
                  <a:pt x="56780" y="0"/>
                  <a:pt x="126883"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6" name="Vrije vorm: vorm 15">
            <a:extLst>
              <a:ext uri="{FF2B5EF4-FFF2-40B4-BE49-F238E27FC236}">
                <a16:creationId xmlns:a16="http://schemas.microsoft.com/office/drawing/2014/main" id="{9FBEED26-39BA-F10D-A3F6-4163747517D5}"/>
              </a:ext>
            </a:extLst>
          </p:cNvPr>
          <p:cNvSpPr>
            <a:spLocks noGrp="1" noRot="1" noMove="1" noResize="1" noEditPoints="1" noAdjustHandles="1" noChangeArrowheads="1" noChangeShapeType="1"/>
          </p:cNvSpPr>
          <p:nvPr/>
        </p:nvSpPr>
        <p:spPr>
          <a:xfrm>
            <a:off x="6381824" y="0"/>
            <a:ext cx="5646208" cy="377792"/>
          </a:xfrm>
          <a:custGeom>
            <a:avLst/>
            <a:gdLst>
              <a:gd name="connsiteX0" fmla="*/ 0 w 5646208"/>
              <a:gd name="connsiteY0" fmla="*/ 0 h 377792"/>
              <a:gd name="connsiteX1" fmla="*/ 0 w 5646208"/>
              <a:gd name="connsiteY1" fmla="*/ 69849 h 377792"/>
              <a:gd name="connsiteX2" fmla="*/ 126883 w 5646208"/>
              <a:gd name="connsiteY2" fmla="*/ 196731 h 377792"/>
              <a:gd name="connsiteX3" fmla="*/ 1051856 w 5646208"/>
              <a:gd name="connsiteY3" fmla="*/ 196731 h 377792"/>
              <a:gd name="connsiteX4" fmla="*/ 1140293 w 5646208"/>
              <a:gd name="connsiteY4" fmla="*/ 285168 h 377792"/>
              <a:gd name="connsiteX5" fmla="*/ 1228603 w 5646208"/>
              <a:gd name="connsiteY5" fmla="*/ 373606 h 377792"/>
              <a:gd name="connsiteX6" fmla="*/ 4415258 w 5646208"/>
              <a:gd name="connsiteY6" fmla="*/ 377793 h 377792"/>
              <a:gd name="connsiteX7" fmla="*/ 4505916 w 5646208"/>
              <a:gd name="connsiteY7" fmla="*/ 287262 h 377792"/>
              <a:gd name="connsiteX8" fmla="*/ 4596446 w 5646208"/>
              <a:gd name="connsiteY8" fmla="*/ 196731 h 377792"/>
              <a:gd name="connsiteX9" fmla="*/ 5519326 w 5646208"/>
              <a:gd name="connsiteY9" fmla="*/ 196731 h 377792"/>
              <a:gd name="connsiteX10" fmla="*/ 5646209 w 5646208"/>
              <a:gd name="connsiteY10" fmla="*/ 69849 h 377792"/>
              <a:gd name="connsiteX11" fmla="*/ 5646209 w 5646208"/>
              <a:gd name="connsiteY11" fmla="*/ 0 h 377792"/>
              <a:gd name="connsiteX12" fmla="*/ 0 w 5646208"/>
              <a:gd name="connsiteY12" fmla="*/ 0 h 377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46208" h="377792">
                <a:moveTo>
                  <a:pt x="0" y="0"/>
                </a:moveTo>
                <a:lnTo>
                  <a:pt x="0" y="69849"/>
                </a:lnTo>
                <a:cubicBezTo>
                  <a:pt x="0" y="139951"/>
                  <a:pt x="56780" y="196731"/>
                  <a:pt x="126883" y="196731"/>
                </a:cubicBezTo>
                <a:lnTo>
                  <a:pt x="1051856" y="196731"/>
                </a:lnTo>
                <a:cubicBezTo>
                  <a:pt x="1100706" y="196731"/>
                  <a:pt x="1140293" y="236319"/>
                  <a:pt x="1140293" y="285168"/>
                </a:cubicBezTo>
                <a:cubicBezTo>
                  <a:pt x="1140293" y="334018"/>
                  <a:pt x="1179817" y="373542"/>
                  <a:pt x="1228603" y="373606"/>
                </a:cubicBezTo>
                <a:lnTo>
                  <a:pt x="4415258" y="377793"/>
                </a:lnTo>
                <a:cubicBezTo>
                  <a:pt x="4465313" y="377856"/>
                  <a:pt x="4505916" y="337317"/>
                  <a:pt x="4505916" y="287262"/>
                </a:cubicBezTo>
                <a:cubicBezTo>
                  <a:pt x="4505916" y="237207"/>
                  <a:pt x="4546455" y="196731"/>
                  <a:pt x="4596446" y="196731"/>
                </a:cubicBezTo>
                <a:lnTo>
                  <a:pt x="5519326" y="196731"/>
                </a:lnTo>
                <a:cubicBezTo>
                  <a:pt x="5589429" y="196731"/>
                  <a:pt x="5646209" y="139951"/>
                  <a:pt x="5646209" y="69849"/>
                </a:cubicBezTo>
                <a:lnTo>
                  <a:pt x="5646209" y="0"/>
                </a:lnTo>
                <a:lnTo>
                  <a:pt x="0" y="0"/>
                </a:lnTo>
                <a:close/>
              </a:path>
            </a:pathLst>
          </a:custGeom>
          <a:solidFill>
            <a:srgbClr val="F1F0EF"/>
          </a:solidFill>
          <a:ln w="0" cap="flat">
            <a:noFill/>
            <a:prstDash val="solid"/>
            <a:miter/>
          </a:ln>
        </p:spPr>
        <p:txBody>
          <a:bodyPr rtlCol="0" anchor="ctr"/>
          <a:lstStyle/>
          <a:p>
            <a:endParaRPr lang="nl-NL" dirty="0"/>
          </a:p>
        </p:txBody>
      </p:sp>
      <p:pic>
        <p:nvPicPr>
          <p:cNvPr id="22" name="Afbeelding 21">
            <a:extLst>
              <a:ext uri="{FF2B5EF4-FFF2-40B4-BE49-F238E27FC236}">
                <a16:creationId xmlns:a16="http://schemas.microsoft.com/office/drawing/2014/main" id="{B90E9B15-2AD1-A227-37EB-170FA9D4484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6383232" y="0"/>
            <a:ext cx="5644800" cy="380548"/>
          </a:xfrm>
          <a:prstGeom prst="rect">
            <a:avLst/>
          </a:prstGeom>
        </p:spPr>
      </p:pic>
      <p:sp>
        <p:nvSpPr>
          <p:cNvPr id="14" name="Vrije vorm: vorm 13">
            <a:extLst>
              <a:ext uri="{FF2B5EF4-FFF2-40B4-BE49-F238E27FC236}">
                <a16:creationId xmlns:a16="http://schemas.microsoft.com/office/drawing/2014/main" id="{DE32B7E7-8A80-8C2C-86A9-9BE23FE81EC0}"/>
              </a:ext>
            </a:extLst>
          </p:cNvPr>
          <p:cNvSpPr>
            <a:spLocks noGrp="1" noRot="1" noMove="1" noResize="1" noEditPoints="1" noAdjustHandles="1" noChangeArrowheads="1" noChangeShapeType="1"/>
          </p:cNvSpPr>
          <p:nvPr/>
        </p:nvSpPr>
        <p:spPr>
          <a:xfrm>
            <a:off x="6381824" y="6531784"/>
            <a:ext cx="5646272" cy="324121"/>
          </a:xfrm>
          <a:custGeom>
            <a:avLst/>
            <a:gdLst>
              <a:gd name="connsiteX0" fmla="*/ 5646272 w 5646272"/>
              <a:gd name="connsiteY0" fmla="*/ 324122 h 324121"/>
              <a:gd name="connsiteX1" fmla="*/ 5646272 w 5646272"/>
              <a:gd name="connsiteY1" fmla="*/ 126883 h 324121"/>
              <a:gd name="connsiteX2" fmla="*/ 5519390 w 5646272"/>
              <a:gd name="connsiteY2" fmla="*/ 0 h 324121"/>
              <a:gd name="connsiteX3" fmla="*/ 4710958 w 5646272"/>
              <a:gd name="connsiteY3" fmla="*/ 0 h 324121"/>
              <a:gd name="connsiteX4" fmla="*/ 4625185 w 5646272"/>
              <a:gd name="connsiteY4" fmla="*/ 88247 h 324121"/>
              <a:gd name="connsiteX5" fmla="*/ 4539413 w 5646272"/>
              <a:gd name="connsiteY5" fmla="*/ 176558 h 324121"/>
              <a:gd name="connsiteX6" fmla="*/ 1111935 w 5646272"/>
              <a:gd name="connsiteY6" fmla="*/ 176558 h 324121"/>
              <a:gd name="connsiteX7" fmla="*/ 1023625 w 5646272"/>
              <a:gd name="connsiteY7" fmla="*/ 88247 h 324121"/>
              <a:gd name="connsiteX8" fmla="*/ 935314 w 5646272"/>
              <a:gd name="connsiteY8" fmla="*/ 0 h 324121"/>
              <a:gd name="connsiteX9" fmla="*/ 126883 w 5646272"/>
              <a:gd name="connsiteY9" fmla="*/ 0 h 324121"/>
              <a:gd name="connsiteX10" fmla="*/ 0 w 5646272"/>
              <a:gd name="connsiteY10" fmla="*/ 126883 h 324121"/>
              <a:gd name="connsiteX11" fmla="*/ 0 w 5646272"/>
              <a:gd name="connsiteY11" fmla="*/ 324122 h 324121"/>
              <a:gd name="connsiteX12" fmla="*/ 5646272 w 5646272"/>
              <a:gd name="connsiteY12" fmla="*/ 324122 h 32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46272" h="324121">
                <a:moveTo>
                  <a:pt x="5646272" y="324122"/>
                </a:moveTo>
                <a:lnTo>
                  <a:pt x="5646272" y="126883"/>
                </a:lnTo>
                <a:cubicBezTo>
                  <a:pt x="5646272" y="56780"/>
                  <a:pt x="5589492" y="0"/>
                  <a:pt x="5519390" y="0"/>
                </a:cubicBezTo>
                <a:lnTo>
                  <a:pt x="4710958" y="0"/>
                </a:lnTo>
                <a:cubicBezTo>
                  <a:pt x="4662616" y="0"/>
                  <a:pt x="4623790" y="39905"/>
                  <a:pt x="4625185" y="88247"/>
                </a:cubicBezTo>
                <a:cubicBezTo>
                  <a:pt x="4626581" y="136589"/>
                  <a:pt x="4587818" y="176558"/>
                  <a:pt x="4539413" y="176558"/>
                </a:cubicBezTo>
                <a:lnTo>
                  <a:pt x="1111935" y="176558"/>
                </a:lnTo>
                <a:cubicBezTo>
                  <a:pt x="1063149" y="176558"/>
                  <a:pt x="1023625" y="137034"/>
                  <a:pt x="1023625" y="88247"/>
                </a:cubicBezTo>
                <a:cubicBezTo>
                  <a:pt x="1023625" y="39461"/>
                  <a:pt x="984101" y="0"/>
                  <a:pt x="935314" y="0"/>
                </a:cubicBezTo>
                <a:lnTo>
                  <a:pt x="126883" y="0"/>
                </a:lnTo>
                <a:cubicBezTo>
                  <a:pt x="56780" y="0"/>
                  <a:pt x="0" y="56780"/>
                  <a:pt x="0" y="126883"/>
                </a:cubicBezTo>
                <a:lnTo>
                  <a:pt x="0" y="324122"/>
                </a:lnTo>
                <a:lnTo>
                  <a:pt x="5646272" y="324122"/>
                </a:lnTo>
                <a:close/>
              </a:path>
            </a:pathLst>
          </a:custGeom>
          <a:solidFill>
            <a:srgbClr val="F1F0EF"/>
          </a:solidFill>
          <a:ln w="0" cap="flat">
            <a:noFill/>
            <a:prstDash val="solid"/>
            <a:miter/>
          </a:ln>
        </p:spPr>
        <p:txBody>
          <a:bodyPr rtlCol="0" anchor="ctr"/>
          <a:lstStyle/>
          <a:p>
            <a:endParaRPr lang="nl-NL" dirty="0"/>
          </a:p>
        </p:txBody>
      </p:sp>
      <p:pic>
        <p:nvPicPr>
          <p:cNvPr id="26" name="Afbeelding 25">
            <a:extLst>
              <a:ext uri="{FF2B5EF4-FFF2-40B4-BE49-F238E27FC236}">
                <a16:creationId xmlns:a16="http://schemas.microsoft.com/office/drawing/2014/main" id="{3D6AF57A-24CD-A0A5-4477-D48139884280}"/>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6383296" y="6532439"/>
            <a:ext cx="5644800" cy="323466"/>
          </a:xfrm>
          <a:prstGeom prst="rect">
            <a:avLst/>
          </a:prstGeom>
        </p:spPr>
      </p:pic>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503984"/>
          </a:xfrm>
        </p:spPr>
        <p:txBody>
          <a:bodyPr anchor="t" anchorCtr="0"/>
          <a:lstStyle>
            <a:lvl1pPr algn="l">
              <a:defRPr sz="3000"/>
            </a:lvl1pPr>
          </a:lstStyle>
          <a:p>
            <a:r>
              <a:rPr lang="nl-NL" dirty="0"/>
              <a:t>Afsluitende tekst</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2" name="Tijdelijke aanduiding voor tekst 2">
            <a:extLst>
              <a:ext uri="{FF2B5EF4-FFF2-40B4-BE49-F238E27FC236}">
                <a16:creationId xmlns:a16="http://schemas.microsoft.com/office/drawing/2014/main" id="{0ABA58EC-3B35-1CC0-F210-120DC6A27C6D}"/>
              </a:ext>
            </a:extLst>
          </p:cNvPr>
          <p:cNvSpPr>
            <a:spLocks noGrp="1"/>
          </p:cNvSpPr>
          <p:nvPr>
            <p:ph type="body" idx="1" hasCustomPrompt="1"/>
          </p:nvPr>
        </p:nvSpPr>
        <p:spPr>
          <a:xfrm>
            <a:off x="152998" y="4547552"/>
            <a:ext cx="4536000" cy="222305"/>
          </a:xfrm>
        </p:spPr>
        <p:txBody>
          <a:bodyPr anchor="t" anchorCtr="0">
            <a:spAutoFit/>
          </a:bodyPr>
          <a:lstStyle>
            <a:lvl1pPr marL="0" indent="0">
              <a:buNone/>
              <a:defRPr sz="1400" b="0" spc="2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ekst (Adres, website adres, e-mail adres, etc.)</a:t>
            </a:r>
          </a:p>
        </p:txBody>
      </p:sp>
    </p:spTree>
    <p:extLst>
      <p:ext uri="{BB962C8B-B14F-4D97-AF65-F5344CB8AC3E}">
        <p14:creationId xmlns:p14="http://schemas.microsoft.com/office/powerpoint/2010/main" val="1054966508"/>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fsluiting - 2">
    <p:spTree>
      <p:nvGrpSpPr>
        <p:cNvPr id="1" name=""/>
        <p:cNvGrpSpPr/>
        <p:nvPr/>
      </p:nvGrpSpPr>
      <p:grpSpPr>
        <a:xfrm>
          <a:off x="0" y="0"/>
          <a:ext cx="0" cy="0"/>
          <a:chOff x="0" y="0"/>
          <a:chExt cx="0" cy="0"/>
        </a:xfrm>
      </p:grpSpPr>
      <p:sp>
        <p:nvSpPr>
          <p:cNvPr id="2" name="Vrije vorm: vorm 1">
            <a:extLst>
              <a:ext uri="{FF2B5EF4-FFF2-40B4-BE49-F238E27FC236}">
                <a16:creationId xmlns:a16="http://schemas.microsoft.com/office/drawing/2014/main" id="{1F1B54BB-6033-705E-85A1-EDA5088A80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4428124"/>
            <a:ext cx="5940000" cy="503984"/>
          </a:xfrm>
        </p:spPr>
        <p:txBody>
          <a:bodyPr anchor="b" anchorCtr="0"/>
          <a:lstStyle>
            <a:lvl1pPr algn="l">
              <a:defRPr sz="3000"/>
            </a:lvl1pPr>
          </a:lstStyle>
          <a:p>
            <a:r>
              <a:rPr lang="nl-NL" dirty="0"/>
              <a:t>Titel over </a:t>
            </a:r>
            <a:r>
              <a:rPr lang="nl-NL"/>
              <a:t>maximaal 2 </a:t>
            </a:r>
            <a:r>
              <a:rPr lang="nl-NL" dirty="0"/>
              <a:t>regels</a:t>
            </a:r>
          </a:p>
        </p:txBody>
      </p:sp>
      <p:sp>
        <p:nvSpPr>
          <p:cNvPr id="4" name="Afbeeldingsplaceholder">
            <a:extLst>
              <a:ext uri="{FF2B5EF4-FFF2-40B4-BE49-F238E27FC236}">
                <a16:creationId xmlns:a16="http://schemas.microsoft.com/office/drawing/2014/main" id="{65B1B5DF-E43D-996E-1C0F-F750280012E5}"/>
              </a:ext>
            </a:extLst>
          </p:cNvPr>
          <p:cNvSpPr>
            <a:spLocks noGrp="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6" name="Graphic 5">
            <a:extLst>
              <a:ext uri="{FF2B5EF4-FFF2-40B4-BE49-F238E27FC236}">
                <a16:creationId xmlns:a16="http://schemas.microsoft.com/office/drawing/2014/main" id="{F056BD35-F1CB-BCA0-C1F7-05FD78AE9C68}"/>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210641" y="5141596"/>
            <a:ext cx="229414" cy="1288732"/>
          </a:xfrm>
          <a:prstGeom prst="rect">
            <a:avLst/>
          </a:prstGeom>
        </p:spPr>
      </p:pic>
      <p:sp>
        <p:nvSpPr>
          <p:cNvPr id="7" name="Tijdelijke aanduiding voor tekst 8">
            <a:extLst>
              <a:ext uri="{FF2B5EF4-FFF2-40B4-BE49-F238E27FC236}">
                <a16:creationId xmlns:a16="http://schemas.microsoft.com/office/drawing/2014/main" id="{09FC232A-C893-83F6-4E02-5E67A20A4787}"/>
              </a:ext>
            </a:extLst>
          </p:cNvPr>
          <p:cNvSpPr>
            <a:spLocks noGrp="1"/>
          </p:cNvSpPr>
          <p:nvPr>
            <p:ph type="body" sz="quarter" idx="13" hasCustomPrompt="1"/>
          </p:nvPr>
        </p:nvSpPr>
        <p:spPr>
          <a:xfrm>
            <a:off x="621030" y="517391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LinkedIn</a:t>
            </a:r>
            <a:endParaRPr lang="nl-NL" dirty="0"/>
          </a:p>
        </p:txBody>
      </p:sp>
      <p:sp>
        <p:nvSpPr>
          <p:cNvPr id="11" name="Tijdelijke aanduiding voor tekst 8">
            <a:extLst>
              <a:ext uri="{FF2B5EF4-FFF2-40B4-BE49-F238E27FC236}">
                <a16:creationId xmlns:a16="http://schemas.microsoft.com/office/drawing/2014/main" id="{9047013F-A44B-FEAE-B5FB-1DA7C5D039BF}"/>
              </a:ext>
            </a:extLst>
          </p:cNvPr>
          <p:cNvSpPr>
            <a:spLocks noGrp="1"/>
          </p:cNvSpPr>
          <p:nvPr>
            <p:ph type="body" sz="quarter" idx="15" hasCustomPrompt="1"/>
          </p:nvPr>
        </p:nvSpPr>
        <p:spPr>
          <a:xfrm>
            <a:off x="621030" y="552443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PEPPER podcast</a:t>
            </a:r>
            <a:endParaRPr lang="nl-NL" dirty="0"/>
          </a:p>
        </p:txBody>
      </p:sp>
      <p:sp>
        <p:nvSpPr>
          <p:cNvPr id="12" name="Tijdelijke aanduiding voor tekst 8">
            <a:extLst>
              <a:ext uri="{FF2B5EF4-FFF2-40B4-BE49-F238E27FC236}">
                <a16:creationId xmlns:a16="http://schemas.microsoft.com/office/drawing/2014/main" id="{A92BA6E2-7D56-1BF6-4EDF-2C5ADB119435}"/>
              </a:ext>
            </a:extLst>
          </p:cNvPr>
          <p:cNvSpPr>
            <a:spLocks noGrp="1"/>
          </p:cNvSpPr>
          <p:nvPr>
            <p:ph type="body" sz="quarter" idx="16" hasCustomPrompt="1"/>
          </p:nvPr>
        </p:nvSpPr>
        <p:spPr>
          <a:xfrm>
            <a:off x="621030" y="587495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Website</a:t>
            </a:r>
            <a:endParaRPr lang="nl-NL" dirty="0"/>
          </a:p>
        </p:txBody>
      </p:sp>
      <p:sp>
        <p:nvSpPr>
          <p:cNvPr id="13" name="Tijdelijke aanduiding voor tekst 8">
            <a:extLst>
              <a:ext uri="{FF2B5EF4-FFF2-40B4-BE49-F238E27FC236}">
                <a16:creationId xmlns:a16="http://schemas.microsoft.com/office/drawing/2014/main" id="{1F195676-ECA0-54EE-F94D-E4A5F8A647FF}"/>
              </a:ext>
            </a:extLst>
          </p:cNvPr>
          <p:cNvSpPr>
            <a:spLocks noGrp="1"/>
          </p:cNvSpPr>
          <p:nvPr>
            <p:ph type="body" sz="quarter" idx="17" hasCustomPrompt="1"/>
          </p:nvPr>
        </p:nvSpPr>
        <p:spPr>
          <a:xfrm>
            <a:off x="621030" y="622547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Nieuwsbrief</a:t>
            </a:r>
            <a:endParaRPr lang="nl-NL" dirty="0"/>
          </a:p>
        </p:txBody>
      </p:sp>
    </p:spTree>
    <p:extLst>
      <p:ext uri="{BB962C8B-B14F-4D97-AF65-F5344CB8AC3E}">
        <p14:creationId xmlns:p14="http://schemas.microsoft.com/office/powerpoint/2010/main" val="196454136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fsluiting Persoonlijk">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17" name="Vrije vorm: vorm 16">
            <a:extLst>
              <a:ext uri="{FF2B5EF4-FFF2-40B4-BE49-F238E27FC236}">
                <a16:creationId xmlns:a16="http://schemas.microsoft.com/office/drawing/2014/main" id="{F34E8976-65F4-FF05-FB21-43A8304950FD}"/>
              </a:ext>
            </a:extLst>
          </p:cNvPr>
          <p:cNvSpPr>
            <a:spLocks noGrp="1" noRot="1" noMove="1" noResize="1" noEditPoints="1" noAdjustHandles="1" noChangeArrowheads="1" noChangeShapeType="1"/>
          </p:cNvSpPr>
          <p:nvPr userDrawn="1"/>
        </p:nvSpPr>
        <p:spPr>
          <a:xfrm flipH="1">
            <a:off x="5611338" y="63499"/>
            <a:ext cx="6516685" cy="6731000"/>
          </a:xfrm>
          <a:custGeom>
            <a:avLst/>
            <a:gdLst>
              <a:gd name="connsiteX0" fmla="*/ 6389685 w 6516685"/>
              <a:gd name="connsiteY0" fmla="*/ 0 h 6731000"/>
              <a:gd name="connsiteX1" fmla="*/ 2313463 w 6516685"/>
              <a:gd name="connsiteY1" fmla="*/ 0 h 6731000"/>
              <a:gd name="connsiteX2" fmla="*/ 2313463 w 6516685"/>
              <a:gd name="connsiteY2" fmla="*/ 781 h 6731000"/>
              <a:gd name="connsiteX3" fmla="*/ 1787191 w 6516685"/>
              <a:gd name="connsiteY3" fmla="*/ 781 h 6731000"/>
              <a:gd name="connsiteX4" fmla="*/ 1660206 w 6516685"/>
              <a:gd name="connsiteY4" fmla="*/ 127766 h 6731000"/>
              <a:gd name="connsiteX5" fmla="*/ 1660206 w 6516685"/>
              <a:gd name="connsiteY5" fmla="*/ 553167 h 6731000"/>
              <a:gd name="connsiteX6" fmla="*/ 1533220 w 6516685"/>
              <a:gd name="connsiteY6" fmla="*/ 680152 h 6731000"/>
              <a:gd name="connsiteX7" fmla="*/ 126985 w 6516685"/>
              <a:gd name="connsiteY7" fmla="*/ 680152 h 6731000"/>
              <a:gd name="connsiteX8" fmla="*/ 0 w 6516685"/>
              <a:gd name="connsiteY8" fmla="*/ 807264 h 6731000"/>
              <a:gd name="connsiteX9" fmla="*/ 6095 w 6516685"/>
              <a:gd name="connsiteY9" fmla="*/ 6604142 h 6731000"/>
              <a:gd name="connsiteX10" fmla="*/ 133081 w 6516685"/>
              <a:gd name="connsiteY10" fmla="*/ 6731000 h 6731000"/>
              <a:gd name="connsiteX11" fmla="*/ 2313463 w 6516685"/>
              <a:gd name="connsiteY11" fmla="*/ 6731000 h 6731000"/>
              <a:gd name="connsiteX12" fmla="*/ 3852703 w 6516685"/>
              <a:gd name="connsiteY12" fmla="*/ 6731000 h 6731000"/>
              <a:gd name="connsiteX13" fmla="*/ 6383589 w 6516685"/>
              <a:gd name="connsiteY13" fmla="*/ 6731000 h 6731000"/>
              <a:gd name="connsiteX14" fmla="*/ 6389685 w 6516685"/>
              <a:gd name="connsiteY14" fmla="*/ 6731000 h 6731000"/>
              <a:gd name="connsiteX15" fmla="*/ 6516685 w 6516685"/>
              <a:gd name="connsiteY15" fmla="*/ 6604000 h 6731000"/>
              <a:gd name="connsiteX16" fmla="*/ 6516685 w 6516685"/>
              <a:gd name="connsiteY16" fmla="*/ 127000 h 6731000"/>
              <a:gd name="connsiteX17" fmla="*/ 6389685 w 6516685"/>
              <a:gd name="connsiteY17"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16685" h="6731000">
                <a:moveTo>
                  <a:pt x="6389685" y="0"/>
                </a:moveTo>
                <a:lnTo>
                  <a:pt x="2313463" y="0"/>
                </a:lnTo>
                <a:lnTo>
                  <a:pt x="2313463" y="781"/>
                </a:lnTo>
                <a:lnTo>
                  <a:pt x="1787191" y="781"/>
                </a:lnTo>
                <a:cubicBezTo>
                  <a:pt x="1717031" y="781"/>
                  <a:pt x="1660206" y="57607"/>
                  <a:pt x="1660206" y="127766"/>
                </a:cubicBezTo>
                <a:lnTo>
                  <a:pt x="1660206" y="553167"/>
                </a:lnTo>
                <a:cubicBezTo>
                  <a:pt x="1660206" y="623326"/>
                  <a:pt x="1603380" y="680152"/>
                  <a:pt x="1533220" y="680152"/>
                </a:cubicBezTo>
                <a:lnTo>
                  <a:pt x="126985" y="680152"/>
                </a:lnTo>
                <a:cubicBezTo>
                  <a:pt x="56826" y="680152"/>
                  <a:pt x="-63" y="737105"/>
                  <a:pt x="0" y="807264"/>
                </a:cubicBezTo>
                <a:cubicBezTo>
                  <a:pt x="2032" y="2739557"/>
                  <a:pt x="4063" y="4671849"/>
                  <a:pt x="6095" y="6604142"/>
                </a:cubicBezTo>
                <a:cubicBezTo>
                  <a:pt x="6159" y="6674238"/>
                  <a:pt x="62985" y="6731000"/>
                  <a:pt x="133081" y="6731000"/>
                </a:cubicBezTo>
                <a:lnTo>
                  <a:pt x="2313463" y="6731000"/>
                </a:lnTo>
                <a:lnTo>
                  <a:pt x="3852703" y="6731000"/>
                </a:lnTo>
                <a:lnTo>
                  <a:pt x="6383589" y="6731000"/>
                </a:lnTo>
                <a:lnTo>
                  <a:pt x="6389685" y="6731000"/>
                </a:lnTo>
                <a:cubicBezTo>
                  <a:pt x="6459853" y="6731000"/>
                  <a:pt x="6516685" y="6674168"/>
                  <a:pt x="6516685" y="6604000"/>
                </a:cubicBezTo>
                <a:lnTo>
                  <a:pt x="6516685" y="127000"/>
                </a:lnTo>
                <a:cubicBezTo>
                  <a:pt x="6516685" y="56833"/>
                  <a:pt x="6459853" y="0"/>
                  <a:pt x="6389685" y="0"/>
                </a:cubicBezTo>
                <a:close/>
              </a:path>
            </a:pathLst>
          </a:custGeom>
          <a:solidFill>
            <a:schemeClr val="bg1"/>
          </a:solidFill>
          <a:ln w="0" cap="flat">
            <a:noFill/>
            <a:prstDash val="solid"/>
            <a:miter/>
          </a:ln>
        </p:spPr>
        <p:txBody>
          <a:bodyPr rtlCol="0" anchor="ctr"/>
          <a:lstStyle/>
          <a:p>
            <a:endParaRPr lang="en-GB"/>
          </a:p>
        </p:txBody>
      </p:sp>
      <p:sp>
        <p:nvSpPr>
          <p:cNvPr id="20" name="Tijdelijke aanduiding voor afbeelding 19">
            <a:extLst>
              <a:ext uri="{FF2B5EF4-FFF2-40B4-BE49-F238E27FC236}">
                <a16:creationId xmlns:a16="http://schemas.microsoft.com/office/drawing/2014/main" id="{043B140F-0759-0C0C-5A8C-B135DBB82085}"/>
              </a:ext>
            </a:extLst>
          </p:cNvPr>
          <p:cNvSpPr>
            <a:spLocks noGrp="1"/>
          </p:cNvSpPr>
          <p:nvPr>
            <p:ph type="pic" sz="quarter" idx="19"/>
          </p:nvPr>
        </p:nvSpPr>
        <p:spPr>
          <a:xfrm>
            <a:off x="156208" y="107576"/>
            <a:ext cx="5283127" cy="6624920"/>
          </a:xfrm>
          <a:custGeom>
            <a:avLst/>
            <a:gdLst>
              <a:gd name="connsiteX0" fmla="*/ 152630 w 5283127"/>
              <a:gd name="connsiteY0" fmla="*/ 0 h 6624920"/>
              <a:gd name="connsiteX1" fmla="*/ 5130497 w 5283127"/>
              <a:gd name="connsiteY1" fmla="*/ 0 h 6624920"/>
              <a:gd name="connsiteX2" fmla="*/ 5283127 w 5283127"/>
              <a:gd name="connsiteY2" fmla="*/ 152630 h 6624920"/>
              <a:gd name="connsiteX3" fmla="*/ 5283127 w 5283127"/>
              <a:gd name="connsiteY3" fmla="*/ 6472290 h 6624920"/>
              <a:gd name="connsiteX4" fmla="*/ 5130497 w 5283127"/>
              <a:gd name="connsiteY4" fmla="*/ 6624920 h 6624920"/>
              <a:gd name="connsiteX5" fmla="*/ 152630 w 5283127"/>
              <a:gd name="connsiteY5" fmla="*/ 6624920 h 6624920"/>
              <a:gd name="connsiteX6" fmla="*/ 0 w 5283127"/>
              <a:gd name="connsiteY6" fmla="*/ 6472290 h 6624920"/>
              <a:gd name="connsiteX7" fmla="*/ 0 w 5283127"/>
              <a:gd name="connsiteY7" fmla="*/ 152630 h 6624920"/>
              <a:gd name="connsiteX8" fmla="*/ 152630 w 5283127"/>
              <a:gd name="connsiteY8" fmla="*/ 0 h 662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83127" h="6624920">
                <a:moveTo>
                  <a:pt x="152630" y="0"/>
                </a:moveTo>
                <a:lnTo>
                  <a:pt x="5130497" y="0"/>
                </a:lnTo>
                <a:cubicBezTo>
                  <a:pt x="5214792" y="0"/>
                  <a:pt x="5283127" y="68335"/>
                  <a:pt x="5283127" y="152630"/>
                </a:cubicBezTo>
                <a:lnTo>
                  <a:pt x="5283127" y="6472290"/>
                </a:lnTo>
                <a:cubicBezTo>
                  <a:pt x="5283127" y="6556585"/>
                  <a:pt x="5214792" y="6624920"/>
                  <a:pt x="5130497" y="6624920"/>
                </a:cubicBezTo>
                <a:lnTo>
                  <a:pt x="152630" y="6624920"/>
                </a:lnTo>
                <a:cubicBezTo>
                  <a:pt x="68335" y="6624920"/>
                  <a:pt x="0" y="6556585"/>
                  <a:pt x="0" y="6472290"/>
                </a:cubicBezTo>
                <a:lnTo>
                  <a:pt x="0" y="152630"/>
                </a:lnTo>
                <a:cubicBezTo>
                  <a:pt x="0" y="68335"/>
                  <a:pt x="68335" y="0"/>
                  <a:pt x="15263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5779452" y="4478924"/>
            <a:ext cx="5940000" cy="503984"/>
          </a:xfrm>
        </p:spPr>
        <p:txBody>
          <a:bodyPr anchor="b" anchorCtr="0"/>
          <a:lstStyle>
            <a:lvl1pPr algn="l">
              <a:defRPr sz="3000"/>
            </a:lvl1pPr>
          </a:lstStyle>
          <a:p>
            <a:r>
              <a:rPr lang="nl-NL" dirty="0"/>
              <a:t>Titel over </a:t>
            </a:r>
            <a:r>
              <a:rPr lang="nl-NL"/>
              <a:t>maximaal 2 </a:t>
            </a:r>
            <a:r>
              <a:rPr lang="nl-NL" dirty="0"/>
              <a:t>regels</a:t>
            </a:r>
          </a:p>
        </p:txBody>
      </p:sp>
      <p:pic>
        <p:nvPicPr>
          <p:cNvPr id="6" name="Graphic 5">
            <a:extLst>
              <a:ext uri="{FF2B5EF4-FFF2-40B4-BE49-F238E27FC236}">
                <a16:creationId xmlns:a16="http://schemas.microsoft.com/office/drawing/2014/main" id="{F056BD35-F1CB-BCA0-C1F7-05FD78AE9C6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37095" y="5141596"/>
            <a:ext cx="229414" cy="1288732"/>
          </a:xfrm>
          <a:prstGeom prst="rect">
            <a:avLst/>
          </a:prstGeom>
        </p:spPr>
      </p:pic>
      <p:sp>
        <p:nvSpPr>
          <p:cNvPr id="7" name="Tijdelijke aanduiding voor tekst 8">
            <a:extLst>
              <a:ext uri="{FF2B5EF4-FFF2-40B4-BE49-F238E27FC236}">
                <a16:creationId xmlns:a16="http://schemas.microsoft.com/office/drawing/2014/main" id="{09FC232A-C893-83F6-4E02-5E67A20A4787}"/>
              </a:ext>
            </a:extLst>
          </p:cNvPr>
          <p:cNvSpPr>
            <a:spLocks noGrp="1"/>
          </p:cNvSpPr>
          <p:nvPr>
            <p:ph type="body" sz="quarter" idx="13" hasCustomPrompt="1"/>
          </p:nvPr>
        </p:nvSpPr>
        <p:spPr>
          <a:xfrm>
            <a:off x="6247484" y="517391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LinkedIn</a:t>
            </a:r>
            <a:endParaRPr lang="nl-NL" dirty="0"/>
          </a:p>
        </p:txBody>
      </p:sp>
      <p:sp>
        <p:nvSpPr>
          <p:cNvPr id="11" name="Tijdelijke aanduiding voor tekst 8">
            <a:extLst>
              <a:ext uri="{FF2B5EF4-FFF2-40B4-BE49-F238E27FC236}">
                <a16:creationId xmlns:a16="http://schemas.microsoft.com/office/drawing/2014/main" id="{9047013F-A44B-FEAE-B5FB-1DA7C5D039BF}"/>
              </a:ext>
            </a:extLst>
          </p:cNvPr>
          <p:cNvSpPr>
            <a:spLocks noGrp="1"/>
          </p:cNvSpPr>
          <p:nvPr>
            <p:ph type="body" sz="quarter" idx="15" hasCustomPrompt="1"/>
          </p:nvPr>
        </p:nvSpPr>
        <p:spPr>
          <a:xfrm>
            <a:off x="6247484" y="552443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PEPPER podcast</a:t>
            </a:r>
            <a:endParaRPr lang="nl-NL" dirty="0"/>
          </a:p>
        </p:txBody>
      </p:sp>
      <p:sp>
        <p:nvSpPr>
          <p:cNvPr id="12" name="Tijdelijke aanduiding voor tekst 8">
            <a:extLst>
              <a:ext uri="{FF2B5EF4-FFF2-40B4-BE49-F238E27FC236}">
                <a16:creationId xmlns:a16="http://schemas.microsoft.com/office/drawing/2014/main" id="{A92BA6E2-7D56-1BF6-4EDF-2C5ADB119435}"/>
              </a:ext>
            </a:extLst>
          </p:cNvPr>
          <p:cNvSpPr>
            <a:spLocks noGrp="1"/>
          </p:cNvSpPr>
          <p:nvPr>
            <p:ph type="body" sz="quarter" idx="16" hasCustomPrompt="1"/>
          </p:nvPr>
        </p:nvSpPr>
        <p:spPr>
          <a:xfrm>
            <a:off x="6247484" y="587495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Website</a:t>
            </a:r>
            <a:endParaRPr lang="nl-NL" dirty="0"/>
          </a:p>
        </p:txBody>
      </p:sp>
      <p:sp>
        <p:nvSpPr>
          <p:cNvPr id="13" name="Tijdelijke aanduiding voor tekst 8">
            <a:extLst>
              <a:ext uri="{FF2B5EF4-FFF2-40B4-BE49-F238E27FC236}">
                <a16:creationId xmlns:a16="http://schemas.microsoft.com/office/drawing/2014/main" id="{1F195676-ECA0-54EE-F94D-E4A5F8A647FF}"/>
              </a:ext>
            </a:extLst>
          </p:cNvPr>
          <p:cNvSpPr>
            <a:spLocks noGrp="1"/>
          </p:cNvSpPr>
          <p:nvPr>
            <p:ph type="body" sz="quarter" idx="17" hasCustomPrompt="1"/>
          </p:nvPr>
        </p:nvSpPr>
        <p:spPr>
          <a:xfrm>
            <a:off x="6247484" y="622547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Nieuwsbrief</a:t>
            </a:r>
            <a:endParaRPr lang="nl-NL" dirty="0"/>
          </a:p>
        </p:txBody>
      </p:sp>
      <p:sp>
        <p:nvSpPr>
          <p:cNvPr id="21" name="Tijdelijke aanduiding voor tekst 8">
            <a:extLst>
              <a:ext uri="{FF2B5EF4-FFF2-40B4-BE49-F238E27FC236}">
                <a16:creationId xmlns:a16="http://schemas.microsoft.com/office/drawing/2014/main" id="{66375388-B9DD-0ACC-3EA5-7E3004C97DD3}"/>
              </a:ext>
            </a:extLst>
          </p:cNvPr>
          <p:cNvSpPr>
            <a:spLocks noGrp="1"/>
          </p:cNvSpPr>
          <p:nvPr>
            <p:ph type="body" sz="quarter" idx="20" hasCustomPrompt="1"/>
          </p:nvPr>
        </p:nvSpPr>
        <p:spPr>
          <a:xfrm>
            <a:off x="454379" y="5351081"/>
            <a:ext cx="4680000" cy="381066"/>
          </a:xfrm>
        </p:spPr>
        <p:txBody>
          <a:bodyPr wrap="square" anchor="b" anchorCtr="0">
            <a:spAutoFit/>
          </a:bodyPr>
          <a:lstStyle>
            <a:lvl1pPr>
              <a:defRPr sz="2400">
                <a:solidFill>
                  <a:schemeClr val="bg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Voornaam Achternaam</a:t>
            </a:r>
            <a:endParaRPr lang="nl-NL" dirty="0"/>
          </a:p>
        </p:txBody>
      </p:sp>
      <p:sp>
        <p:nvSpPr>
          <p:cNvPr id="23" name="Ondertitel 2">
            <a:extLst>
              <a:ext uri="{FF2B5EF4-FFF2-40B4-BE49-F238E27FC236}">
                <a16:creationId xmlns:a16="http://schemas.microsoft.com/office/drawing/2014/main" id="{A792F1D8-9189-9CBD-1DFE-F1CC31C997B7}"/>
              </a:ext>
            </a:extLst>
          </p:cNvPr>
          <p:cNvSpPr>
            <a:spLocks noGrp="1"/>
          </p:cNvSpPr>
          <p:nvPr>
            <p:ph type="subTitle" idx="1" hasCustomPrompt="1"/>
          </p:nvPr>
        </p:nvSpPr>
        <p:spPr>
          <a:xfrm>
            <a:off x="454379" y="5787072"/>
            <a:ext cx="4680000" cy="198516"/>
          </a:xfrm>
        </p:spPr>
        <p:txBody>
          <a:bodyPr wrap="square">
            <a:spAutoFit/>
          </a:bodyPr>
          <a:lstStyle>
            <a:lvl1pPr marL="0" indent="0" algn="l">
              <a:buNone/>
              <a:defRPr sz="1250" b="1" cap="all" spc="19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Functie</a:t>
            </a:r>
            <a:endParaRPr lang="nl-NL" dirty="0"/>
          </a:p>
        </p:txBody>
      </p:sp>
      <p:sp>
        <p:nvSpPr>
          <p:cNvPr id="24" name="Tijdelijke aanduiding voor tekst 8">
            <a:extLst>
              <a:ext uri="{FF2B5EF4-FFF2-40B4-BE49-F238E27FC236}">
                <a16:creationId xmlns:a16="http://schemas.microsoft.com/office/drawing/2014/main" id="{7D0D8537-1C9B-DDCD-FF44-B187A871376D}"/>
              </a:ext>
            </a:extLst>
          </p:cNvPr>
          <p:cNvSpPr>
            <a:spLocks noGrp="1"/>
          </p:cNvSpPr>
          <p:nvPr>
            <p:ph type="body" sz="quarter" idx="21" hasCustomPrompt="1"/>
          </p:nvPr>
        </p:nvSpPr>
        <p:spPr>
          <a:xfrm>
            <a:off x="512314" y="6180988"/>
            <a:ext cx="198251" cy="198251"/>
          </a:xfrm>
          <a:blipFill>
            <a:blip r:embed="rId6">
              <a:extLst>
                <a:ext uri="{96DAC541-7B7A-43D3-8B79-37D633B846F1}">
                  <asvg:svgBlip xmlns:asvg="http://schemas.microsoft.com/office/drawing/2016/SVG/main" r:embed="rId7"/>
                </a:ext>
              </a:extLst>
            </a:blip>
            <a:stretch>
              <a:fillRect/>
            </a:stretch>
          </a:blipFill>
        </p:spPr>
        <p:txBody>
          <a:bodyPr wrap="none" anchor="ctr" anchorCtr="0">
            <a:noAutofit/>
          </a:bodyPr>
          <a:lstStyle>
            <a:lvl1pPr>
              <a:defRPr sz="100">
                <a:solidFill>
                  <a:schemeClr val="bg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 </a:t>
            </a:r>
            <a:endParaRPr lang="nl-NL" dirty="0"/>
          </a:p>
        </p:txBody>
      </p:sp>
      <p:sp>
        <p:nvSpPr>
          <p:cNvPr id="25" name="Tijdelijke aanduiding voor tekst 8">
            <a:extLst>
              <a:ext uri="{FF2B5EF4-FFF2-40B4-BE49-F238E27FC236}">
                <a16:creationId xmlns:a16="http://schemas.microsoft.com/office/drawing/2014/main" id="{B8CE160F-8ACC-4A98-BAEC-2813500F5868}"/>
              </a:ext>
            </a:extLst>
          </p:cNvPr>
          <p:cNvSpPr>
            <a:spLocks noGrp="1"/>
          </p:cNvSpPr>
          <p:nvPr>
            <p:ph type="body" sz="quarter" idx="22" hasCustomPrompt="1"/>
          </p:nvPr>
        </p:nvSpPr>
        <p:spPr>
          <a:xfrm>
            <a:off x="988564" y="6180988"/>
            <a:ext cx="198251" cy="198251"/>
          </a:xfrm>
          <a:blipFill>
            <a:blip r:embed="rId8">
              <a:extLst>
                <a:ext uri="{96DAC541-7B7A-43D3-8B79-37D633B846F1}">
                  <asvg:svgBlip xmlns:asvg="http://schemas.microsoft.com/office/drawing/2016/SVG/main" r:embed="rId9"/>
                </a:ext>
              </a:extLst>
            </a:blip>
            <a:stretch>
              <a:fillRect/>
            </a:stretch>
          </a:blipFill>
        </p:spPr>
        <p:txBody>
          <a:bodyPr wrap="none" anchor="ctr" anchorCtr="0">
            <a:noAutofit/>
          </a:bodyPr>
          <a:lstStyle>
            <a:lvl1pPr>
              <a:defRPr sz="100">
                <a:solidFill>
                  <a:schemeClr val="bg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 </a:t>
            </a:r>
            <a:endParaRPr lang="nl-NL" dirty="0"/>
          </a:p>
        </p:txBody>
      </p:sp>
      <p:sp>
        <p:nvSpPr>
          <p:cNvPr id="26" name="Tijdelijke aanduiding voor tekst 8">
            <a:extLst>
              <a:ext uri="{FF2B5EF4-FFF2-40B4-BE49-F238E27FC236}">
                <a16:creationId xmlns:a16="http://schemas.microsoft.com/office/drawing/2014/main" id="{6AD6DC8B-5F03-5101-6D8B-2B058D0BB670}"/>
              </a:ext>
            </a:extLst>
          </p:cNvPr>
          <p:cNvSpPr>
            <a:spLocks noGrp="1"/>
          </p:cNvSpPr>
          <p:nvPr>
            <p:ph type="body" sz="quarter" idx="23" hasCustomPrompt="1"/>
          </p:nvPr>
        </p:nvSpPr>
        <p:spPr>
          <a:xfrm>
            <a:off x="1432429" y="6180988"/>
            <a:ext cx="198251" cy="198251"/>
          </a:xfrm>
          <a:blipFill>
            <a:blip r:embed="rId10">
              <a:extLst>
                <a:ext uri="{96DAC541-7B7A-43D3-8B79-37D633B846F1}">
                  <asvg:svgBlip xmlns:asvg="http://schemas.microsoft.com/office/drawing/2016/SVG/main" r:embed="rId11"/>
                </a:ext>
              </a:extLst>
            </a:blip>
            <a:stretch>
              <a:fillRect/>
            </a:stretch>
          </a:blipFill>
        </p:spPr>
        <p:txBody>
          <a:bodyPr wrap="none" anchor="ctr" anchorCtr="0">
            <a:noAutofit/>
          </a:bodyPr>
          <a:lstStyle>
            <a:lvl1pPr>
              <a:defRPr sz="100">
                <a:solidFill>
                  <a:schemeClr val="bg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 </a:t>
            </a:r>
            <a:endParaRPr lang="nl-NL" dirty="0"/>
          </a:p>
        </p:txBody>
      </p:sp>
    </p:spTree>
    <p:extLst>
      <p:ext uri="{BB962C8B-B14F-4D97-AF65-F5344CB8AC3E}">
        <p14:creationId xmlns:p14="http://schemas.microsoft.com/office/powerpoint/2010/main" val="399416182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Uitleg template">
    <p:spTree>
      <p:nvGrpSpPr>
        <p:cNvPr id="1" name=""/>
        <p:cNvGrpSpPr/>
        <p:nvPr/>
      </p:nvGrpSpPr>
      <p:grpSpPr>
        <a:xfrm>
          <a:off x="0" y="0"/>
          <a:ext cx="0" cy="0"/>
          <a:chOff x="0" y="0"/>
          <a:chExt cx="0" cy="0"/>
        </a:xfrm>
      </p:grpSpPr>
      <p:sp>
        <p:nvSpPr>
          <p:cNvPr id="2" name="Titel 5">
            <a:extLst>
              <a:ext uri="{FF2B5EF4-FFF2-40B4-BE49-F238E27FC236}">
                <a16:creationId xmlns:a16="http://schemas.microsoft.com/office/drawing/2014/main" id="{59FC7B70-8117-4E03-EFE2-AD554BAE816F}"/>
              </a:ext>
            </a:extLst>
          </p:cNvPr>
          <p:cNvSpPr txBox="1">
            <a:spLocks/>
          </p:cNvSpPr>
          <p:nvPr userDrawn="1"/>
        </p:nvSpPr>
        <p:spPr>
          <a:xfrm>
            <a:off x="695324" y="913765"/>
            <a:ext cx="5760000" cy="503984"/>
          </a:xfrm>
          <a:prstGeom prst="rect">
            <a:avLst/>
          </a:prstGeom>
        </p:spPr>
        <p:txBody>
          <a:bodyPr vert="horz" wrap="square" lIns="0" tIns="0" rIns="0" bIns="0" rtlCol="0" anchor="t" anchorCtr="0">
            <a:spAutoFit/>
          </a:bodyPr>
          <a:lstStyle>
            <a:lvl1pPr algn="l" defTabSz="914400" rtl="0" eaLnBrk="1" latinLnBrk="0" hangingPunct="1">
              <a:lnSpc>
                <a:spcPct val="115000"/>
              </a:lnSpc>
              <a:spcBef>
                <a:spcPct val="0"/>
              </a:spcBef>
              <a:buNone/>
              <a:defRPr sz="3000" kern="1200">
                <a:solidFill>
                  <a:schemeClr val="tx2"/>
                </a:solidFill>
                <a:latin typeface="+mj-lt"/>
                <a:ea typeface="+mj-ea"/>
                <a:cs typeface="+mj-cs"/>
              </a:defRPr>
            </a:lvl1pPr>
          </a:lstStyle>
          <a:p>
            <a:r>
              <a:rPr lang="nl-NL"/>
              <a:t>Korte uitleg bij de template</a:t>
            </a:r>
            <a:endParaRPr lang="nl-NL" dirty="0"/>
          </a:p>
        </p:txBody>
      </p:sp>
      <p:sp>
        <p:nvSpPr>
          <p:cNvPr id="3" name="Tijdelijke aanduiding voor tekst 4">
            <a:extLst>
              <a:ext uri="{FF2B5EF4-FFF2-40B4-BE49-F238E27FC236}">
                <a16:creationId xmlns:a16="http://schemas.microsoft.com/office/drawing/2014/main" id="{765AD5B0-6379-C21A-AD1A-082915CE6432}"/>
              </a:ext>
            </a:extLst>
          </p:cNvPr>
          <p:cNvSpPr txBox="1">
            <a:spLocks/>
          </p:cNvSpPr>
          <p:nvPr userDrawn="1"/>
        </p:nvSpPr>
        <p:spPr>
          <a:xfrm>
            <a:off x="695325" y="4000127"/>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Bullets</a:t>
            </a:r>
          </a:p>
        </p:txBody>
      </p:sp>
      <p:sp>
        <p:nvSpPr>
          <p:cNvPr id="7" name="Content Placeholder 4">
            <a:extLst>
              <a:ext uri="{FF2B5EF4-FFF2-40B4-BE49-F238E27FC236}">
                <a16:creationId xmlns:a16="http://schemas.microsoft.com/office/drawing/2014/main" id="{FF64F8D1-3CE4-A2DF-6865-F163A9C379FE}"/>
              </a:ext>
            </a:extLst>
          </p:cNvPr>
          <p:cNvSpPr txBox="1">
            <a:spLocks/>
          </p:cNvSpPr>
          <p:nvPr userDrawn="1"/>
        </p:nvSpPr>
        <p:spPr>
          <a:xfrm>
            <a:off x="5960572" y="1948301"/>
            <a:ext cx="5088428" cy="117788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00" noProof="0" dirty="0">
                <a:solidFill>
                  <a:schemeClr val="tx2"/>
                </a:solidFill>
                <a:latin typeface="+mn-lt"/>
              </a:rPr>
              <a:t>Wanneer een </a:t>
            </a:r>
            <a:r>
              <a:rPr lang="nl-NL" sz="1000" b="0" noProof="0" dirty="0">
                <a:solidFill>
                  <a:schemeClr val="tx2"/>
                </a:solidFill>
                <a:latin typeface="+mn-lt"/>
              </a:rPr>
              <a:t>foto</a:t>
            </a:r>
            <a:r>
              <a:rPr lang="nl-NL" sz="1000" noProof="0" dirty="0">
                <a:solidFill>
                  <a:schemeClr val="tx2"/>
                </a:solidFill>
                <a:latin typeface="+mn-lt"/>
              </a:rPr>
              <a:t> in een </a:t>
            </a:r>
            <a:r>
              <a:rPr lang="nl-NL" sz="1000" noProof="0" dirty="0" err="1">
                <a:solidFill>
                  <a:schemeClr val="tx2"/>
                </a:solidFill>
                <a:latin typeface="+mn-lt"/>
              </a:rPr>
              <a:t>afbeeldingsplaceholder</a:t>
            </a:r>
            <a:r>
              <a:rPr lang="nl-NL" sz="1000" noProof="0" dirty="0">
                <a:solidFill>
                  <a:schemeClr val="tx2"/>
                </a:solidFill>
                <a:latin typeface="+mn-lt"/>
              </a:rPr>
              <a:t> is </a:t>
            </a:r>
            <a:r>
              <a:rPr lang="nl-NL" sz="1000" noProof="0">
                <a:solidFill>
                  <a:schemeClr val="tx2"/>
                </a:solidFill>
                <a:latin typeface="+mn-lt"/>
              </a:rPr>
              <a:t>geplaatst </a:t>
            </a:r>
            <a:br>
              <a:rPr lang="nl-NL" sz="1000" noProof="0">
                <a:solidFill>
                  <a:schemeClr val="tx2"/>
                </a:solidFill>
                <a:latin typeface="+mn-lt"/>
              </a:rPr>
            </a:br>
            <a:r>
              <a:rPr lang="nl-NL" sz="1000" noProof="0">
                <a:solidFill>
                  <a:schemeClr val="tx2"/>
                </a:solidFill>
                <a:latin typeface="+mn-lt"/>
              </a:rPr>
              <a:t>kun </a:t>
            </a:r>
            <a:r>
              <a:rPr lang="nl-NL" sz="1000" noProof="0" dirty="0">
                <a:solidFill>
                  <a:schemeClr val="tx2"/>
                </a:solidFill>
                <a:latin typeface="+mn-lt"/>
              </a:rPr>
              <a:t>je de </a:t>
            </a:r>
            <a:r>
              <a:rPr kumimoji="0" lang="nl-NL" sz="1000" i="0" u="none" strike="noStrike" kern="0" cap="none" spc="0" normalizeH="0" baseline="0" noProof="0" dirty="0">
                <a:ln>
                  <a:noFill/>
                </a:ln>
                <a:solidFill>
                  <a:srgbClr val="39C643"/>
                </a:solidFill>
                <a:effectLst/>
                <a:uLnTx/>
                <a:uFillTx/>
                <a:latin typeface="Syne" pitchFamily="2" charset="0"/>
                <a:ea typeface="+mn-ea"/>
                <a:cs typeface="Calibri" panose="020F0502020204030204" pitchFamily="34" charset="0"/>
              </a:rPr>
              <a:t>uitsnede nog veranderen</a:t>
            </a:r>
            <a:r>
              <a:rPr lang="nl-NL" sz="1000" noProof="0" dirty="0">
                <a:solidFill>
                  <a:schemeClr val="tx2"/>
                </a:solidFill>
                <a:latin typeface="+mn-lt"/>
              </a:rPr>
              <a:t>.</a:t>
            </a:r>
          </a:p>
          <a:p>
            <a:pPr marL="135731" indent="-135731">
              <a:lnSpc>
                <a:spcPct val="110000"/>
              </a:lnSpc>
              <a:buFont typeface="Arial" panose="020B0604020202020204" pitchFamily="34" charset="0"/>
              <a:buChar char="•"/>
            </a:pPr>
            <a:r>
              <a:rPr lang="nl-NL" sz="1000" noProof="0" dirty="0">
                <a:solidFill>
                  <a:schemeClr val="tx2"/>
                </a:solidFill>
                <a:latin typeface="+mn-lt"/>
              </a:rPr>
              <a:t>Selecteer de foto</a:t>
            </a:r>
          </a:p>
          <a:p>
            <a:pPr marL="135731" indent="-135731">
              <a:lnSpc>
                <a:spcPct val="110000"/>
              </a:lnSpc>
              <a:buFont typeface="Arial" panose="020B0604020202020204" pitchFamily="34" charset="0"/>
              <a:buChar char="•"/>
            </a:pPr>
            <a:r>
              <a:rPr lang="nl-NL" sz="1000" noProof="0" dirty="0">
                <a:solidFill>
                  <a:schemeClr val="tx2"/>
                </a:solidFill>
                <a:latin typeface="+mn-lt"/>
              </a:rPr>
              <a:t>Ga in het lint </a:t>
            </a:r>
            <a:r>
              <a:rPr lang="nl-NL" sz="1000" noProof="0">
                <a:solidFill>
                  <a:schemeClr val="tx2"/>
                </a:solidFill>
                <a:latin typeface="+mn-lt"/>
              </a:rPr>
              <a:t>naar Afbeeldingsindeling - Grootte </a:t>
            </a:r>
            <a:endParaRPr lang="nl-NL" sz="1000" noProof="0" dirty="0">
              <a:solidFill>
                <a:schemeClr val="tx2"/>
              </a:solidFill>
              <a:latin typeface="+mn-lt"/>
            </a:endParaRPr>
          </a:p>
          <a:p>
            <a:pPr marL="135731" indent="-135731">
              <a:lnSpc>
                <a:spcPct val="110000"/>
              </a:lnSpc>
              <a:buFont typeface="Arial" panose="020B0604020202020204" pitchFamily="34" charset="0"/>
              <a:buChar char="•"/>
            </a:pPr>
            <a:r>
              <a:rPr lang="nl-NL" sz="1000" noProof="0" dirty="0">
                <a:solidFill>
                  <a:schemeClr val="tx2"/>
                </a:solidFill>
                <a:latin typeface="+mn-lt"/>
              </a:rPr>
              <a:t>Klik op het Bijsnijden gereedschap</a:t>
            </a:r>
          </a:p>
          <a:p>
            <a:pPr marL="135731" indent="-135731">
              <a:lnSpc>
                <a:spcPct val="110000"/>
              </a:lnSpc>
              <a:buFont typeface="Arial" panose="020B0604020202020204" pitchFamily="34" charset="0"/>
              <a:buChar char="•"/>
            </a:pPr>
            <a:r>
              <a:rPr lang="nl-NL" sz="1000" noProof="0" dirty="0">
                <a:solidFill>
                  <a:schemeClr val="tx2"/>
                </a:solidFill>
                <a:latin typeface="+mn-lt"/>
              </a:rPr>
              <a:t>De grijze delen geven aan welke delen van de foto buiten de </a:t>
            </a:r>
            <a:r>
              <a:rPr lang="nl-NL" sz="1000" noProof="0" dirty="0" err="1">
                <a:solidFill>
                  <a:schemeClr val="tx2"/>
                </a:solidFill>
                <a:latin typeface="+mn-lt"/>
              </a:rPr>
              <a:t>placeholder</a:t>
            </a:r>
            <a:r>
              <a:rPr lang="nl-NL" sz="1000" noProof="0" dirty="0">
                <a:solidFill>
                  <a:schemeClr val="tx2"/>
                </a:solidFill>
                <a:latin typeface="+mn-lt"/>
              </a:rPr>
              <a:t> vallen</a:t>
            </a:r>
          </a:p>
          <a:p>
            <a:pPr marL="135731" indent="-135731">
              <a:lnSpc>
                <a:spcPct val="110000"/>
              </a:lnSpc>
              <a:buFont typeface="Arial" panose="020B0604020202020204" pitchFamily="34" charset="0"/>
              <a:buChar char="•"/>
            </a:pPr>
            <a:r>
              <a:rPr lang="nl-NL" sz="1000" noProof="0" dirty="0">
                <a:solidFill>
                  <a:schemeClr val="tx2"/>
                </a:solidFill>
                <a:latin typeface="+mn-lt"/>
              </a:rPr>
              <a:t>Verschuif de foto in de </a:t>
            </a:r>
            <a:r>
              <a:rPr lang="nl-NL" sz="1000" noProof="0" dirty="0" err="1">
                <a:solidFill>
                  <a:schemeClr val="tx2"/>
                </a:solidFill>
                <a:latin typeface="+mn-lt"/>
              </a:rPr>
              <a:t>placeholder</a:t>
            </a:r>
            <a:endParaRPr lang="nl-NL" sz="1000" noProof="0" dirty="0">
              <a:solidFill>
                <a:schemeClr val="tx2"/>
              </a:solidFill>
              <a:latin typeface="+mn-lt"/>
            </a:endParaRPr>
          </a:p>
        </p:txBody>
      </p:sp>
      <p:pic>
        <p:nvPicPr>
          <p:cNvPr id="8" name="Afbeelding 3">
            <a:extLst>
              <a:ext uri="{FF2B5EF4-FFF2-40B4-BE49-F238E27FC236}">
                <a16:creationId xmlns:a16="http://schemas.microsoft.com/office/drawing/2014/main" id="{0C098277-F6F4-E395-432E-DEA5463DF30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17659"/>
          <a:stretch/>
        </p:blipFill>
        <p:spPr>
          <a:xfrm>
            <a:off x="11148192" y="1948301"/>
            <a:ext cx="419921" cy="476920"/>
          </a:xfrm>
          <a:prstGeom prst="rect">
            <a:avLst/>
          </a:prstGeom>
          <a:effectLst>
            <a:outerShdw blurRad="63500" sx="102000" sy="102000" algn="ctr" rotWithShape="0">
              <a:prstClr val="black">
                <a:alpha val="20000"/>
              </a:prstClr>
            </a:outerShdw>
          </a:effectLst>
        </p:spPr>
      </p:pic>
      <p:cxnSp>
        <p:nvCxnSpPr>
          <p:cNvPr id="9" name="Rechte verbindingslijn 14">
            <a:extLst>
              <a:ext uri="{FF2B5EF4-FFF2-40B4-BE49-F238E27FC236}">
                <a16:creationId xmlns:a16="http://schemas.microsoft.com/office/drawing/2014/main" id="{DE91D669-E8C9-D53D-E4E5-0CEBA6AC8A44}"/>
              </a:ext>
            </a:extLst>
          </p:cNvPr>
          <p:cNvCxnSpPr>
            <a:cxnSpLocks/>
          </p:cNvCxnSpPr>
          <p:nvPr userDrawn="1"/>
        </p:nvCxnSpPr>
        <p:spPr>
          <a:xfrm>
            <a:off x="695324" y="3938204"/>
            <a:ext cx="4716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Groep 15">
            <a:extLst>
              <a:ext uri="{FF2B5EF4-FFF2-40B4-BE49-F238E27FC236}">
                <a16:creationId xmlns:a16="http://schemas.microsoft.com/office/drawing/2014/main" id="{0F1FB3F1-4999-2D10-81FC-578270F6D520}"/>
              </a:ext>
            </a:extLst>
          </p:cNvPr>
          <p:cNvGrpSpPr/>
          <p:nvPr userDrawn="1"/>
        </p:nvGrpSpPr>
        <p:grpSpPr>
          <a:xfrm>
            <a:off x="2489199" y="4074926"/>
            <a:ext cx="1430529" cy="913510"/>
            <a:chOff x="-1603261" y="3756031"/>
            <a:chExt cx="1245474" cy="795337"/>
          </a:xfrm>
        </p:grpSpPr>
        <p:pic>
          <p:nvPicPr>
            <p:cNvPr id="14" name="Afbeelding 19">
              <a:extLst>
                <a:ext uri="{FF2B5EF4-FFF2-40B4-BE49-F238E27FC236}">
                  <a16:creationId xmlns:a16="http://schemas.microsoft.com/office/drawing/2014/main" id="{46DE3F06-4A3E-CD9B-4B6C-F3160296B57E}"/>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b="6146"/>
            <a:stretch/>
          </p:blipFill>
          <p:spPr>
            <a:xfrm>
              <a:off x="-1603261" y="3935363"/>
              <a:ext cx="1007844" cy="616005"/>
            </a:xfrm>
            <a:prstGeom prst="rect">
              <a:avLst/>
            </a:prstGeom>
            <a:solidFill>
              <a:schemeClr val="bg2"/>
            </a:solidFill>
            <a:effectLst>
              <a:outerShdw blurRad="50800" dist="38100" dir="2700000" algn="tl" rotWithShape="0">
                <a:prstClr val="black">
                  <a:alpha val="20000"/>
                </a:prstClr>
              </a:outerShdw>
            </a:effectLst>
          </p:spPr>
        </p:pic>
        <p:sp>
          <p:nvSpPr>
            <p:cNvPr id="15" name="Tekstvak 20">
              <a:extLst>
                <a:ext uri="{FF2B5EF4-FFF2-40B4-BE49-F238E27FC236}">
                  <a16:creationId xmlns:a16="http://schemas.microsoft.com/office/drawing/2014/main" id="{84D911F6-1BEB-6026-A2B0-AE0CE0312216}"/>
                </a:ext>
              </a:extLst>
            </p:cNvPr>
            <p:cNvSpPr txBox="1"/>
            <p:nvPr/>
          </p:nvSpPr>
          <p:spPr>
            <a:xfrm>
              <a:off x="-1257235" y="4415637"/>
              <a:ext cx="272510" cy="123111"/>
            </a:xfrm>
            <a:prstGeom prst="rect">
              <a:avLst/>
            </a:prstGeom>
            <a:noFill/>
          </p:spPr>
          <p:txBody>
            <a:bodyPr wrap="none" lIns="0" tIns="0" rIns="0" bIns="0" rtlCol="0">
              <a:spAutoFit/>
            </a:bodyPr>
            <a:lstStyle/>
            <a:p>
              <a:pPr algn="ctr"/>
              <a:r>
                <a:rPr lang="nl-NL" sz="800" noProof="0" dirty="0">
                  <a:solidFill>
                    <a:schemeClr val="tx2"/>
                  </a:solidFill>
                </a:rPr>
                <a:t>Alinea</a:t>
              </a:r>
            </a:p>
          </p:txBody>
        </p:sp>
        <p:pic>
          <p:nvPicPr>
            <p:cNvPr id="16" name="Graphic 15" descr="Vergrootglas">
              <a:extLst>
                <a:ext uri="{FF2B5EF4-FFF2-40B4-BE49-F238E27FC236}">
                  <a16:creationId xmlns:a16="http://schemas.microsoft.com/office/drawing/2014/main" id="{F8D487EF-FE09-7F8F-AAE2-175CC82821B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8362" y="3756031"/>
              <a:ext cx="790575" cy="790575"/>
            </a:xfrm>
            <a:prstGeom prst="rect">
              <a:avLst/>
            </a:prstGeom>
          </p:spPr>
        </p:pic>
      </p:grpSp>
      <p:cxnSp>
        <p:nvCxnSpPr>
          <p:cNvPr id="17" name="Rechte verbindingslijn 14">
            <a:extLst>
              <a:ext uri="{FF2B5EF4-FFF2-40B4-BE49-F238E27FC236}">
                <a16:creationId xmlns:a16="http://schemas.microsoft.com/office/drawing/2014/main" id="{E4166C7A-301C-713B-EC8C-3CEB0FF55FD9}"/>
              </a:ext>
            </a:extLst>
          </p:cNvPr>
          <p:cNvCxnSpPr>
            <a:cxnSpLocks/>
          </p:cNvCxnSpPr>
          <p:nvPr userDrawn="1"/>
        </p:nvCxnSpPr>
        <p:spPr>
          <a:xfrm>
            <a:off x="5960573" y="3222851"/>
            <a:ext cx="560754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Afbeelding 26">
            <a:extLst>
              <a:ext uri="{FF2B5EF4-FFF2-40B4-BE49-F238E27FC236}">
                <a16:creationId xmlns:a16="http://schemas.microsoft.com/office/drawing/2014/main" id="{8DE28149-FB3B-B11C-E65E-967AA9E33B0C}"/>
              </a:ext>
            </a:extLst>
          </p:cNvPr>
          <p:cNvPicPr>
            <a:picLocks noChangeAspect="1"/>
          </p:cNvPicPr>
          <p:nvPr userDrawn="1"/>
        </p:nvPicPr>
        <p:blipFill rotWithShape="1">
          <a:blip r:embed="rId8"/>
          <a:srcRect b="16088"/>
          <a:stretch/>
        </p:blipFill>
        <p:spPr>
          <a:xfrm>
            <a:off x="695325" y="4282515"/>
            <a:ext cx="1573200" cy="705920"/>
          </a:xfrm>
          <a:prstGeom prst="rect">
            <a:avLst/>
          </a:prstGeom>
          <a:solidFill>
            <a:srgbClr val="FFFFFF"/>
          </a:solidFill>
          <a:effectLst>
            <a:outerShdw blurRad="50800" dist="38100" dir="2700000" algn="tl" rotWithShape="0">
              <a:prstClr val="black">
                <a:alpha val="20000"/>
              </a:prstClr>
            </a:outerShdw>
          </a:effectLst>
        </p:spPr>
      </p:pic>
      <p:sp>
        <p:nvSpPr>
          <p:cNvPr id="42" name="Tijdelijke aanduiding voor tekst 4">
            <a:extLst>
              <a:ext uri="{FF2B5EF4-FFF2-40B4-BE49-F238E27FC236}">
                <a16:creationId xmlns:a16="http://schemas.microsoft.com/office/drawing/2014/main" id="{277B35EC-99D6-EA88-4D11-79A56F4842D4}"/>
              </a:ext>
            </a:extLst>
          </p:cNvPr>
          <p:cNvSpPr txBox="1">
            <a:spLocks/>
          </p:cNvSpPr>
          <p:nvPr userDrawn="1"/>
        </p:nvSpPr>
        <p:spPr>
          <a:xfrm>
            <a:off x="695325" y="5116232"/>
            <a:ext cx="4716463" cy="652743"/>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kumimoji="0" lang="nl-NL" sz="1000" b="0" i="0" u="none" strike="noStrike" kern="0" cap="none" spc="0" normalizeH="0" baseline="0" noProof="0">
                <a:ln>
                  <a:noFill/>
                </a:ln>
                <a:solidFill>
                  <a:prstClr val="black"/>
                </a:solidFill>
                <a:effectLst/>
                <a:uLnTx/>
                <a:uFillTx/>
                <a:latin typeface="Syne" pitchFamily="2" charset="0"/>
                <a:cs typeface="Calibri" panose="020F0502020204030204" pitchFamily="34" charset="0"/>
              </a:rPr>
              <a:t>Het eerste tekstniveau heeft geen opsommings-teken en springt niet in. Om een opsommingslijst te starten, klik op de knop </a:t>
            </a:r>
            <a:r>
              <a:rPr kumimoji="0" lang="nl-NL" sz="1000" i="0" u="none" strike="noStrike" kern="0" cap="none" spc="0" normalizeH="0" baseline="0" noProof="0">
                <a:ln>
                  <a:noFill/>
                </a:ln>
                <a:solidFill>
                  <a:srgbClr val="39C643"/>
                </a:solidFill>
                <a:effectLst/>
                <a:uLnTx/>
                <a:uFillTx/>
                <a:latin typeface="Syne" pitchFamily="2" charset="0"/>
                <a:cs typeface="Calibri" panose="020F0502020204030204" pitchFamily="34" charset="0"/>
              </a:rPr>
              <a:t>‘Lijstniveau verhogen’ </a:t>
            </a:r>
            <a:r>
              <a:rPr kumimoji="0" lang="nl-NL" sz="1000" b="0" i="0" u="none" strike="noStrike" kern="0" cap="none" spc="0" normalizeH="0" baseline="0" noProof="0">
                <a:ln>
                  <a:noFill/>
                </a:ln>
                <a:solidFill>
                  <a:prstClr val="black"/>
                </a:solidFill>
                <a:effectLst/>
                <a:uLnTx/>
                <a:uFillTx/>
                <a:latin typeface="Syne" pitchFamily="2" charset="0"/>
                <a:cs typeface="Calibri" panose="020F0502020204030204" pitchFamily="34" charset="0"/>
              </a:rPr>
              <a:t>op het tabblad Start. Deze uitleg staat ook aan de zijkant van elke dia waar tekst op geplaatst kan worden.</a:t>
            </a:r>
          </a:p>
        </p:txBody>
      </p:sp>
      <p:sp>
        <p:nvSpPr>
          <p:cNvPr id="43" name="Tijdelijke aanduiding voor tekst 4">
            <a:extLst>
              <a:ext uri="{FF2B5EF4-FFF2-40B4-BE49-F238E27FC236}">
                <a16:creationId xmlns:a16="http://schemas.microsoft.com/office/drawing/2014/main" id="{A5FB5174-C4B6-4E61-94FA-6399361305F6}"/>
              </a:ext>
            </a:extLst>
          </p:cNvPr>
          <p:cNvSpPr txBox="1">
            <a:spLocks/>
          </p:cNvSpPr>
          <p:nvPr userDrawn="1"/>
        </p:nvSpPr>
        <p:spPr>
          <a:xfrm>
            <a:off x="5960574" y="1700213"/>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Afbeeldingen plaatsen</a:t>
            </a:r>
          </a:p>
        </p:txBody>
      </p:sp>
      <p:sp>
        <p:nvSpPr>
          <p:cNvPr id="44" name="Content Placeholder 6">
            <a:extLst>
              <a:ext uri="{FF2B5EF4-FFF2-40B4-BE49-F238E27FC236}">
                <a16:creationId xmlns:a16="http://schemas.microsoft.com/office/drawing/2014/main" id="{76B75749-BDC7-C36C-DE71-4561BEDD6639}"/>
              </a:ext>
            </a:extLst>
          </p:cNvPr>
          <p:cNvSpPr txBox="1">
            <a:spLocks/>
          </p:cNvSpPr>
          <p:nvPr userDrawn="1">
            <p:custDataLst>
              <p:tags r:id="rId1"/>
            </p:custDataLst>
          </p:nvPr>
        </p:nvSpPr>
        <p:spPr>
          <a:xfrm>
            <a:off x="5960110" y="5101977"/>
            <a:ext cx="5608003" cy="543097"/>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nSpc>
                <a:spcPct val="120000"/>
              </a:lnSpc>
            </a:pPr>
            <a:r>
              <a:rPr lang="nl-NL" sz="1000" noProof="0">
                <a:solidFill>
                  <a:schemeClr val="tx2"/>
                </a:solidFill>
                <a:latin typeface="+mn-lt"/>
              </a:rPr>
              <a:t>Vul indien gewenst </a:t>
            </a:r>
            <a:r>
              <a:rPr kumimoji="0" lang="nl-NL" sz="1000" i="0" u="none" strike="noStrike" kern="0" cap="none" spc="0" normalizeH="0" baseline="0" noProof="0" dirty="0">
                <a:ln>
                  <a:noFill/>
                </a:ln>
                <a:solidFill>
                  <a:srgbClr val="39C643"/>
                </a:solidFill>
                <a:effectLst/>
                <a:uLnTx/>
                <a:uFillTx/>
                <a:latin typeface="Syne" pitchFamily="2" charset="0"/>
                <a:ea typeface="+mn-ea"/>
                <a:cs typeface="Calibri" panose="020F0502020204030204" pitchFamily="34" charset="0"/>
              </a:rPr>
              <a:t>het onderwerp va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de presentatie</a:t>
            </a:r>
            <a:r>
              <a:rPr lang="nl-NL" sz="1000" noProof="0">
                <a:solidFill>
                  <a:schemeClr val="tx2"/>
                </a:solidFill>
                <a:latin typeface="+mn-lt"/>
              </a:rPr>
              <a:t> </a:t>
            </a:r>
            <a:r>
              <a:rPr lang="nl-NL" sz="1000" noProof="0" dirty="0">
                <a:solidFill>
                  <a:schemeClr val="tx2"/>
                </a:solidFill>
                <a:latin typeface="+mn-lt"/>
              </a:rPr>
              <a:t>in via tabblad Invoegen – Koptekst en voettekst. Wanneer je geen voettekst wilt, vink je deze </a:t>
            </a:r>
            <a:r>
              <a:rPr lang="nl-NL" sz="1000" noProof="0">
                <a:solidFill>
                  <a:schemeClr val="tx2"/>
                </a:solidFill>
                <a:latin typeface="+mn-lt"/>
              </a:rPr>
              <a:t>uit. Hier kun je ook de paginanummering aan- of uitzetten</a:t>
            </a:r>
            <a:endParaRPr lang="nl-NL" sz="1000" noProof="0" dirty="0">
              <a:solidFill>
                <a:schemeClr val="tx2"/>
              </a:solidFill>
              <a:latin typeface="+mn-lt"/>
            </a:endParaRPr>
          </a:p>
        </p:txBody>
      </p:sp>
      <p:sp>
        <p:nvSpPr>
          <p:cNvPr id="46" name="Vrije vorm: vorm 45">
            <a:extLst>
              <a:ext uri="{FF2B5EF4-FFF2-40B4-BE49-F238E27FC236}">
                <a16:creationId xmlns:a16="http://schemas.microsoft.com/office/drawing/2014/main" id="{DD3A5300-ED16-FCB9-677C-4A25F6F79423}"/>
              </a:ext>
            </a:extLst>
          </p:cNvPr>
          <p:cNvSpPr/>
          <p:nvPr userDrawn="1"/>
        </p:nvSpPr>
        <p:spPr>
          <a:xfrm rot="5400000" flipH="1">
            <a:off x="9810754" y="6126225"/>
            <a:ext cx="540000" cy="0"/>
          </a:xfrm>
          <a:custGeom>
            <a:avLst/>
            <a:gdLst>
              <a:gd name="connsiteX0" fmla="*/ 3479800 w 3479800"/>
              <a:gd name="connsiteY0" fmla="*/ 0 h 358775"/>
              <a:gd name="connsiteX1" fmla="*/ 3479800 w 3479800"/>
              <a:gd name="connsiteY1" fmla="*/ 358775 h 358775"/>
              <a:gd name="connsiteX2" fmla="*/ 0 w 3479800"/>
              <a:gd name="connsiteY2" fmla="*/ 358775 h 358775"/>
              <a:gd name="connsiteX0" fmla="*/ 3479800 w 3479800"/>
              <a:gd name="connsiteY0" fmla="*/ 0 h 0"/>
              <a:gd name="connsiteX1" fmla="*/ 0 w 3479800"/>
              <a:gd name="connsiteY1" fmla="*/ 0 h 0"/>
            </a:gdLst>
            <a:ahLst/>
            <a:cxnLst>
              <a:cxn ang="0">
                <a:pos x="connsiteX0" y="connsiteY0"/>
              </a:cxn>
              <a:cxn ang="0">
                <a:pos x="connsiteX1" y="connsiteY1"/>
              </a:cxn>
            </a:cxnLst>
            <a:rect l="l" t="t" r="r" b="b"/>
            <a:pathLst>
              <a:path w="3479800">
                <a:moveTo>
                  <a:pt x="3479800" y="0"/>
                </a:moveTo>
                <a:lnTo>
                  <a:pt x="0" y="0"/>
                </a:lnTo>
              </a:path>
            </a:pathLst>
          </a:custGeom>
          <a:noFill/>
          <a:ln w="6350">
            <a:solidFill>
              <a:schemeClr val="accent3"/>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49" dirty="0">
              <a:solidFill>
                <a:schemeClr val="tx2"/>
              </a:solidFill>
            </a:endParaRPr>
          </a:p>
        </p:txBody>
      </p:sp>
      <p:pic>
        <p:nvPicPr>
          <p:cNvPr id="47" name="Afbeelding 39">
            <a:extLst>
              <a:ext uri="{FF2B5EF4-FFF2-40B4-BE49-F238E27FC236}">
                <a16:creationId xmlns:a16="http://schemas.microsoft.com/office/drawing/2014/main" id="{077EC65A-E99B-E416-5EAC-F026D5709B4F}"/>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9162461" y="5509745"/>
            <a:ext cx="2405652" cy="259230"/>
          </a:xfrm>
          <a:prstGeom prst="rect">
            <a:avLst/>
          </a:prstGeom>
          <a:effectLst>
            <a:outerShdw blurRad="63500" sx="102000" sy="102000" algn="ctr" rotWithShape="0">
              <a:prstClr val="black">
                <a:alpha val="20000"/>
              </a:prstClr>
            </a:outerShdw>
          </a:effectLst>
        </p:spPr>
      </p:pic>
      <p:cxnSp>
        <p:nvCxnSpPr>
          <p:cNvPr id="48" name="Rechte verbindingslijn 14">
            <a:extLst>
              <a:ext uri="{FF2B5EF4-FFF2-40B4-BE49-F238E27FC236}">
                <a16:creationId xmlns:a16="http://schemas.microsoft.com/office/drawing/2014/main" id="{D00025EA-9950-E0CA-E026-B171D6E4C7E0}"/>
              </a:ext>
            </a:extLst>
          </p:cNvPr>
          <p:cNvCxnSpPr>
            <a:cxnSpLocks/>
          </p:cNvCxnSpPr>
          <p:nvPr userDrawn="1"/>
        </p:nvCxnSpPr>
        <p:spPr>
          <a:xfrm>
            <a:off x="5960573" y="4744698"/>
            <a:ext cx="560754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ijdelijke aanduiding voor tekst 4">
            <a:extLst>
              <a:ext uri="{FF2B5EF4-FFF2-40B4-BE49-F238E27FC236}">
                <a16:creationId xmlns:a16="http://schemas.microsoft.com/office/drawing/2014/main" id="{D0E41A0F-F160-5F31-4E23-D90DA7976ED0}"/>
              </a:ext>
            </a:extLst>
          </p:cNvPr>
          <p:cNvSpPr txBox="1">
            <a:spLocks/>
          </p:cNvSpPr>
          <p:nvPr userDrawn="1"/>
        </p:nvSpPr>
        <p:spPr>
          <a:xfrm>
            <a:off x="5960110" y="4835707"/>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Koptekst en voettekst</a:t>
            </a:r>
          </a:p>
        </p:txBody>
      </p:sp>
      <p:sp>
        <p:nvSpPr>
          <p:cNvPr id="50" name="Tijdelijke aanduiding voor voettekst 3">
            <a:extLst>
              <a:ext uri="{FF2B5EF4-FFF2-40B4-BE49-F238E27FC236}">
                <a16:creationId xmlns:a16="http://schemas.microsoft.com/office/drawing/2014/main" id="{4E23721D-B743-A021-2DB7-392E0A3508B1}"/>
              </a:ext>
            </a:extLst>
          </p:cNvPr>
          <p:cNvSpPr txBox="1">
            <a:spLocks/>
          </p:cNvSpPr>
          <p:nvPr userDrawn="1"/>
        </p:nvSpPr>
        <p:spPr>
          <a:xfrm>
            <a:off x="6947953" y="6469662"/>
            <a:ext cx="4114800" cy="138499"/>
          </a:xfrm>
          <a:prstGeom prst="rect">
            <a:avLst/>
          </a:prstGeom>
        </p:spPr>
        <p:txBody>
          <a:bodyPr vert="horz" lIns="0" tIns="0" rIns="0" bIns="0" rtlCol="0" anchor="ctr">
            <a:spAutoFit/>
          </a:bodyPr>
          <a:lstStyle>
            <a:defPPr>
              <a:defRPr lang="nl-NL"/>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Voettekst (bijvoorbeeld naam van de presentatie)</a:t>
            </a:r>
            <a:endParaRPr lang="nl-NL" dirty="0"/>
          </a:p>
        </p:txBody>
      </p:sp>
      <p:sp>
        <p:nvSpPr>
          <p:cNvPr id="51" name="Tijdelijke aanduiding voor dianummer 4">
            <a:extLst>
              <a:ext uri="{FF2B5EF4-FFF2-40B4-BE49-F238E27FC236}">
                <a16:creationId xmlns:a16="http://schemas.microsoft.com/office/drawing/2014/main" id="{AAE66216-78AE-B3EC-B5D9-226CE77C1F95}"/>
              </a:ext>
            </a:extLst>
          </p:cNvPr>
          <p:cNvSpPr txBox="1">
            <a:spLocks/>
          </p:cNvSpPr>
          <p:nvPr userDrawn="1"/>
        </p:nvSpPr>
        <p:spPr>
          <a:xfrm>
            <a:off x="11459108" y="6469662"/>
            <a:ext cx="109005" cy="138499"/>
          </a:xfrm>
          <a:prstGeom prst="rect">
            <a:avLst/>
          </a:prstGeom>
        </p:spPr>
        <p:txBody>
          <a:bodyPr vert="horz" wrap="none" lIns="0" tIns="0" rIns="0" bIns="0" rtlCol="0" anchor="ctr">
            <a:spAutoFit/>
          </a:bodyPr>
          <a:lstStyle>
            <a:defPPr>
              <a:defRPr lang="nl-NL"/>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28</a:t>
            </a:r>
            <a:endParaRPr lang="nl-NL" dirty="0"/>
          </a:p>
        </p:txBody>
      </p:sp>
      <p:sp>
        <p:nvSpPr>
          <p:cNvPr id="61" name="Content Placeholder 4">
            <a:extLst>
              <a:ext uri="{FF2B5EF4-FFF2-40B4-BE49-F238E27FC236}">
                <a16:creationId xmlns:a16="http://schemas.microsoft.com/office/drawing/2014/main" id="{CD729985-6683-B853-1D1E-C00EE342F092}"/>
              </a:ext>
            </a:extLst>
          </p:cNvPr>
          <p:cNvSpPr txBox="1">
            <a:spLocks/>
          </p:cNvSpPr>
          <p:nvPr userDrawn="1"/>
        </p:nvSpPr>
        <p:spPr>
          <a:xfrm>
            <a:off x="695325" y="1948301"/>
            <a:ext cx="4716000" cy="50077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00" noProof="0">
                <a:solidFill>
                  <a:schemeClr val="tx2"/>
                </a:solidFill>
                <a:latin typeface="+mn-lt"/>
              </a:rPr>
              <a:t>De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lettertypes</a:t>
            </a:r>
            <a:r>
              <a:rPr lang="nl-NL" sz="1000" noProof="0">
                <a:solidFill>
                  <a:schemeClr val="tx2"/>
                </a:solidFill>
                <a:latin typeface="+mn-lt"/>
              </a:rPr>
              <a:t> die worden gebruikt in deze template zij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Syne</a:t>
            </a:r>
            <a:r>
              <a:rPr lang="nl-NL" sz="1000" noProof="0">
                <a:solidFill>
                  <a:schemeClr val="tx2"/>
                </a:solidFill>
                <a:latin typeface="+mn-lt"/>
              </a:rPr>
              <a:t> e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Syne Semibold</a:t>
            </a:r>
            <a:r>
              <a:rPr lang="nl-NL" sz="1000" noProof="0">
                <a:solidFill>
                  <a:schemeClr val="tx2"/>
                </a:solidFill>
                <a:latin typeface="+mn-lt"/>
              </a:rPr>
              <a:t>.</a:t>
            </a:r>
          </a:p>
          <a:p>
            <a:pPr marL="0" indent="0">
              <a:lnSpc>
                <a:spcPct val="110000"/>
              </a:lnSpc>
              <a:buFontTx/>
              <a:buNone/>
            </a:pPr>
            <a:r>
              <a:rPr lang="nl-NL" sz="1000" noProof="0">
                <a:solidFill>
                  <a:schemeClr val="tx2"/>
                </a:solidFill>
                <a:latin typeface="+mn-lt"/>
              </a:rPr>
              <a:t>Het Syne lettertype is een Google lettertype en kan worden gedownload op </a:t>
            </a:r>
            <a:r>
              <a:rPr lang="nl-NL" sz="1000" noProof="0">
                <a:solidFill>
                  <a:schemeClr val="tx2"/>
                </a:solidFill>
                <a:latin typeface="+mn-lt"/>
                <a:hlinkClick r:id="rId10"/>
              </a:rPr>
              <a:t>https://fonts.google.com/</a:t>
            </a:r>
            <a:r>
              <a:rPr lang="nl-NL" sz="1000" noProof="0">
                <a:solidFill>
                  <a:schemeClr val="tx2"/>
                </a:solidFill>
                <a:latin typeface="+mn-lt"/>
              </a:rPr>
              <a:t> </a:t>
            </a:r>
            <a:endParaRPr lang="nl-NL" sz="1000" noProof="0" dirty="0">
              <a:solidFill>
                <a:schemeClr val="tx2"/>
              </a:solidFill>
              <a:latin typeface="+mn-lt"/>
            </a:endParaRPr>
          </a:p>
        </p:txBody>
      </p:sp>
      <p:sp>
        <p:nvSpPr>
          <p:cNvPr id="62" name="Tijdelijke aanduiding voor tekst 4">
            <a:extLst>
              <a:ext uri="{FF2B5EF4-FFF2-40B4-BE49-F238E27FC236}">
                <a16:creationId xmlns:a16="http://schemas.microsoft.com/office/drawing/2014/main" id="{C5A13D8C-A987-CAF6-7B48-F3AE2E4B82C3}"/>
              </a:ext>
            </a:extLst>
          </p:cNvPr>
          <p:cNvSpPr txBox="1">
            <a:spLocks/>
          </p:cNvSpPr>
          <p:nvPr userDrawn="1"/>
        </p:nvSpPr>
        <p:spPr>
          <a:xfrm>
            <a:off x="695327" y="1700213"/>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Thema</a:t>
            </a:r>
          </a:p>
        </p:txBody>
      </p:sp>
      <p:sp>
        <p:nvSpPr>
          <p:cNvPr id="63" name="Content Placeholder 4">
            <a:extLst>
              <a:ext uri="{FF2B5EF4-FFF2-40B4-BE49-F238E27FC236}">
                <a16:creationId xmlns:a16="http://schemas.microsoft.com/office/drawing/2014/main" id="{C10306DC-EBF0-7D04-1FB3-D9E0ECC36A36}"/>
              </a:ext>
            </a:extLst>
          </p:cNvPr>
          <p:cNvSpPr txBox="1">
            <a:spLocks/>
          </p:cNvSpPr>
          <p:nvPr userDrawn="1"/>
        </p:nvSpPr>
        <p:spPr>
          <a:xfrm>
            <a:off x="695325" y="2576098"/>
            <a:ext cx="4716000" cy="16222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00" noProof="0">
                <a:solidFill>
                  <a:schemeClr val="tx2"/>
                </a:solidFill>
                <a:latin typeface="+mn-lt"/>
              </a:rPr>
              <a:t>Het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kleurenschema</a:t>
            </a:r>
            <a:r>
              <a:rPr lang="nl-NL" sz="1000" noProof="0">
                <a:solidFill>
                  <a:schemeClr val="tx2"/>
                </a:solidFill>
                <a:latin typeface="+mn-lt"/>
              </a:rPr>
              <a:t> van deze template ziet er als volgt uit:</a:t>
            </a:r>
            <a:endParaRPr lang="nl-NL" sz="1000" noProof="0" dirty="0">
              <a:solidFill>
                <a:schemeClr val="tx2"/>
              </a:solidFill>
              <a:latin typeface="+mn-lt"/>
            </a:endParaRPr>
          </a:p>
        </p:txBody>
      </p:sp>
      <p:pic>
        <p:nvPicPr>
          <p:cNvPr id="65" name="Afbeelding 64">
            <a:extLst>
              <a:ext uri="{FF2B5EF4-FFF2-40B4-BE49-F238E27FC236}">
                <a16:creationId xmlns:a16="http://schemas.microsoft.com/office/drawing/2014/main" id="{7B026429-D9FC-717F-1A76-4A2C52A482C0}"/>
              </a:ext>
            </a:extLst>
          </p:cNvPr>
          <p:cNvPicPr>
            <a:picLocks noChangeAspect="1"/>
          </p:cNvPicPr>
          <p:nvPr userDrawn="1"/>
        </p:nvPicPr>
        <p:blipFill rotWithShape="1">
          <a:blip r:embed="rId11"/>
          <a:srcRect t="2106"/>
          <a:stretch/>
        </p:blipFill>
        <p:spPr>
          <a:xfrm>
            <a:off x="695325" y="2822448"/>
            <a:ext cx="1294774" cy="1000335"/>
          </a:xfrm>
          <a:prstGeom prst="rect">
            <a:avLst/>
          </a:prstGeom>
          <a:solidFill>
            <a:schemeClr val="bg2"/>
          </a:solidFill>
          <a:effectLst>
            <a:outerShdw blurRad="50800" dist="38100" dir="2700000" algn="tl" rotWithShape="0">
              <a:prstClr val="black">
                <a:alpha val="20000"/>
              </a:prstClr>
            </a:outerShdw>
          </a:effectLst>
        </p:spPr>
      </p:pic>
      <p:sp>
        <p:nvSpPr>
          <p:cNvPr id="66" name="Tijdelijke aanduiding voor tekst 4">
            <a:extLst>
              <a:ext uri="{FF2B5EF4-FFF2-40B4-BE49-F238E27FC236}">
                <a16:creationId xmlns:a16="http://schemas.microsoft.com/office/drawing/2014/main" id="{5D6A9AA8-A4C9-0751-DFE4-C74E92F32248}"/>
              </a:ext>
            </a:extLst>
          </p:cNvPr>
          <p:cNvSpPr txBox="1">
            <a:spLocks/>
          </p:cNvSpPr>
          <p:nvPr userDrawn="1"/>
        </p:nvSpPr>
        <p:spPr>
          <a:xfrm>
            <a:off x="5960574" y="3340037"/>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Hulplijnen</a:t>
            </a:r>
          </a:p>
        </p:txBody>
      </p:sp>
      <p:pic>
        <p:nvPicPr>
          <p:cNvPr id="70" name="Afbeelding 69">
            <a:extLst>
              <a:ext uri="{FF2B5EF4-FFF2-40B4-BE49-F238E27FC236}">
                <a16:creationId xmlns:a16="http://schemas.microsoft.com/office/drawing/2014/main" id="{3E215CAD-0BC2-62AA-5721-0A2D68A2D2B2}"/>
              </a:ext>
            </a:extLst>
          </p:cNvPr>
          <p:cNvPicPr>
            <a:picLocks noChangeAspect="1"/>
          </p:cNvPicPr>
          <p:nvPr userDrawn="1"/>
        </p:nvPicPr>
        <p:blipFill rotWithShape="1">
          <a:blip r:embed="rId12"/>
          <a:srcRect l="6167"/>
          <a:stretch/>
        </p:blipFill>
        <p:spPr>
          <a:xfrm>
            <a:off x="10704059" y="3329543"/>
            <a:ext cx="864054" cy="573717"/>
          </a:xfrm>
          <a:prstGeom prst="rect">
            <a:avLst/>
          </a:prstGeom>
          <a:effectLst>
            <a:outerShdw blurRad="63500" sx="102000" sy="102000" algn="ctr" rotWithShape="0">
              <a:prstClr val="black">
                <a:alpha val="20000"/>
              </a:prstClr>
            </a:outerShdw>
          </a:effectLst>
        </p:spPr>
      </p:pic>
      <p:sp>
        <p:nvSpPr>
          <p:cNvPr id="71" name="Content Placeholder 4">
            <a:extLst>
              <a:ext uri="{FF2B5EF4-FFF2-40B4-BE49-F238E27FC236}">
                <a16:creationId xmlns:a16="http://schemas.microsoft.com/office/drawing/2014/main" id="{B6AD2041-583E-CF74-B447-6B10FFAEB100}"/>
              </a:ext>
            </a:extLst>
          </p:cNvPr>
          <p:cNvSpPr txBox="1">
            <a:spLocks/>
          </p:cNvSpPr>
          <p:nvPr userDrawn="1"/>
        </p:nvSpPr>
        <p:spPr>
          <a:xfrm>
            <a:off x="5960571" y="3632321"/>
            <a:ext cx="5607541" cy="1008609"/>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Hulplijnen</a:t>
            </a:r>
            <a:r>
              <a:rPr lang="nl-NL" sz="1000" noProof="0">
                <a:solidFill>
                  <a:schemeClr val="tx2"/>
                </a:solidFill>
                <a:latin typeface="+mn-lt"/>
              </a:rPr>
              <a:t> zij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gestippelde rode en oranje lijnen </a:t>
            </a:r>
            <a:r>
              <a:rPr lang="nl-NL" sz="1000" noProof="0">
                <a:solidFill>
                  <a:schemeClr val="tx2"/>
                </a:solidFill>
                <a:latin typeface="+mn-lt"/>
              </a:rPr>
              <a:t>in PowerPoint en deze zijn </a:t>
            </a:r>
            <a:br>
              <a:rPr lang="nl-NL" sz="1000" noProof="0">
                <a:solidFill>
                  <a:schemeClr val="tx2"/>
                </a:solidFill>
                <a:latin typeface="+mn-lt"/>
              </a:rPr>
            </a:br>
            <a:r>
              <a:rPr lang="nl-NL" sz="1000" noProof="0">
                <a:solidFill>
                  <a:schemeClr val="tx2"/>
                </a:solidFill>
                <a:latin typeface="+mn-lt"/>
              </a:rPr>
              <a:t>magnetisch. Dit betekent dat wanneer je een object zoals een tekstvak, afbeelding </a:t>
            </a:r>
            <a:br>
              <a:rPr lang="nl-NL" sz="1000" noProof="0">
                <a:solidFill>
                  <a:schemeClr val="tx2"/>
                </a:solidFill>
                <a:latin typeface="+mn-lt"/>
              </a:rPr>
            </a:br>
            <a:r>
              <a:rPr lang="nl-NL" sz="1000" noProof="0">
                <a:solidFill>
                  <a:schemeClr val="tx2"/>
                </a:solidFill>
                <a:latin typeface="+mn-lt"/>
              </a:rPr>
              <a:t>of vorm naar een hulplijn sleept, het object automatisch naar de hulplijn wordt getrokken en zich daaraan uitlijnt. Dit maakt het gemakkelijker om objecten precies te plaatsen en ervoor te zorgen dat ze op één lijn liggen met andere elementen op de dia.</a:t>
            </a:r>
          </a:p>
          <a:p>
            <a:pPr marL="0" indent="0">
              <a:lnSpc>
                <a:spcPct val="110000"/>
              </a:lnSpc>
              <a:buFontTx/>
              <a:buNone/>
            </a:pPr>
            <a:r>
              <a:rPr lang="nl-NL" sz="1000" noProof="0">
                <a:solidFill>
                  <a:schemeClr val="tx2"/>
                </a:solidFill>
                <a:latin typeface="+mn-lt"/>
              </a:rPr>
              <a:t>Zet de hulplijnen aan of uit met de sneltoets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Ctrl-F9. </a:t>
            </a:r>
            <a:endParaRPr kumimoji="0" lang="nl-NL" sz="1000" i="0" u="none" strike="noStrike" kern="0" cap="none" spc="0" normalizeH="0" baseline="0" noProof="0" dirty="0">
              <a:ln>
                <a:noFill/>
              </a:ln>
              <a:solidFill>
                <a:srgbClr val="39C643"/>
              </a:solidFill>
              <a:effectLst/>
              <a:uLnTx/>
              <a:uFillTx/>
              <a:latin typeface="Syne" pitchFamily="2" charset="0"/>
              <a:ea typeface="+mn-ea"/>
              <a:cs typeface="Calibri" panose="020F0502020204030204" pitchFamily="34" charset="0"/>
            </a:endParaRPr>
          </a:p>
        </p:txBody>
      </p:sp>
      <p:sp>
        <p:nvSpPr>
          <p:cNvPr id="75" name="Vrije vorm: vorm 74">
            <a:extLst>
              <a:ext uri="{FF2B5EF4-FFF2-40B4-BE49-F238E27FC236}">
                <a16:creationId xmlns:a16="http://schemas.microsoft.com/office/drawing/2014/main" id="{D325E5B3-4880-6D97-19A8-C01D159294EC}"/>
              </a:ext>
            </a:extLst>
          </p:cNvPr>
          <p:cNvSpPr/>
          <p:nvPr userDrawn="1"/>
        </p:nvSpPr>
        <p:spPr>
          <a:xfrm rot="5400000" flipH="1">
            <a:off x="11237597" y="6126225"/>
            <a:ext cx="540000" cy="0"/>
          </a:xfrm>
          <a:custGeom>
            <a:avLst/>
            <a:gdLst>
              <a:gd name="connsiteX0" fmla="*/ 3479800 w 3479800"/>
              <a:gd name="connsiteY0" fmla="*/ 0 h 358775"/>
              <a:gd name="connsiteX1" fmla="*/ 3479800 w 3479800"/>
              <a:gd name="connsiteY1" fmla="*/ 358775 h 358775"/>
              <a:gd name="connsiteX2" fmla="*/ 0 w 3479800"/>
              <a:gd name="connsiteY2" fmla="*/ 358775 h 358775"/>
              <a:gd name="connsiteX0" fmla="*/ 3479800 w 3479800"/>
              <a:gd name="connsiteY0" fmla="*/ 0 h 0"/>
              <a:gd name="connsiteX1" fmla="*/ 0 w 3479800"/>
              <a:gd name="connsiteY1" fmla="*/ 0 h 0"/>
            </a:gdLst>
            <a:ahLst/>
            <a:cxnLst>
              <a:cxn ang="0">
                <a:pos x="connsiteX0" y="connsiteY0"/>
              </a:cxn>
              <a:cxn ang="0">
                <a:pos x="connsiteX1" y="connsiteY1"/>
              </a:cxn>
            </a:cxnLst>
            <a:rect l="l" t="t" r="r" b="b"/>
            <a:pathLst>
              <a:path w="3479800">
                <a:moveTo>
                  <a:pt x="3479800" y="0"/>
                </a:moveTo>
                <a:lnTo>
                  <a:pt x="0" y="0"/>
                </a:lnTo>
              </a:path>
            </a:pathLst>
          </a:custGeom>
          <a:noFill/>
          <a:ln w="6350">
            <a:solidFill>
              <a:schemeClr val="accent3"/>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49" dirty="0">
              <a:solidFill>
                <a:schemeClr val="tx2"/>
              </a:solidFill>
            </a:endParaRPr>
          </a:p>
        </p:txBody>
      </p:sp>
    </p:spTree>
    <p:extLst>
      <p:ext uri="{BB962C8B-B14F-4D97-AF65-F5344CB8AC3E}">
        <p14:creationId xmlns:p14="http://schemas.microsoft.com/office/powerpoint/2010/main" val="138271315"/>
      </p:ext>
    </p:extLst>
  </p:cSld>
  <p:clrMapOvr>
    <a:masterClrMapping/>
  </p:clrMapOvr>
  <p:extLst>
    <p:ext uri="{DCECCB84-F9BA-43D5-87BE-67443E8EF086}">
      <p15:sldGuideLst xmlns:p15="http://schemas.microsoft.com/office/powerpoint/2012/main">
        <p15:guide id="1" orient="horz" pos="1071">
          <p15:clr>
            <a:srgbClr val="FBAE40"/>
          </p15:clr>
        </p15:guide>
        <p15:guide id="2" pos="438">
          <p15:clr>
            <a:srgbClr val="FBAE40"/>
          </p15:clr>
        </p15:guide>
        <p15:guide id="3" pos="7287">
          <p15:clr>
            <a:srgbClr val="FBAE40"/>
          </p15:clr>
        </p15:guide>
        <p15:guide id="4" orient="horz" pos="363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dia met 2 regels">
    <p:spTree>
      <p:nvGrpSpPr>
        <p:cNvPr id="1" name=""/>
        <p:cNvGrpSpPr/>
        <p:nvPr/>
      </p:nvGrpSpPr>
      <p:grpSpPr>
        <a:xfrm>
          <a:off x="0" y="0"/>
          <a:ext cx="0" cy="0"/>
          <a:chOff x="0" y="0"/>
          <a:chExt cx="0" cy="0"/>
        </a:xfrm>
      </p:grpSpPr>
      <p:sp>
        <p:nvSpPr>
          <p:cNvPr id="17" name="Vrije vorm: vorm 16">
            <a:extLst>
              <a:ext uri="{FF2B5EF4-FFF2-40B4-BE49-F238E27FC236}">
                <a16:creationId xmlns:a16="http://schemas.microsoft.com/office/drawing/2014/main" id="{DDD6D071-740F-C0D0-E1AB-1AFA6E5D5B2F}"/>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18" name="Logo">
            <a:extLst>
              <a:ext uri="{FF2B5EF4-FFF2-40B4-BE49-F238E27FC236}">
                <a16:creationId xmlns:a16="http://schemas.microsoft.com/office/drawing/2014/main" id="{7A8480E1-C850-6600-4168-7B9D58375E60}"/>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16" name="Afbeeldingsplaceholder">
            <a:extLst>
              <a:ext uri="{FF2B5EF4-FFF2-40B4-BE49-F238E27FC236}">
                <a16:creationId xmlns:a16="http://schemas.microsoft.com/office/drawing/2014/main" id="{EF0CF9B8-E6D0-2520-D615-AB34F25E9188}"/>
              </a:ext>
            </a:extLst>
          </p:cNvPr>
          <p:cNvSpPr>
            <a:spLocks noGrp="1" noRot="1" noMove="1" noResize="1" noEditPoints="1" noAdjustHandles="1" noChangeArrowheads="1" noChangeShapeType="1"/>
          </p:cNvSpPr>
          <p:nvPr>
            <p:ph type="pic" sz="quarter" idx="11"/>
          </p:nvPr>
        </p:nvSpPr>
        <p:spPr>
          <a:xfrm>
            <a:off x="127001" y="127000"/>
            <a:ext cx="11938002" cy="6604002"/>
          </a:xfrm>
          <a:custGeom>
            <a:avLst/>
            <a:gdLst>
              <a:gd name="connsiteX0" fmla="*/ 1714500 w 11938002"/>
              <a:gd name="connsiteY0" fmla="*/ 0 h 6604002"/>
              <a:gd name="connsiteX1" fmla="*/ 11811001 w 11938002"/>
              <a:gd name="connsiteY1" fmla="*/ 0 h 6604002"/>
              <a:gd name="connsiteX2" fmla="*/ 11938002 w 11938002"/>
              <a:gd name="connsiteY2" fmla="*/ 127001 h 6604002"/>
              <a:gd name="connsiteX3" fmla="*/ 11938002 w 11938002"/>
              <a:gd name="connsiteY3" fmla="*/ 6477001 h 6604002"/>
              <a:gd name="connsiteX4" fmla="*/ 11811001 w 11938002"/>
              <a:gd name="connsiteY4" fmla="*/ 6604002 h 6604002"/>
              <a:gd name="connsiteX5" fmla="*/ 4919220 w 11938002"/>
              <a:gd name="connsiteY5" fmla="*/ 6604002 h 6604002"/>
              <a:gd name="connsiteX6" fmla="*/ 4792219 w 11938002"/>
              <a:gd name="connsiteY6" fmla="*/ 6477001 h 6604002"/>
              <a:gd name="connsiteX7" fmla="*/ 4792219 w 11938002"/>
              <a:gd name="connsiteY7" fmla="*/ 5280153 h 6604002"/>
              <a:gd name="connsiteX8" fmla="*/ 4665220 w 11938002"/>
              <a:gd name="connsiteY8" fmla="*/ 5153152 h 6604002"/>
              <a:gd name="connsiteX9" fmla="*/ 1701736 w 11938002"/>
              <a:gd name="connsiteY9" fmla="*/ 5153152 h 6604002"/>
              <a:gd name="connsiteX10" fmla="*/ 1574738 w 11938002"/>
              <a:gd name="connsiteY10" fmla="*/ 5026153 h 6604002"/>
              <a:gd name="connsiteX11" fmla="*/ 1574738 w 11938002"/>
              <a:gd name="connsiteY11" fmla="*/ 4960557 h 6604002"/>
              <a:gd name="connsiteX12" fmla="*/ 1447737 w 11938002"/>
              <a:gd name="connsiteY12" fmla="*/ 4833556 h 6604002"/>
              <a:gd name="connsiteX13" fmla="*/ 127001 w 11938002"/>
              <a:gd name="connsiteY13" fmla="*/ 4833556 h 6604002"/>
              <a:gd name="connsiteX14" fmla="*/ 0 w 11938002"/>
              <a:gd name="connsiteY14" fmla="*/ 4706558 h 6604002"/>
              <a:gd name="connsiteX15" fmla="*/ 0 w 11938002"/>
              <a:gd name="connsiteY15" fmla="*/ 746125 h 6604002"/>
              <a:gd name="connsiteX16" fmla="*/ 127001 w 11938002"/>
              <a:gd name="connsiteY16" fmla="*/ 619126 h 6604002"/>
              <a:gd name="connsiteX17" fmla="*/ 1460500 w 11938002"/>
              <a:gd name="connsiteY17" fmla="*/ 619126 h 6604002"/>
              <a:gd name="connsiteX18" fmla="*/ 1587501 w 11938002"/>
              <a:gd name="connsiteY18" fmla="*/ 492125 h 6604002"/>
              <a:gd name="connsiteX19" fmla="*/ 1587501 w 11938002"/>
              <a:gd name="connsiteY19" fmla="*/ 127001 h 6604002"/>
              <a:gd name="connsiteX20" fmla="*/ 1714500 w 11938002"/>
              <a:gd name="connsiteY20" fmla="*/ 0 h 66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8002" h="6604002">
                <a:moveTo>
                  <a:pt x="1714500" y="0"/>
                </a:moveTo>
                <a:lnTo>
                  <a:pt x="11811001" y="0"/>
                </a:lnTo>
                <a:cubicBezTo>
                  <a:pt x="11881169" y="0"/>
                  <a:pt x="11938002" y="56834"/>
                  <a:pt x="11938002" y="127001"/>
                </a:cubicBezTo>
                <a:lnTo>
                  <a:pt x="11938002" y="6477001"/>
                </a:lnTo>
                <a:cubicBezTo>
                  <a:pt x="11938002" y="6547168"/>
                  <a:pt x="11881169" y="6604002"/>
                  <a:pt x="11811001" y="6604002"/>
                </a:cubicBezTo>
                <a:lnTo>
                  <a:pt x="4919220" y="6604002"/>
                </a:lnTo>
                <a:cubicBezTo>
                  <a:pt x="4849114" y="6604002"/>
                  <a:pt x="4792219" y="6547168"/>
                  <a:pt x="4792219" y="6477001"/>
                </a:cubicBezTo>
                <a:lnTo>
                  <a:pt x="4792219" y="5280153"/>
                </a:lnTo>
                <a:cubicBezTo>
                  <a:pt x="4792219" y="5209985"/>
                  <a:pt x="4735385" y="5153152"/>
                  <a:pt x="4665220" y="5153152"/>
                </a:cubicBezTo>
                <a:lnTo>
                  <a:pt x="1701736" y="5153152"/>
                </a:lnTo>
                <a:cubicBezTo>
                  <a:pt x="1631633" y="5153152"/>
                  <a:pt x="1574738" y="5096321"/>
                  <a:pt x="1574738" y="5026153"/>
                </a:cubicBezTo>
                <a:lnTo>
                  <a:pt x="1574738" y="4960557"/>
                </a:lnTo>
                <a:cubicBezTo>
                  <a:pt x="1574738" y="4890390"/>
                  <a:pt x="1517904" y="4833556"/>
                  <a:pt x="1447737" y="4833556"/>
                </a:cubicBezTo>
                <a:lnTo>
                  <a:pt x="127001" y="4833556"/>
                </a:lnTo>
                <a:cubicBezTo>
                  <a:pt x="56834" y="4833556"/>
                  <a:pt x="0" y="4776725"/>
                  <a:pt x="0" y="4706558"/>
                </a:cubicBezTo>
                <a:lnTo>
                  <a:pt x="0" y="746125"/>
                </a:lnTo>
                <a:cubicBezTo>
                  <a:pt x="0" y="675957"/>
                  <a:pt x="56834" y="619126"/>
                  <a:pt x="127001" y="619126"/>
                </a:cubicBezTo>
                <a:lnTo>
                  <a:pt x="1460500" y="619126"/>
                </a:lnTo>
                <a:cubicBezTo>
                  <a:pt x="1530668" y="619126"/>
                  <a:pt x="1587501" y="562293"/>
                  <a:pt x="1587501" y="492125"/>
                </a:cubicBezTo>
                <a:lnTo>
                  <a:pt x="1587501" y="127001"/>
                </a:lnTo>
                <a:cubicBezTo>
                  <a:pt x="1587501" y="56834"/>
                  <a:pt x="1644332" y="0"/>
                  <a:pt x="17145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AAA17855-856B-1A9C-AD8C-0B2FAE7CCEC6}"/>
              </a:ext>
            </a:extLst>
          </p:cNvPr>
          <p:cNvSpPr>
            <a:spLocks noGrp="1"/>
          </p:cNvSpPr>
          <p:nvPr>
            <p:ph type="ctrTitle" hasCustomPrompt="1"/>
          </p:nvPr>
        </p:nvSpPr>
        <p:spPr>
          <a:xfrm>
            <a:off x="152998" y="5348701"/>
            <a:ext cx="4511966" cy="503984"/>
          </a:xfrm>
        </p:spPr>
        <p:txBody>
          <a:bodyPr anchor="t" anchorCtr="0"/>
          <a:lstStyle>
            <a:lvl1pPr algn="l">
              <a:defRPr sz="3000"/>
            </a:lvl1pPr>
          </a:lstStyle>
          <a:p>
            <a:r>
              <a:rPr lang="nl-NL" dirty="0"/>
              <a:t>Titel over 2 regels</a:t>
            </a:r>
          </a:p>
        </p:txBody>
      </p:sp>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5037004"/>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2486381703"/>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dia met 3 regels">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35" name="Afbeeldingsplaceholder">
            <a:extLst>
              <a:ext uri="{FF2B5EF4-FFF2-40B4-BE49-F238E27FC236}">
                <a16:creationId xmlns:a16="http://schemas.microsoft.com/office/drawing/2014/main" id="{89D60D14-7A36-57A7-4FAC-8A812D16E712}"/>
              </a:ext>
            </a:extLst>
          </p:cNvPr>
          <p:cNvSpPr>
            <a:spLocks noGrp="1" noRot="1" noMove="1" noResize="1" noEditPoints="1" noAdjustHandles="1" noChangeArrowheads="1" noChangeShapeType="1"/>
          </p:cNvSpPr>
          <p:nvPr>
            <p:ph type="pic" sz="quarter" idx="11"/>
          </p:nvPr>
        </p:nvSpPr>
        <p:spPr>
          <a:xfrm>
            <a:off x="127001" y="127000"/>
            <a:ext cx="11938002" cy="6604002"/>
          </a:xfrm>
          <a:custGeom>
            <a:avLst/>
            <a:gdLst>
              <a:gd name="connsiteX0" fmla="*/ 1724025 w 11938002"/>
              <a:gd name="connsiteY0" fmla="*/ 0 h 6604002"/>
              <a:gd name="connsiteX1" fmla="*/ 11811001 w 11938002"/>
              <a:gd name="connsiteY1" fmla="*/ 0 h 6604002"/>
              <a:gd name="connsiteX2" fmla="*/ 11938002 w 11938002"/>
              <a:gd name="connsiteY2" fmla="*/ 127001 h 6604002"/>
              <a:gd name="connsiteX3" fmla="*/ 11938002 w 11938002"/>
              <a:gd name="connsiteY3" fmla="*/ 6477001 h 6604002"/>
              <a:gd name="connsiteX4" fmla="*/ 11811001 w 11938002"/>
              <a:gd name="connsiteY4" fmla="*/ 6604002 h 6604002"/>
              <a:gd name="connsiteX5" fmla="*/ 4919220 w 11938002"/>
              <a:gd name="connsiteY5" fmla="*/ 6604002 h 6604002"/>
              <a:gd name="connsiteX6" fmla="*/ 4792219 w 11938002"/>
              <a:gd name="connsiteY6" fmla="*/ 6477001 h 6604002"/>
              <a:gd name="connsiteX7" fmla="*/ 4792219 w 11938002"/>
              <a:gd name="connsiteY7" fmla="*/ 4772154 h 6604002"/>
              <a:gd name="connsiteX8" fmla="*/ 4665221 w 11938002"/>
              <a:gd name="connsiteY8" fmla="*/ 4645152 h 6604002"/>
              <a:gd name="connsiteX9" fmla="*/ 1701736 w 11938002"/>
              <a:gd name="connsiteY9" fmla="*/ 4645152 h 6604002"/>
              <a:gd name="connsiteX10" fmla="*/ 1574738 w 11938002"/>
              <a:gd name="connsiteY10" fmla="*/ 4518151 h 6604002"/>
              <a:gd name="connsiteX11" fmla="*/ 1574738 w 11938002"/>
              <a:gd name="connsiteY11" fmla="*/ 4452556 h 6604002"/>
              <a:gd name="connsiteX12" fmla="*/ 1447737 w 11938002"/>
              <a:gd name="connsiteY12" fmla="*/ 4325557 h 6604002"/>
              <a:gd name="connsiteX13" fmla="*/ 127001 w 11938002"/>
              <a:gd name="connsiteY13" fmla="*/ 4325557 h 6604002"/>
              <a:gd name="connsiteX14" fmla="*/ 0 w 11938002"/>
              <a:gd name="connsiteY14" fmla="*/ 4198556 h 6604002"/>
              <a:gd name="connsiteX15" fmla="*/ 0 w 11938002"/>
              <a:gd name="connsiteY15" fmla="*/ 746125 h 6604002"/>
              <a:gd name="connsiteX16" fmla="*/ 127001 w 11938002"/>
              <a:gd name="connsiteY16" fmla="*/ 619126 h 6604002"/>
              <a:gd name="connsiteX17" fmla="*/ 1470025 w 11938002"/>
              <a:gd name="connsiteY17" fmla="*/ 619126 h 6604002"/>
              <a:gd name="connsiteX18" fmla="*/ 1597026 w 11938002"/>
              <a:gd name="connsiteY18" fmla="*/ 492125 h 6604002"/>
              <a:gd name="connsiteX19" fmla="*/ 1597026 w 11938002"/>
              <a:gd name="connsiteY19" fmla="*/ 127001 h 6604002"/>
              <a:gd name="connsiteX20" fmla="*/ 1724025 w 11938002"/>
              <a:gd name="connsiteY20" fmla="*/ 0 h 66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8002" h="6604002">
                <a:moveTo>
                  <a:pt x="1724025" y="0"/>
                </a:moveTo>
                <a:lnTo>
                  <a:pt x="11811001" y="0"/>
                </a:lnTo>
                <a:cubicBezTo>
                  <a:pt x="11880852" y="0"/>
                  <a:pt x="11938002" y="56834"/>
                  <a:pt x="11938002" y="127001"/>
                </a:cubicBezTo>
                <a:lnTo>
                  <a:pt x="11938002" y="6477001"/>
                </a:lnTo>
                <a:cubicBezTo>
                  <a:pt x="11938002" y="6547168"/>
                  <a:pt x="11880852" y="6604002"/>
                  <a:pt x="11811001" y="6604002"/>
                </a:cubicBezTo>
                <a:lnTo>
                  <a:pt x="4919220" y="6604002"/>
                </a:lnTo>
                <a:cubicBezTo>
                  <a:pt x="4849114" y="6604002"/>
                  <a:pt x="4792219" y="6547168"/>
                  <a:pt x="4792219" y="6477001"/>
                </a:cubicBezTo>
                <a:lnTo>
                  <a:pt x="4792219" y="4772154"/>
                </a:lnTo>
                <a:cubicBezTo>
                  <a:pt x="4792219" y="4701986"/>
                  <a:pt x="4735386" y="4645152"/>
                  <a:pt x="4665221" y="4645152"/>
                </a:cubicBezTo>
                <a:lnTo>
                  <a:pt x="1701736" y="4645152"/>
                </a:lnTo>
                <a:cubicBezTo>
                  <a:pt x="1631633" y="4645152"/>
                  <a:pt x="1574738" y="4588319"/>
                  <a:pt x="1574738" y="4518151"/>
                </a:cubicBezTo>
                <a:lnTo>
                  <a:pt x="1574738" y="4452556"/>
                </a:lnTo>
                <a:cubicBezTo>
                  <a:pt x="1574738" y="4382390"/>
                  <a:pt x="1517904" y="4325557"/>
                  <a:pt x="1447737" y="4325557"/>
                </a:cubicBezTo>
                <a:lnTo>
                  <a:pt x="127001" y="4325557"/>
                </a:lnTo>
                <a:cubicBezTo>
                  <a:pt x="56834" y="4325557"/>
                  <a:pt x="0" y="4268724"/>
                  <a:pt x="0" y="4198556"/>
                </a:cubicBezTo>
                <a:lnTo>
                  <a:pt x="0" y="746125"/>
                </a:lnTo>
                <a:cubicBezTo>
                  <a:pt x="0" y="675957"/>
                  <a:pt x="56834" y="619126"/>
                  <a:pt x="127001" y="619126"/>
                </a:cubicBezTo>
                <a:lnTo>
                  <a:pt x="1470025" y="619126"/>
                </a:lnTo>
                <a:cubicBezTo>
                  <a:pt x="1540193" y="619126"/>
                  <a:pt x="1597026" y="562293"/>
                  <a:pt x="1597026" y="492125"/>
                </a:cubicBezTo>
                <a:lnTo>
                  <a:pt x="1597026" y="127001"/>
                </a:lnTo>
                <a:cubicBezTo>
                  <a:pt x="1597026" y="56834"/>
                  <a:pt x="1653857" y="0"/>
                  <a:pt x="172402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AAA17855-856B-1A9C-AD8C-0B2FAE7CCEC6}"/>
              </a:ext>
            </a:extLst>
          </p:cNvPr>
          <p:cNvSpPr>
            <a:spLocks noGrp="1"/>
          </p:cNvSpPr>
          <p:nvPr>
            <p:ph type="ctrTitle" hasCustomPrompt="1"/>
          </p:nvPr>
        </p:nvSpPr>
        <p:spPr>
          <a:xfrm>
            <a:off x="152998" y="4817760"/>
            <a:ext cx="4511966" cy="503984"/>
          </a:xfrm>
        </p:spPr>
        <p:txBody>
          <a:bodyPr anchor="t" anchorCtr="0"/>
          <a:lstStyle>
            <a:lvl1pPr algn="l">
              <a:defRPr sz="3000"/>
            </a:lvl1pPr>
          </a:lstStyle>
          <a:p>
            <a:r>
              <a:rPr lang="nl-NL" dirty="0"/>
              <a:t>Titel over 3 regels</a:t>
            </a:r>
          </a:p>
        </p:txBody>
      </p:sp>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452818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255391554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met drie kolommen">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p:nvPicPr>
        <p:blipFill>
          <a:blip r:embed="rId2"/>
          <a:stretch>
            <a:fillRect/>
          </a:stretch>
        </p:blipFill>
        <p:spPr>
          <a:xfrm>
            <a:off x="10335003" y="-1525"/>
            <a:ext cx="1862049" cy="1671070"/>
          </a:xfrm>
          <a:prstGeom prst="rect">
            <a:avLst/>
          </a:prstGeom>
          <a:ln w="12700">
            <a:miter lim="400000"/>
          </a:ln>
        </p:spPr>
      </p:pic>
      <p:pic>
        <p:nvPicPr>
          <p:cNvPr id="5" name="Picture 4">
            <a:extLst>
              <a:ext uri="{FF2B5EF4-FFF2-40B4-BE49-F238E27FC236}">
                <a16:creationId xmlns:a16="http://schemas.microsoft.com/office/drawing/2014/main" id="{72FD96E4-D44C-3C48-A1D5-1732CA45C16D}"/>
              </a:ext>
            </a:extLst>
          </p:cNvPr>
          <p:cNvPicPr>
            <a:picLocks noChangeAspect="1"/>
          </p:cNvPicPr>
          <p:nvPr/>
        </p:nvPicPr>
        <p:blipFill>
          <a:blip r:embed="rId3"/>
          <a:stretch>
            <a:fillRect/>
          </a:stretch>
        </p:blipFill>
        <p:spPr>
          <a:xfrm>
            <a:off x="9731" y="1739565"/>
            <a:ext cx="12192000" cy="51771"/>
          </a:xfrm>
          <a:prstGeom prst="rect">
            <a:avLst/>
          </a:prstGeom>
        </p:spPr>
      </p:pic>
      <p:sp>
        <p:nvSpPr>
          <p:cNvPr id="8" name="Picture Placeholder 7">
            <a:extLst>
              <a:ext uri="{FF2B5EF4-FFF2-40B4-BE49-F238E27FC236}">
                <a16:creationId xmlns:a16="http://schemas.microsoft.com/office/drawing/2014/main" id="{56965652-CC2B-024D-9C49-C3B7B527605B}"/>
              </a:ext>
            </a:extLst>
          </p:cNvPr>
          <p:cNvSpPr>
            <a:spLocks noGrp="1"/>
          </p:cNvSpPr>
          <p:nvPr>
            <p:ph type="pic" sz="quarter" idx="13"/>
          </p:nvPr>
        </p:nvSpPr>
        <p:spPr>
          <a:xfrm>
            <a:off x="849600" y="2409865"/>
            <a:ext cx="3216910" cy="2656800"/>
          </a:xfrm>
          <a:prstGeom prst="rect">
            <a:avLst/>
          </a:prstGeom>
        </p:spPr>
        <p:txBody>
          <a:bodyPr/>
          <a:lstStyle>
            <a:lvl1pPr marL="0" indent="0" algn="ctr">
              <a:buNone/>
              <a:defRPr/>
            </a:lvl1pPr>
          </a:lstStyle>
          <a:p>
            <a:r>
              <a:rPr lang="en-US"/>
              <a:t>Click icon to add picture</a:t>
            </a:r>
          </a:p>
        </p:txBody>
      </p:sp>
      <p:sp>
        <p:nvSpPr>
          <p:cNvPr id="3" name="Picture Placeholder 7">
            <a:extLst>
              <a:ext uri="{FF2B5EF4-FFF2-40B4-BE49-F238E27FC236}">
                <a16:creationId xmlns:a16="http://schemas.microsoft.com/office/drawing/2014/main" id="{9630BC3F-A27E-071D-8EF8-4E0381D9707C}"/>
              </a:ext>
            </a:extLst>
          </p:cNvPr>
          <p:cNvSpPr>
            <a:spLocks noGrp="1"/>
          </p:cNvSpPr>
          <p:nvPr>
            <p:ph type="pic" sz="quarter" idx="14"/>
          </p:nvPr>
        </p:nvSpPr>
        <p:spPr>
          <a:xfrm>
            <a:off x="4485441" y="2409865"/>
            <a:ext cx="3240000" cy="2656800"/>
          </a:xfrm>
          <a:prstGeom prst="rect">
            <a:avLst/>
          </a:prstGeom>
        </p:spPr>
        <p:txBody>
          <a:bodyPr/>
          <a:lstStyle>
            <a:lvl1pPr marL="0" indent="0" algn="ctr">
              <a:buNone/>
              <a:defRPr/>
            </a:lvl1pPr>
          </a:lstStyle>
          <a:p>
            <a:r>
              <a:rPr lang="en-US"/>
              <a:t>Click icon to add picture</a:t>
            </a:r>
          </a:p>
        </p:txBody>
      </p:sp>
      <p:sp>
        <p:nvSpPr>
          <p:cNvPr id="4" name="Picture Placeholder 7">
            <a:extLst>
              <a:ext uri="{FF2B5EF4-FFF2-40B4-BE49-F238E27FC236}">
                <a16:creationId xmlns:a16="http://schemas.microsoft.com/office/drawing/2014/main" id="{EB892FE2-8C99-8F69-0DA3-19606441F67F}"/>
              </a:ext>
            </a:extLst>
          </p:cNvPr>
          <p:cNvSpPr>
            <a:spLocks noGrp="1"/>
          </p:cNvSpPr>
          <p:nvPr>
            <p:ph type="pic" sz="quarter" idx="15"/>
          </p:nvPr>
        </p:nvSpPr>
        <p:spPr>
          <a:xfrm>
            <a:off x="8124910" y="2409865"/>
            <a:ext cx="3240000" cy="2656800"/>
          </a:xfrm>
          <a:prstGeom prst="rect">
            <a:avLst/>
          </a:prstGeom>
        </p:spPr>
        <p:txBody>
          <a:bodyPr/>
          <a:lstStyle>
            <a:lvl1pPr marL="0" indent="0" algn="ctr">
              <a:buNone/>
              <a:defRPr/>
            </a:lvl1pPr>
          </a:lstStyle>
          <a:p>
            <a:r>
              <a:rPr lang="en-US"/>
              <a:t>Click icon to add picture</a:t>
            </a:r>
          </a:p>
        </p:txBody>
      </p:sp>
      <p:sp>
        <p:nvSpPr>
          <p:cNvPr id="17" name="Tijdelijke aanduiding voor dianummer 2">
            <a:extLst>
              <a:ext uri="{FF2B5EF4-FFF2-40B4-BE49-F238E27FC236}">
                <a16:creationId xmlns:a16="http://schemas.microsoft.com/office/drawing/2014/main" id="{46B4FC9B-7AE3-C780-D030-C63B89DCC4E7}"/>
              </a:ext>
            </a:extLst>
          </p:cNvPr>
          <p:cNvSpPr txBox="1">
            <a:spLocks/>
          </p:cNvSpPr>
          <p:nvPr userDrawn="1"/>
        </p:nvSpPr>
        <p:spPr>
          <a:xfrm>
            <a:off x="11465560" y="6573205"/>
            <a:ext cx="559101" cy="175775"/>
          </a:xfrm>
          <a:prstGeom prst="rect">
            <a:avLst/>
          </a:prstGeom>
        </p:spPr>
        <p:txBody>
          <a:bodyPr anchor="ctr" anchorCtr="0"/>
          <a:lstStyle>
            <a:defPPr>
              <a:defRPr lang="en-US"/>
            </a:defPPr>
            <a:lvl1pPr marL="0" algn="l" defTabSz="914400" rtl="0" eaLnBrk="1" latinLnBrk="0" hangingPunct="1">
              <a:defRPr sz="800" i="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sz="1000" b="1" i="0">
                <a:solidFill>
                  <a:schemeClr val="accent1"/>
                </a:solidFill>
                <a:latin typeface="Muli" panose="00000500000000000000" pitchFamily="2" charset="0"/>
              </a:rPr>
              <a:t>|  </a:t>
            </a:r>
            <a:fld id="{45E449D3-B577-44D2-89AE-17D980B37AF7}" type="slidenum">
              <a:rPr lang="nl-NL" sz="1000" b="1" i="0" smtClean="0">
                <a:solidFill>
                  <a:schemeClr val="accent1"/>
                </a:solidFill>
                <a:latin typeface="Muli" panose="00000500000000000000" pitchFamily="2" charset="0"/>
              </a:rPr>
              <a:pPr algn="r"/>
              <a:t>‹#›</a:t>
            </a:fld>
            <a:r>
              <a:rPr lang="nl-NL" sz="1000" i="0">
                <a:solidFill>
                  <a:schemeClr val="bg2"/>
                </a:solidFill>
                <a:latin typeface="Muli" panose="00000500000000000000" pitchFamily="2" charset="0"/>
              </a:rPr>
              <a:t> </a:t>
            </a:r>
          </a:p>
        </p:txBody>
      </p:sp>
      <p:sp>
        <p:nvSpPr>
          <p:cNvPr id="18" name="Tijdelijke aanduiding voor tekst 10">
            <a:extLst>
              <a:ext uri="{FF2B5EF4-FFF2-40B4-BE49-F238E27FC236}">
                <a16:creationId xmlns:a16="http://schemas.microsoft.com/office/drawing/2014/main" id="{874F1361-2697-7E06-EBF3-8C82633A0402}"/>
              </a:ext>
            </a:extLst>
          </p:cNvPr>
          <p:cNvSpPr>
            <a:spLocks noGrp="1"/>
          </p:cNvSpPr>
          <p:nvPr>
            <p:ph type="body" sz="quarter" idx="18" hasCustomPrompt="1"/>
          </p:nvPr>
        </p:nvSpPr>
        <p:spPr>
          <a:xfrm>
            <a:off x="7485062" y="6573205"/>
            <a:ext cx="4183697" cy="175775"/>
          </a:xfrm>
          <a:prstGeom prst="rect">
            <a:avLst/>
          </a:prstGeom>
        </p:spPr>
        <p:txBody>
          <a:bodyPr anchor="ctr">
            <a:noAutofit/>
          </a:bodyPr>
          <a:lstStyle>
            <a:lvl1pPr marL="0" indent="0" algn="r">
              <a:buNone/>
              <a:defRPr sz="1000">
                <a:solidFill>
                  <a:schemeClr val="accent1"/>
                </a:solidFill>
              </a:defRPr>
            </a:lvl1pPr>
            <a:lvl2pPr marL="457200" indent="0" algn="r">
              <a:buNone/>
              <a:defRPr sz="1000">
                <a:solidFill>
                  <a:schemeClr val="accent1"/>
                </a:solidFill>
              </a:defRPr>
            </a:lvl2pPr>
            <a:lvl3pPr marL="914400" indent="0" algn="r">
              <a:buNone/>
              <a:defRPr sz="1000">
                <a:solidFill>
                  <a:schemeClr val="accent1"/>
                </a:solidFill>
              </a:defRPr>
            </a:lvl3pPr>
            <a:lvl4pPr marL="1371600" indent="0" algn="r">
              <a:buNone/>
              <a:defRPr sz="1000">
                <a:solidFill>
                  <a:schemeClr val="accent1"/>
                </a:solidFill>
              </a:defRPr>
            </a:lvl4pPr>
            <a:lvl5pPr marL="1828800" indent="0" algn="r">
              <a:buNone/>
              <a:defRPr sz="1000">
                <a:solidFill>
                  <a:schemeClr val="accent1"/>
                </a:solidFill>
              </a:defRPr>
            </a:lvl5pPr>
          </a:lstStyle>
          <a:p>
            <a:pPr lvl="0"/>
            <a:r>
              <a:rPr lang="nl-NL"/>
              <a:t>Hoofdstuk aanduiding</a:t>
            </a:r>
          </a:p>
        </p:txBody>
      </p:sp>
      <p:sp>
        <p:nvSpPr>
          <p:cNvPr id="11" name="Content Placeholder 7">
            <a:extLst>
              <a:ext uri="{FF2B5EF4-FFF2-40B4-BE49-F238E27FC236}">
                <a16:creationId xmlns:a16="http://schemas.microsoft.com/office/drawing/2014/main" id="{F1B67ECF-7AEF-0058-A728-EE07F651F08D}"/>
              </a:ext>
            </a:extLst>
          </p:cNvPr>
          <p:cNvSpPr>
            <a:spLocks noGrp="1"/>
          </p:cNvSpPr>
          <p:nvPr>
            <p:ph sz="quarter" idx="12" hasCustomPrompt="1"/>
          </p:nvPr>
        </p:nvSpPr>
        <p:spPr>
          <a:xfrm>
            <a:off x="849313" y="5150734"/>
            <a:ext cx="3240000" cy="1015116"/>
          </a:xfrm>
          <a:prstGeom prst="rect">
            <a:avLst/>
          </a:prstGeom>
        </p:spPr>
        <p:txBody>
          <a:bodyPr/>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Content Placeholder 7">
            <a:extLst>
              <a:ext uri="{FF2B5EF4-FFF2-40B4-BE49-F238E27FC236}">
                <a16:creationId xmlns:a16="http://schemas.microsoft.com/office/drawing/2014/main" id="{55676F16-C685-B9C6-6F1A-A878E676FCB6}"/>
              </a:ext>
            </a:extLst>
          </p:cNvPr>
          <p:cNvSpPr>
            <a:spLocks noGrp="1"/>
          </p:cNvSpPr>
          <p:nvPr>
            <p:ph sz="quarter" idx="19" hasCustomPrompt="1"/>
          </p:nvPr>
        </p:nvSpPr>
        <p:spPr>
          <a:xfrm>
            <a:off x="4485441" y="5150734"/>
            <a:ext cx="3240000" cy="1015116"/>
          </a:xfrm>
          <a:prstGeom prst="rect">
            <a:avLst/>
          </a:prstGeom>
        </p:spPr>
        <p:txBody>
          <a:bodyPr/>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Content Placeholder 7">
            <a:extLst>
              <a:ext uri="{FF2B5EF4-FFF2-40B4-BE49-F238E27FC236}">
                <a16:creationId xmlns:a16="http://schemas.microsoft.com/office/drawing/2014/main" id="{E88D92AC-809E-4F7A-861B-C9065A4E9052}"/>
              </a:ext>
            </a:extLst>
          </p:cNvPr>
          <p:cNvSpPr>
            <a:spLocks noGrp="1"/>
          </p:cNvSpPr>
          <p:nvPr>
            <p:ph sz="quarter" idx="20" hasCustomPrompt="1"/>
          </p:nvPr>
        </p:nvSpPr>
        <p:spPr>
          <a:xfrm>
            <a:off x="8125200" y="5150734"/>
            <a:ext cx="3240000" cy="1015116"/>
          </a:xfrm>
          <a:prstGeom prst="rect">
            <a:avLst/>
          </a:prstGeom>
        </p:spPr>
        <p:txBody>
          <a:bodyPr/>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itle 1">
            <a:extLst>
              <a:ext uri="{FF2B5EF4-FFF2-40B4-BE49-F238E27FC236}">
                <a16:creationId xmlns:a16="http://schemas.microsoft.com/office/drawing/2014/main" id="{012E637C-D979-11B1-E936-65A7B15F5C37}"/>
              </a:ext>
            </a:extLst>
          </p:cNvPr>
          <p:cNvSpPr>
            <a:spLocks noGrp="1"/>
          </p:cNvSpPr>
          <p:nvPr>
            <p:ph type="title"/>
          </p:nvPr>
        </p:nvSpPr>
        <p:spPr>
          <a:xfrm>
            <a:off x="850426" y="414000"/>
            <a:ext cx="10512000" cy="659829"/>
          </a:xfrm>
          <a:prstGeom prst="rect">
            <a:avLst/>
          </a:prstGeom>
        </p:spPr>
        <p:txBody>
          <a:bodyPr>
            <a:normAutofit/>
          </a:bodyPr>
          <a:lstStyle>
            <a:lvl1pPr>
              <a:defRPr sz="3600"/>
            </a:lvl1pPr>
          </a:lstStyle>
          <a:p>
            <a:r>
              <a:rPr lang="en-US"/>
              <a:t>Click to edit Master title style</a:t>
            </a:r>
          </a:p>
        </p:txBody>
      </p:sp>
      <p:sp>
        <p:nvSpPr>
          <p:cNvPr id="16" name="Text Placeholder 13">
            <a:extLst>
              <a:ext uri="{FF2B5EF4-FFF2-40B4-BE49-F238E27FC236}">
                <a16:creationId xmlns:a16="http://schemas.microsoft.com/office/drawing/2014/main" id="{ECE82B2C-44FB-7D4B-3664-BAA0F48FDE25}"/>
              </a:ext>
            </a:extLst>
          </p:cNvPr>
          <p:cNvSpPr>
            <a:spLocks noGrp="1"/>
          </p:cNvSpPr>
          <p:nvPr>
            <p:ph type="body" sz="quarter" idx="11" hasCustomPrompt="1"/>
          </p:nvPr>
        </p:nvSpPr>
        <p:spPr>
          <a:xfrm>
            <a:off x="850426" y="1080000"/>
            <a:ext cx="10512000" cy="431800"/>
          </a:xfrm>
          <a:prstGeom prst="rect">
            <a:avLst/>
          </a:prstGeom>
        </p:spPr>
        <p:txBody>
          <a:bodyPr>
            <a:noAutofit/>
          </a:bodyPr>
          <a:lstStyle>
            <a:lvl1pPr marL="0" indent="0">
              <a:buNone/>
              <a:defRPr sz="2400">
                <a:solidFill>
                  <a:schemeClr val="bg2"/>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spTree>
    <p:extLst>
      <p:ext uri="{BB962C8B-B14F-4D97-AF65-F5344CB8AC3E}">
        <p14:creationId xmlns:p14="http://schemas.microsoft.com/office/powerpoint/2010/main" val="7524962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dia alleen tekst">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bg1"/>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1034899"/>
          </a:xfrm>
        </p:spPr>
        <p:txBody>
          <a:bodyPr anchor="t" anchorCtr="0"/>
          <a:lstStyle>
            <a:lvl1pPr algn="l">
              <a:defRPr sz="3000"/>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214528754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dia alleen tekst donker">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bg1"/>
          </a:solidFill>
        </p:spPr>
        <p:txBody>
          <a:bodyPr wrap="none" anchor="ctr" anchorCtr="0">
            <a:noAutofit/>
          </a:bodyPr>
          <a:lstStyle>
            <a:lvl1pPr marL="0" indent="0" algn="ctr">
              <a:lnSpc>
                <a:spcPct val="100000"/>
              </a:lnSpc>
              <a:buNone/>
              <a:defRPr sz="75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1558307907"/>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dia tekst en afbeelding">
    <p:spTree>
      <p:nvGrpSpPr>
        <p:cNvPr id="1" name=""/>
        <p:cNvGrpSpPr/>
        <p:nvPr/>
      </p:nvGrpSpPr>
      <p:grpSpPr>
        <a:xfrm>
          <a:off x="0" y="0"/>
          <a:ext cx="0" cy="0"/>
          <a:chOff x="0" y="0"/>
          <a:chExt cx="0" cy="0"/>
        </a:xfrm>
      </p:grpSpPr>
      <p:sp>
        <p:nvSpPr>
          <p:cNvPr id="2" name="Vrije vorm: vorm 1">
            <a:extLst>
              <a:ext uri="{FF2B5EF4-FFF2-40B4-BE49-F238E27FC236}">
                <a16:creationId xmlns:a16="http://schemas.microsoft.com/office/drawing/2014/main" id="{1F1B54BB-6033-705E-85A1-EDA5088A80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1034899"/>
          </a:xfrm>
        </p:spPr>
        <p:txBody>
          <a:bodyPr anchor="t" anchorCtr="0"/>
          <a:lstStyle>
            <a:lvl1pPr algn="l">
              <a:defRPr sz="3000"/>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4" name="Afbeeldingsplaceholder">
            <a:extLst>
              <a:ext uri="{FF2B5EF4-FFF2-40B4-BE49-F238E27FC236}">
                <a16:creationId xmlns:a16="http://schemas.microsoft.com/office/drawing/2014/main" id="{65B1B5DF-E43D-996E-1C0F-F750280012E5}"/>
              </a:ext>
            </a:extLst>
          </p:cNvPr>
          <p:cNvSpPr>
            <a:spLocks noGrp="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430884696"/>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dia tekst en afbeelding donker">
    <p:spTree>
      <p:nvGrpSpPr>
        <p:cNvPr id="1" name=""/>
        <p:cNvGrpSpPr/>
        <p:nvPr/>
      </p:nvGrpSpPr>
      <p:grpSpPr>
        <a:xfrm>
          <a:off x="0" y="0"/>
          <a:ext cx="0" cy="0"/>
          <a:chOff x="0" y="0"/>
          <a:chExt cx="0" cy="0"/>
        </a:xfrm>
      </p:grpSpPr>
      <p:sp>
        <p:nvSpPr>
          <p:cNvPr id="16" name="Vrije vorm: vorm 15">
            <a:extLst>
              <a:ext uri="{FF2B5EF4-FFF2-40B4-BE49-F238E27FC236}">
                <a16:creationId xmlns:a16="http://schemas.microsoft.com/office/drawing/2014/main" id="{57C73E81-977E-06E5-5E60-4E8D0F81C14F}"/>
              </a:ext>
            </a:extLst>
          </p:cNvPr>
          <p:cNvSpPr>
            <a:spLocks noGrp="1" noRot="1" noMove="1" noResize="1" noEditPoints="1" noAdjustHandles="1" noChangeArrowheads="1" noChangeShapeType="1"/>
          </p:cNvSpPr>
          <p:nvPr/>
        </p:nvSpPr>
        <p:spPr>
          <a:xfrm flipH="1">
            <a:off x="63978" y="63500"/>
            <a:ext cx="12064045" cy="6731000"/>
          </a:xfrm>
          <a:custGeom>
            <a:avLst/>
            <a:gdLst>
              <a:gd name="connsiteX0" fmla="*/ 11937045 w 12064045"/>
              <a:gd name="connsiteY0" fmla="*/ 0 h 6731000"/>
              <a:gd name="connsiteX1" fmla="*/ 6242685 w 12064045"/>
              <a:gd name="connsiteY1" fmla="*/ 0 h 6731000"/>
              <a:gd name="connsiteX2" fmla="*/ 6242685 w 12064045"/>
              <a:gd name="connsiteY2" fmla="*/ 391 h 6731000"/>
              <a:gd name="connsiteX3" fmla="*/ 1787191 w 12064045"/>
              <a:gd name="connsiteY3" fmla="*/ 391 h 6731000"/>
              <a:gd name="connsiteX4" fmla="*/ 1660206 w 12064045"/>
              <a:gd name="connsiteY4" fmla="*/ 127376 h 6731000"/>
              <a:gd name="connsiteX5" fmla="*/ 1660206 w 12064045"/>
              <a:gd name="connsiteY5" fmla="*/ 552777 h 6731000"/>
              <a:gd name="connsiteX6" fmla="*/ 1533220 w 12064045"/>
              <a:gd name="connsiteY6" fmla="*/ 679762 h 6731000"/>
              <a:gd name="connsiteX7" fmla="*/ 126985 w 12064045"/>
              <a:gd name="connsiteY7" fmla="*/ 679762 h 6731000"/>
              <a:gd name="connsiteX8" fmla="*/ 0 w 12064045"/>
              <a:gd name="connsiteY8" fmla="*/ 806874 h 6731000"/>
              <a:gd name="connsiteX9" fmla="*/ 6095 w 12064045"/>
              <a:gd name="connsiteY9" fmla="*/ 6603752 h 6731000"/>
              <a:gd name="connsiteX10" fmla="*/ 133081 w 12064045"/>
              <a:gd name="connsiteY10" fmla="*/ 6730610 h 6731000"/>
              <a:gd name="connsiteX11" fmla="*/ 6242685 w 12064045"/>
              <a:gd name="connsiteY11" fmla="*/ 6730610 h 6731000"/>
              <a:gd name="connsiteX12" fmla="*/ 6242685 w 12064045"/>
              <a:gd name="connsiteY12" fmla="*/ 6731000 h 6731000"/>
              <a:gd name="connsiteX13" fmla="*/ 11930949 w 12064045"/>
              <a:gd name="connsiteY13" fmla="*/ 6731000 h 6731000"/>
              <a:gd name="connsiteX14" fmla="*/ 11937045 w 12064045"/>
              <a:gd name="connsiteY14" fmla="*/ 6731000 h 6731000"/>
              <a:gd name="connsiteX15" fmla="*/ 12064045 w 12064045"/>
              <a:gd name="connsiteY15" fmla="*/ 6604000 h 6731000"/>
              <a:gd name="connsiteX16" fmla="*/ 12064045 w 12064045"/>
              <a:gd name="connsiteY16" fmla="*/ 127000 h 6731000"/>
              <a:gd name="connsiteX17" fmla="*/ 11937045 w 12064045"/>
              <a:gd name="connsiteY17"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64045" h="6731000">
                <a:moveTo>
                  <a:pt x="11937045" y="0"/>
                </a:moveTo>
                <a:lnTo>
                  <a:pt x="6242685" y="0"/>
                </a:lnTo>
                <a:lnTo>
                  <a:pt x="6242685" y="391"/>
                </a:lnTo>
                <a:lnTo>
                  <a:pt x="1787191" y="391"/>
                </a:lnTo>
                <a:cubicBezTo>
                  <a:pt x="1717031" y="391"/>
                  <a:pt x="1660206" y="57217"/>
                  <a:pt x="1660206" y="127376"/>
                </a:cubicBezTo>
                <a:lnTo>
                  <a:pt x="1660206" y="552777"/>
                </a:lnTo>
                <a:cubicBezTo>
                  <a:pt x="1660206" y="622936"/>
                  <a:pt x="1603380" y="679762"/>
                  <a:pt x="1533220" y="679762"/>
                </a:cubicBezTo>
                <a:lnTo>
                  <a:pt x="126985" y="679762"/>
                </a:lnTo>
                <a:cubicBezTo>
                  <a:pt x="56826" y="679762"/>
                  <a:pt x="-63" y="736715"/>
                  <a:pt x="0" y="806874"/>
                </a:cubicBezTo>
                <a:cubicBezTo>
                  <a:pt x="2032" y="2739167"/>
                  <a:pt x="4063" y="4671459"/>
                  <a:pt x="6095" y="6603752"/>
                </a:cubicBezTo>
                <a:cubicBezTo>
                  <a:pt x="6159" y="6673848"/>
                  <a:pt x="62985" y="6730610"/>
                  <a:pt x="133081" y="6730610"/>
                </a:cubicBezTo>
                <a:lnTo>
                  <a:pt x="6242685" y="6730610"/>
                </a:lnTo>
                <a:lnTo>
                  <a:pt x="6242685" y="6731000"/>
                </a:lnTo>
                <a:lnTo>
                  <a:pt x="11930949" y="6731000"/>
                </a:lnTo>
                <a:lnTo>
                  <a:pt x="11937045" y="6731000"/>
                </a:lnTo>
                <a:cubicBezTo>
                  <a:pt x="12007213" y="6731000"/>
                  <a:pt x="12064045" y="6674168"/>
                  <a:pt x="12064045" y="6604000"/>
                </a:cubicBezTo>
                <a:lnTo>
                  <a:pt x="12064045" y="127000"/>
                </a:lnTo>
                <a:cubicBezTo>
                  <a:pt x="12064045" y="56833"/>
                  <a:pt x="12007213" y="0"/>
                  <a:pt x="11937045" y="0"/>
                </a:cubicBezTo>
                <a:close/>
              </a:path>
            </a:pathLst>
          </a:custGeom>
          <a:solidFill>
            <a:schemeClr val="accent1"/>
          </a:solidFill>
          <a:ln w="0" cap="flat">
            <a:noFill/>
            <a:prstDash val="solid"/>
            <a:miter/>
          </a:ln>
        </p:spPr>
        <p:txBody>
          <a:bodyPr rtlCol="0" anchor="ctr"/>
          <a:lstStyle/>
          <a:p>
            <a:endParaRPr lang="en-GB"/>
          </a:p>
        </p:txBody>
      </p:sp>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4" name="Afbeeldingsplaceholder">
            <a:extLst>
              <a:ext uri="{FF2B5EF4-FFF2-40B4-BE49-F238E27FC236}">
                <a16:creationId xmlns:a16="http://schemas.microsoft.com/office/drawing/2014/main" id="{65B1B5DF-E43D-996E-1C0F-F750280012E5}"/>
              </a:ext>
            </a:extLst>
          </p:cNvPr>
          <p:cNvSpPr>
            <a:spLocks noGrp="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 name="Titel 1">
            <a:extLst>
              <a:ext uri="{FF2B5EF4-FFF2-40B4-BE49-F238E27FC236}">
                <a16:creationId xmlns:a16="http://schemas.microsoft.com/office/drawing/2014/main" id="{726BFB97-2A14-F98A-6804-E8127CBE5D8E}"/>
              </a:ext>
            </a:extLst>
          </p:cNvPr>
          <p:cNvSpPr>
            <a:spLocks noGrp="1"/>
          </p:cNvSpPr>
          <p:nvPr>
            <p:ph type="ctrTitle" hasCustomPrompt="1"/>
          </p:nvPr>
        </p:nvSpPr>
        <p:spPr>
          <a:xfrm>
            <a:off x="152998" y="234126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6" name="Ondertitel 2">
            <a:extLst>
              <a:ext uri="{FF2B5EF4-FFF2-40B4-BE49-F238E27FC236}">
                <a16:creationId xmlns:a16="http://schemas.microsoft.com/office/drawing/2014/main" id="{97A1F5D8-9EFA-9333-9AFD-87343FA2372C}"/>
              </a:ext>
            </a:extLst>
          </p:cNvPr>
          <p:cNvSpPr>
            <a:spLocks noGrp="1"/>
          </p:cNvSpPr>
          <p:nvPr>
            <p:ph type="subTitle" idx="1" hasCustomPrompt="1"/>
          </p:nvPr>
        </p:nvSpPr>
        <p:spPr>
          <a:xfrm>
            <a:off x="152998" y="454755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7" name="Tijdelijke aanduiding voor tekst 2">
            <a:extLst>
              <a:ext uri="{FF2B5EF4-FFF2-40B4-BE49-F238E27FC236}">
                <a16:creationId xmlns:a16="http://schemas.microsoft.com/office/drawing/2014/main" id="{AE6647C9-BD99-2C3E-A063-9587B60B97BD}"/>
              </a:ext>
            </a:extLst>
          </p:cNvPr>
          <p:cNvSpPr>
            <a:spLocks noGrp="1"/>
          </p:cNvSpPr>
          <p:nvPr>
            <p:ph type="body" idx="10" hasCustomPrompt="1"/>
          </p:nvPr>
        </p:nvSpPr>
        <p:spPr>
          <a:xfrm>
            <a:off x="152998" y="2066925"/>
            <a:ext cx="1485302" cy="183600"/>
          </a:xfrm>
          <a:prstGeom prst="roundRect">
            <a:avLst>
              <a:gd name="adj" fmla="val 50000"/>
            </a:avLst>
          </a:prstGeom>
          <a:solidFill>
            <a:schemeClr val="bg1"/>
          </a:solidFill>
        </p:spPr>
        <p:txBody>
          <a:bodyPr wrap="none" anchor="ctr" anchorCtr="0">
            <a:noAutofit/>
          </a:bodyPr>
          <a:lstStyle>
            <a:lvl1pPr marL="0" indent="0" algn="ctr">
              <a:lnSpc>
                <a:spcPct val="100000"/>
              </a:lnSpc>
              <a:buNone/>
              <a:defRPr sz="75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162101658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Overzich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401FA8-9724-3A0A-2665-95CAC7013560}"/>
              </a:ext>
            </a:extLst>
          </p:cNvPr>
          <p:cNvSpPr>
            <a:spLocks noGrp="1"/>
          </p:cNvSpPr>
          <p:nvPr>
            <p:ph type="title" hasCustomPrompt="1"/>
          </p:nvPr>
        </p:nvSpPr>
        <p:spPr>
          <a:xfrm>
            <a:off x="695324" y="624205"/>
            <a:ext cx="5760000" cy="503984"/>
          </a:xfrm>
        </p:spPr>
        <p:txBody>
          <a:bodyPr/>
          <a:lstStyle>
            <a:lvl1pPr>
              <a:defRPr/>
            </a:lvl1pPr>
          </a:lstStyle>
          <a:p>
            <a:r>
              <a:rPr lang="nl-NL"/>
              <a:t>Overzicht</a:t>
            </a:r>
            <a:endParaRPr lang="en-GB"/>
          </a:p>
        </p:txBody>
      </p:sp>
      <p:sp>
        <p:nvSpPr>
          <p:cNvPr id="34" name="Tijdelijke aanduiding voor afbeelding 33">
            <a:extLst>
              <a:ext uri="{FF2B5EF4-FFF2-40B4-BE49-F238E27FC236}">
                <a16:creationId xmlns:a16="http://schemas.microsoft.com/office/drawing/2014/main" id="{7F5324BA-39D8-BBB7-8D13-ED02785C9AC2}"/>
              </a:ext>
            </a:extLst>
          </p:cNvPr>
          <p:cNvSpPr>
            <a:spLocks noGrp="1"/>
          </p:cNvSpPr>
          <p:nvPr>
            <p:ph type="pic" sz="quarter" idx="34" hasCustomPrompt="1"/>
          </p:nvPr>
        </p:nvSpPr>
        <p:spPr>
          <a:xfrm>
            <a:off x="698501" y="1510030"/>
            <a:ext cx="3507613" cy="1625600"/>
          </a:xfrm>
          <a:custGeom>
            <a:avLst/>
            <a:gdLst>
              <a:gd name="connsiteX0" fmla="*/ 127000 w 3507613"/>
              <a:gd name="connsiteY0" fmla="*/ 0 h 1625600"/>
              <a:gd name="connsiteX1" fmla="*/ 3380613 w 3507613"/>
              <a:gd name="connsiteY1" fmla="*/ 0 h 1625600"/>
              <a:gd name="connsiteX2" fmla="*/ 3507613 w 3507613"/>
              <a:gd name="connsiteY2" fmla="*/ 127000 h 1625600"/>
              <a:gd name="connsiteX3" fmla="*/ 3507613 w 3507613"/>
              <a:gd name="connsiteY3" fmla="*/ 299466 h 1625600"/>
              <a:gd name="connsiteX4" fmla="*/ 3400679 w 3507613"/>
              <a:gd name="connsiteY4" fmla="*/ 406400 h 1625600"/>
              <a:gd name="connsiteX5" fmla="*/ 3293745 w 3507613"/>
              <a:gd name="connsiteY5" fmla="*/ 513334 h 1625600"/>
              <a:gd name="connsiteX6" fmla="*/ 3293745 w 3507613"/>
              <a:gd name="connsiteY6" fmla="*/ 1114298 h 1625600"/>
              <a:gd name="connsiteX7" fmla="*/ 3400679 w 3507613"/>
              <a:gd name="connsiteY7" fmla="*/ 1220216 h 1625600"/>
              <a:gd name="connsiteX8" fmla="*/ 3507613 w 3507613"/>
              <a:gd name="connsiteY8" fmla="*/ 1326134 h 1625600"/>
              <a:gd name="connsiteX9" fmla="*/ 3507613 w 3507613"/>
              <a:gd name="connsiteY9" fmla="*/ 1498600 h 1625600"/>
              <a:gd name="connsiteX10" fmla="*/ 3380613 w 3507613"/>
              <a:gd name="connsiteY10" fmla="*/ 1625600 h 1625600"/>
              <a:gd name="connsiteX11" fmla="*/ 127000 w 3507613"/>
              <a:gd name="connsiteY11" fmla="*/ 1625600 h 1625600"/>
              <a:gd name="connsiteX12" fmla="*/ 0 w 3507613"/>
              <a:gd name="connsiteY12" fmla="*/ 1498600 h 1625600"/>
              <a:gd name="connsiteX13" fmla="*/ 0 w 3507613"/>
              <a:gd name="connsiteY13" fmla="*/ 127000 h 1625600"/>
              <a:gd name="connsiteX14" fmla="*/ 127000 w 3507613"/>
              <a:gd name="connsiteY14"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07613" h="1625600">
                <a:moveTo>
                  <a:pt x="127000" y="0"/>
                </a:moveTo>
                <a:lnTo>
                  <a:pt x="3380613" y="0"/>
                </a:lnTo>
                <a:cubicBezTo>
                  <a:pt x="3450781" y="0"/>
                  <a:pt x="3507613" y="56833"/>
                  <a:pt x="3507613" y="127000"/>
                </a:cubicBezTo>
                <a:lnTo>
                  <a:pt x="3507613" y="299466"/>
                </a:lnTo>
                <a:cubicBezTo>
                  <a:pt x="3507613" y="358521"/>
                  <a:pt x="3459734" y="406400"/>
                  <a:pt x="3400679" y="406400"/>
                </a:cubicBezTo>
                <a:cubicBezTo>
                  <a:pt x="3341624" y="406400"/>
                  <a:pt x="3293745" y="454279"/>
                  <a:pt x="3293745" y="513334"/>
                </a:cubicBezTo>
                <a:lnTo>
                  <a:pt x="3293745" y="1114298"/>
                </a:lnTo>
                <a:cubicBezTo>
                  <a:pt x="3293745" y="1173226"/>
                  <a:pt x="3341815" y="1220788"/>
                  <a:pt x="3400679" y="1220216"/>
                </a:cubicBezTo>
                <a:cubicBezTo>
                  <a:pt x="3459544" y="1219645"/>
                  <a:pt x="3507613" y="1267206"/>
                  <a:pt x="3507613" y="1326134"/>
                </a:cubicBezTo>
                <a:lnTo>
                  <a:pt x="3507613" y="1498600"/>
                </a:lnTo>
                <a:cubicBezTo>
                  <a:pt x="3507613" y="1568768"/>
                  <a:pt x="3450781" y="1625600"/>
                  <a:pt x="3380613" y="1625600"/>
                </a:cubicBezTo>
                <a:lnTo>
                  <a:pt x="127000" y="1625600"/>
                </a:lnTo>
                <a:cubicBezTo>
                  <a:pt x="56832" y="1625600"/>
                  <a:pt x="0" y="1568768"/>
                  <a:pt x="0" y="1498600"/>
                </a:cubicBez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bIns="0" anchor="ctr" anchorCtr="0">
            <a:noAutofit/>
          </a:bodyPr>
          <a:lstStyle>
            <a:lvl1pPr algn="ctr">
              <a:defRPr/>
            </a:lvl1pPr>
          </a:lstStyle>
          <a:p>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endParaRPr lang="nl-NL" dirty="0"/>
          </a:p>
        </p:txBody>
      </p:sp>
      <p:pic>
        <p:nvPicPr>
          <p:cNvPr id="9" name="Graphic 8">
            <a:extLst>
              <a:ext uri="{FF2B5EF4-FFF2-40B4-BE49-F238E27FC236}">
                <a16:creationId xmlns:a16="http://schemas.microsoft.com/office/drawing/2014/main" id="{76041289-2079-C9DE-7F91-F2B6DA3938DD}"/>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304145" y="0"/>
            <a:ext cx="1887855" cy="902626"/>
          </a:xfrm>
          <a:prstGeom prst="rect">
            <a:avLst/>
          </a:prstGeom>
        </p:spPr>
      </p:pic>
      <p:pic>
        <p:nvPicPr>
          <p:cNvPr id="7" name="Graphic 6">
            <a:extLst>
              <a:ext uri="{FF2B5EF4-FFF2-40B4-BE49-F238E27FC236}">
                <a16:creationId xmlns:a16="http://schemas.microsoft.com/office/drawing/2014/main" id="{10F02EC0-7ECE-EBCC-857A-1AA8A0D3267A}"/>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0" y="6353928"/>
            <a:ext cx="4048760" cy="504071"/>
          </a:xfrm>
          <a:prstGeom prst="rect">
            <a:avLst/>
          </a:prstGeom>
        </p:spPr>
      </p:pic>
      <p:pic>
        <p:nvPicPr>
          <p:cNvPr id="5" name="Logo">
            <a:extLst>
              <a:ext uri="{FF2B5EF4-FFF2-40B4-BE49-F238E27FC236}">
                <a16:creationId xmlns:a16="http://schemas.microsoft.com/office/drawing/2014/main" id="{3DEAE37B-4B5A-CE52-22B5-127A0429FBD8}"/>
              </a:ext>
            </a:extLst>
          </p:cNvPr>
          <p:cNvPicPr>
            <a:picLocks noGrp="1" noRot="1" noMove="1" noResize="1" noEditPoints="1" noAdjustHandles="1" noChangeArrowheads="1" noChangeShapeType="1" noCrop="1"/>
          </p:cNvPicPr>
          <p:nvPr userDrawn="1"/>
        </p:nvPicPr>
        <p:blipFill>
          <a:blip r:embed="rId6">
            <a:extLst>
              <a:ext uri="{96DAC541-7B7A-43D3-8B79-37D633B846F1}">
                <asvg:svgBlip xmlns:asvg="http://schemas.microsoft.com/office/drawing/2016/SVG/main" r:embed="rId7"/>
              </a:ext>
            </a:extLst>
          </a:blip>
          <a:stretch>
            <a:fillRect/>
          </a:stretch>
        </p:blipFill>
        <p:spPr>
          <a:xfrm>
            <a:off x="10572966" y="286902"/>
            <a:ext cx="1302321" cy="268243"/>
          </a:xfrm>
          <a:prstGeom prst="rect">
            <a:avLst/>
          </a:prstGeom>
        </p:spPr>
      </p:pic>
      <p:sp>
        <p:nvSpPr>
          <p:cNvPr id="3" name="Tijdelijke aanduiding voor voettekst 2">
            <a:extLst>
              <a:ext uri="{FF2B5EF4-FFF2-40B4-BE49-F238E27FC236}">
                <a16:creationId xmlns:a16="http://schemas.microsoft.com/office/drawing/2014/main" id="{C5E3BB19-4158-922E-C749-CEC8BE4A326A}"/>
              </a:ext>
            </a:extLst>
          </p:cNvPr>
          <p:cNvSpPr>
            <a:spLocks noGrp="1"/>
          </p:cNvSpPr>
          <p:nvPr>
            <p:ph type="ftr" sz="quarter" idx="10"/>
          </p:nvPr>
        </p:nvSpPr>
        <p:spPr/>
        <p:txBody>
          <a:bodyPr/>
          <a:lstStyle/>
          <a:p>
            <a:endParaRPr lang="nl-NL" dirty="0"/>
          </a:p>
        </p:txBody>
      </p:sp>
      <p:sp>
        <p:nvSpPr>
          <p:cNvPr id="4" name="Tijdelijke aanduiding voor dianummer 3">
            <a:extLst>
              <a:ext uri="{FF2B5EF4-FFF2-40B4-BE49-F238E27FC236}">
                <a16:creationId xmlns:a16="http://schemas.microsoft.com/office/drawing/2014/main" id="{CE2802DC-A5D7-751A-9D5F-C3E661BC3DA9}"/>
              </a:ext>
            </a:extLst>
          </p:cNvPr>
          <p:cNvSpPr>
            <a:spLocks noGrp="1"/>
          </p:cNvSpPr>
          <p:nvPr>
            <p:ph type="sldNum" sz="quarter" idx="11"/>
          </p:nvPr>
        </p:nvSpPr>
        <p:spPr/>
        <p:txBody>
          <a:bodyPr/>
          <a:lstStyle/>
          <a:p>
            <a:fld id="{DD6527FB-D334-4076-8B97-2824752A4342}" type="slidenum">
              <a:rPr lang="nl-NL" smtClean="0"/>
              <a:pPr/>
              <a:t>‹#›</a:t>
            </a:fld>
            <a:endParaRPr lang="nl-NL" dirty="0"/>
          </a:p>
        </p:txBody>
      </p:sp>
      <p:sp>
        <p:nvSpPr>
          <p:cNvPr id="10" name="Tijdelijke aanduiding voor tekst 8">
            <a:extLst>
              <a:ext uri="{FF2B5EF4-FFF2-40B4-BE49-F238E27FC236}">
                <a16:creationId xmlns:a16="http://schemas.microsoft.com/office/drawing/2014/main" id="{BD09DB04-B950-F837-AE77-5755F0F7B48D}"/>
              </a:ext>
            </a:extLst>
          </p:cNvPr>
          <p:cNvSpPr>
            <a:spLocks noGrp="1"/>
          </p:cNvSpPr>
          <p:nvPr>
            <p:ph type="body" sz="quarter" idx="28" hasCustomPrompt="1"/>
          </p:nvPr>
        </p:nvSpPr>
        <p:spPr>
          <a:xfrm>
            <a:off x="698107" y="3350769"/>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1" name="Tijdelijke aanduiding voor tekst 8">
            <a:extLst>
              <a:ext uri="{FF2B5EF4-FFF2-40B4-BE49-F238E27FC236}">
                <a16:creationId xmlns:a16="http://schemas.microsoft.com/office/drawing/2014/main" id="{47A49712-B8B7-80A6-3634-72D8B14987E2}"/>
              </a:ext>
            </a:extLst>
          </p:cNvPr>
          <p:cNvSpPr>
            <a:spLocks noGrp="1"/>
          </p:cNvSpPr>
          <p:nvPr>
            <p:ph type="body" sz="quarter" idx="29" hasCustomPrompt="1"/>
          </p:nvPr>
        </p:nvSpPr>
        <p:spPr>
          <a:xfrm>
            <a:off x="4294747" y="3350769"/>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2" name="Tijdelijke aanduiding voor tekst 8">
            <a:extLst>
              <a:ext uri="{FF2B5EF4-FFF2-40B4-BE49-F238E27FC236}">
                <a16:creationId xmlns:a16="http://schemas.microsoft.com/office/drawing/2014/main" id="{4F209B6B-3B46-E698-B78E-99B542A226AD}"/>
              </a:ext>
            </a:extLst>
          </p:cNvPr>
          <p:cNvSpPr>
            <a:spLocks noGrp="1"/>
          </p:cNvSpPr>
          <p:nvPr>
            <p:ph type="body" sz="quarter" idx="30" hasCustomPrompt="1"/>
          </p:nvPr>
        </p:nvSpPr>
        <p:spPr>
          <a:xfrm>
            <a:off x="7885112" y="3350769"/>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3" name="Tijdelijke aanduiding voor tekst 8">
            <a:extLst>
              <a:ext uri="{FF2B5EF4-FFF2-40B4-BE49-F238E27FC236}">
                <a16:creationId xmlns:a16="http://schemas.microsoft.com/office/drawing/2014/main" id="{355569D0-D599-9D31-C2D5-5827032FD974}"/>
              </a:ext>
            </a:extLst>
          </p:cNvPr>
          <p:cNvSpPr>
            <a:spLocks noGrp="1"/>
          </p:cNvSpPr>
          <p:nvPr>
            <p:ph type="body" sz="quarter" idx="31" hasCustomPrompt="1"/>
          </p:nvPr>
        </p:nvSpPr>
        <p:spPr>
          <a:xfrm>
            <a:off x="698107" y="5710728"/>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4" name="Tijdelijke aanduiding voor tekst 8">
            <a:extLst>
              <a:ext uri="{FF2B5EF4-FFF2-40B4-BE49-F238E27FC236}">
                <a16:creationId xmlns:a16="http://schemas.microsoft.com/office/drawing/2014/main" id="{D136426F-FB57-66E7-A394-D90BA0B8A1CF}"/>
              </a:ext>
            </a:extLst>
          </p:cNvPr>
          <p:cNvSpPr>
            <a:spLocks noGrp="1"/>
          </p:cNvSpPr>
          <p:nvPr>
            <p:ph type="body" sz="quarter" idx="32" hasCustomPrompt="1"/>
          </p:nvPr>
        </p:nvSpPr>
        <p:spPr>
          <a:xfrm>
            <a:off x="4294747" y="5710728"/>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15" name="Tijdelijke aanduiding voor tekst 8">
            <a:extLst>
              <a:ext uri="{FF2B5EF4-FFF2-40B4-BE49-F238E27FC236}">
                <a16:creationId xmlns:a16="http://schemas.microsoft.com/office/drawing/2014/main" id="{7D035E58-AB47-FBFF-A875-EA90FFA57643}"/>
              </a:ext>
            </a:extLst>
          </p:cNvPr>
          <p:cNvSpPr>
            <a:spLocks noGrp="1"/>
          </p:cNvSpPr>
          <p:nvPr>
            <p:ph type="body" sz="quarter" idx="33" hasCustomPrompt="1"/>
          </p:nvPr>
        </p:nvSpPr>
        <p:spPr>
          <a:xfrm>
            <a:off x="7885112" y="5710728"/>
            <a:ext cx="3240000" cy="238142"/>
          </a:xfrm>
        </p:spPr>
        <p:txBody>
          <a:bodyPr wrap="square">
            <a:spAutoFit/>
          </a:bodyPr>
          <a:lstStyle>
            <a:lvl1pPr>
              <a:defRPr sz="1500" b="1" cap="all" spc="140" baseline="0">
                <a:solidFill>
                  <a:schemeClr val="accent5"/>
                </a:solidFill>
                <a:latin typeface="+mn-lt"/>
              </a:defRPr>
            </a:lvl1pPr>
          </a:lstStyle>
          <a:p>
            <a:pPr lvl="0"/>
            <a:r>
              <a:rPr lang="nl-NL"/>
              <a:t>Hoofdstuknaam</a:t>
            </a:r>
            <a:endParaRPr lang="nl-NL" dirty="0"/>
          </a:p>
        </p:txBody>
      </p:sp>
      <p:sp>
        <p:nvSpPr>
          <p:cNvPr id="41" name="Tijdelijke aanduiding voor afbeelding 40">
            <a:extLst>
              <a:ext uri="{FF2B5EF4-FFF2-40B4-BE49-F238E27FC236}">
                <a16:creationId xmlns:a16="http://schemas.microsoft.com/office/drawing/2014/main" id="{E2F1E68A-B138-0EEE-06A3-0BC60060031D}"/>
              </a:ext>
            </a:extLst>
          </p:cNvPr>
          <p:cNvSpPr>
            <a:spLocks noGrp="1"/>
          </p:cNvSpPr>
          <p:nvPr>
            <p:ph type="pic" sz="quarter" idx="21" hasCustomPrompt="1"/>
          </p:nvPr>
        </p:nvSpPr>
        <p:spPr>
          <a:xfrm>
            <a:off x="0" y="3884866"/>
            <a:ext cx="814388" cy="1625600"/>
          </a:xfrm>
          <a:custGeom>
            <a:avLst/>
            <a:gdLst>
              <a:gd name="connsiteX0" fmla="*/ 0 w 814388"/>
              <a:gd name="connsiteY0" fmla="*/ 0 h 1625600"/>
              <a:gd name="connsiteX1" fmla="*/ 480124 w 814388"/>
              <a:gd name="connsiteY1" fmla="*/ 0 h 1625600"/>
              <a:gd name="connsiteX2" fmla="*/ 607124 w 814388"/>
              <a:gd name="connsiteY2" fmla="*/ 127000 h 1625600"/>
              <a:gd name="connsiteX3" fmla="*/ 607124 w 814388"/>
              <a:gd name="connsiteY3" fmla="*/ 349123 h 1625600"/>
              <a:gd name="connsiteX4" fmla="*/ 710756 w 814388"/>
              <a:gd name="connsiteY4" fmla="*/ 452755 h 1625600"/>
              <a:gd name="connsiteX5" fmla="*/ 710756 w 814388"/>
              <a:gd name="connsiteY5" fmla="*/ 452628 h 1625600"/>
              <a:gd name="connsiteX6" fmla="*/ 814388 w 814388"/>
              <a:gd name="connsiteY6" fmla="*/ 556260 h 1625600"/>
              <a:gd name="connsiteX7" fmla="*/ 814388 w 814388"/>
              <a:gd name="connsiteY7" fmla="*/ 1071245 h 1625600"/>
              <a:gd name="connsiteX8" fmla="*/ 710756 w 814388"/>
              <a:gd name="connsiteY8" fmla="*/ 1173861 h 1625600"/>
              <a:gd name="connsiteX9" fmla="*/ 607124 w 814388"/>
              <a:gd name="connsiteY9" fmla="*/ 1276477 h 1625600"/>
              <a:gd name="connsiteX10" fmla="*/ 607124 w 814388"/>
              <a:gd name="connsiteY10" fmla="*/ 1498600 h 1625600"/>
              <a:gd name="connsiteX11" fmla="*/ 480124 w 814388"/>
              <a:gd name="connsiteY11" fmla="*/ 1625600 h 1625600"/>
              <a:gd name="connsiteX12" fmla="*/ 0 w 814388"/>
              <a:gd name="connsiteY12" fmla="*/ 162560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4388" h="1625600">
                <a:moveTo>
                  <a:pt x="0" y="0"/>
                </a:moveTo>
                <a:lnTo>
                  <a:pt x="480124" y="0"/>
                </a:lnTo>
                <a:cubicBezTo>
                  <a:pt x="550291" y="0"/>
                  <a:pt x="607124" y="56833"/>
                  <a:pt x="607124" y="127000"/>
                </a:cubicBezTo>
                <a:lnTo>
                  <a:pt x="607124" y="349123"/>
                </a:lnTo>
                <a:cubicBezTo>
                  <a:pt x="607124" y="406400"/>
                  <a:pt x="653542" y="452755"/>
                  <a:pt x="710756" y="452755"/>
                </a:cubicBezTo>
                <a:lnTo>
                  <a:pt x="710756" y="452628"/>
                </a:lnTo>
                <a:cubicBezTo>
                  <a:pt x="768033" y="452628"/>
                  <a:pt x="814388" y="499046"/>
                  <a:pt x="814388" y="556260"/>
                </a:cubicBezTo>
                <a:lnTo>
                  <a:pt x="814388" y="1071245"/>
                </a:lnTo>
                <a:cubicBezTo>
                  <a:pt x="814388" y="1128332"/>
                  <a:pt x="767779" y="1174433"/>
                  <a:pt x="710756" y="1173861"/>
                </a:cubicBezTo>
                <a:cubicBezTo>
                  <a:pt x="653669" y="1173353"/>
                  <a:pt x="607124" y="1219391"/>
                  <a:pt x="607124" y="1276477"/>
                </a:cubicBezTo>
                <a:lnTo>
                  <a:pt x="607124" y="1498600"/>
                </a:lnTo>
                <a:cubicBezTo>
                  <a:pt x="607124" y="1568767"/>
                  <a:pt x="550291" y="1625600"/>
                  <a:pt x="480124" y="1625600"/>
                </a:cubicBezTo>
                <a:lnTo>
                  <a:pt x="0" y="1625600"/>
                </a:lnTo>
                <a:close/>
              </a:path>
            </a:pathLst>
          </a:custGeom>
          <a:solidFill>
            <a:schemeClr val="bg1"/>
          </a:solidFill>
          <a:effectLst>
            <a:outerShdw blurRad="419100" dist="215900" dir="11280000" algn="tl" rotWithShape="0">
              <a:prstClr val="black">
                <a:alpha val="10000"/>
              </a:prstClr>
            </a:outerShdw>
          </a:effectLst>
        </p:spPr>
        <p:txBody>
          <a:bodyPr wrap="square" bIns="684000" anchor="ctr" anchorCtr="0">
            <a:noAutofit/>
          </a:bodyPr>
          <a:lstStyle>
            <a:lvl1pPr algn="ctr">
              <a:defRPr/>
            </a:lvl1pPr>
          </a:lstStyle>
          <a:p>
            <a:r>
              <a:rPr lang="nl-NL"/>
              <a:t>Afbeelding</a:t>
            </a:r>
            <a:endParaRPr lang="nl-NL" dirty="0"/>
          </a:p>
        </p:txBody>
      </p:sp>
      <p:sp>
        <p:nvSpPr>
          <p:cNvPr id="33" name="Tijdelijke aanduiding voor afbeelding 32">
            <a:extLst>
              <a:ext uri="{FF2B5EF4-FFF2-40B4-BE49-F238E27FC236}">
                <a16:creationId xmlns:a16="http://schemas.microsoft.com/office/drawing/2014/main" id="{FC4005E8-67C3-75EA-AC3F-AC65AEC0B49B}"/>
              </a:ext>
            </a:extLst>
          </p:cNvPr>
          <p:cNvSpPr>
            <a:spLocks noGrp="1"/>
          </p:cNvSpPr>
          <p:nvPr>
            <p:ph type="pic" sz="quarter" idx="35" hasCustomPrompt="1"/>
          </p:nvPr>
        </p:nvSpPr>
        <p:spPr>
          <a:xfrm>
            <a:off x="4061329" y="1510031"/>
            <a:ext cx="3817116" cy="1625727"/>
          </a:xfrm>
          <a:custGeom>
            <a:avLst/>
            <a:gdLst>
              <a:gd name="connsiteX0" fmla="*/ 338586 w 3817116"/>
              <a:gd name="connsiteY0" fmla="*/ 0 h 1625727"/>
              <a:gd name="connsiteX1" fmla="*/ 3482852 w 3817116"/>
              <a:gd name="connsiteY1" fmla="*/ 0 h 1625727"/>
              <a:gd name="connsiteX2" fmla="*/ 3609852 w 3817116"/>
              <a:gd name="connsiteY2" fmla="*/ 127000 h 1625727"/>
              <a:gd name="connsiteX3" fmla="*/ 3609852 w 3817116"/>
              <a:gd name="connsiteY3" fmla="*/ 349123 h 1625727"/>
              <a:gd name="connsiteX4" fmla="*/ 3713484 w 3817116"/>
              <a:gd name="connsiteY4" fmla="*/ 452755 h 1625727"/>
              <a:gd name="connsiteX5" fmla="*/ 3817116 w 3817116"/>
              <a:gd name="connsiteY5" fmla="*/ 556387 h 1625727"/>
              <a:gd name="connsiteX6" fmla="*/ 3817116 w 3817116"/>
              <a:gd name="connsiteY6" fmla="*/ 1071372 h 1625727"/>
              <a:gd name="connsiteX7" fmla="*/ 3713484 w 3817116"/>
              <a:gd name="connsiteY7" fmla="*/ 1173988 h 1625727"/>
              <a:gd name="connsiteX8" fmla="*/ 3609852 w 3817116"/>
              <a:gd name="connsiteY8" fmla="*/ 1276604 h 1625727"/>
              <a:gd name="connsiteX9" fmla="*/ 3609852 w 3817116"/>
              <a:gd name="connsiteY9" fmla="*/ 1498727 h 1625727"/>
              <a:gd name="connsiteX10" fmla="*/ 3482852 w 3817116"/>
              <a:gd name="connsiteY10" fmla="*/ 1625727 h 1625727"/>
              <a:gd name="connsiteX11" fmla="*/ 338586 w 3817116"/>
              <a:gd name="connsiteY11" fmla="*/ 1625727 h 1625727"/>
              <a:gd name="connsiteX12" fmla="*/ 211586 w 3817116"/>
              <a:gd name="connsiteY12" fmla="*/ 1498727 h 1625727"/>
              <a:gd name="connsiteX13" fmla="*/ 211586 w 3817116"/>
              <a:gd name="connsiteY13" fmla="*/ 1278827 h 1625727"/>
              <a:gd name="connsiteX14" fmla="*/ 105795 w 3817116"/>
              <a:gd name="connsiteY14" fmla="*/ 1173036 h 1625727"/>
              <a:gd name="connsiteX15" fmla="*/ 4 w 3817116"/>
              <a:gd name="connsiteY15" fmla="*/ 1066483 h 1625727"/>
              <a:gd name="connsiteX16" fmla="*/ 3687 w 3817116"/>
              <a:gd name="connsiteY16" fmla="*/ 556133 h 1625727"/>
              <a:gd name="connsiteX17" fmla="*/ 107637 w 3817116"/>
              <a:gd name="connsiteY17" fmla="*/ 452882 h 1625727"/>
              <a:gd name="connsiteX18" fmla="*/ 211586 w 3817116"/>
              <a:gd name="connsiteY18" fmla="*/ 348933 h 1625727"/>
              <a:gd name="connsiteX19" fmla="*/ 211586 w 3817116"/>
              <a:gd name="connsiteY19" fmla="*/ 127000 h 1625727"/>
              <a:gd name="connsiteX20" fmla="*/ 338586 w 3817116"/>
              <a:gd name="connsiteY20" fmla="*/ 0 h 162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17116" h="1625727">
                <a:moveTo>
                  <a:pt x="338586" y="0"/>
                </a:moveTo>
                <a:lnTo>
                  <a:pt x="3482852" y="0"/>
                </a:lnTo>
                <a:cubicBezTo>
                  <a:pt x="3553019" y="0"/>
                  <a:pt x="3609852" y="56833"/>
                  <a:pt x="3609852" y="127000"/>
                </a:cubicBezTo>
                <a:lnTo>
                  <a:pt x="3609852" y="349123"/>
                </a:lnTo>
                <a:cubicBezTo>
                  <a:pt x="3609852" y="406337"/>
                  <a:pt x="3656207" y="452755"/>
                  <a:pt x="3713484" y="452755"/>
                </a:cubicBezTo>
                <a:cubicBezTo>
                  <a:pt x="3770761" y="452755"/>
                  <a:pt x="3817116" y="499110"/>
                  <a:pt x="3817116" y="556387"/>
                </a:cubicBezTo>
                <a:lnTo>
                  <a:pt x="3817116" y="1071372"/>
                </a:lnTo>
                <a:cubicBezTo>
                  <a:pt x="3817116" y="1128459"/>
                  <a:pt x="3770571" y="1174496"/>
                  <a:pt x="3713484" y="1173988"/>
                </a:cubicBezTo>
                <a:cubicBezTo>
                  <a:pt x="3656461" y="1173417"/>
                  <a:pt x="3609852" y="1219518"/>
                  <a:pt x="3609852" y="1276604"/>
                </a:cubicBezTo>
                <a:lnTo>
                  <a:pt x="3609852" y="1498727"/>
                </a:lnTo>
                <a:cubicBezTo>
                  <a:pt x="3609852" y="1568895"/>
                  <a:pt x="3553019" y="1625727"/>
                  <a:pt x="3482852" y="1625727"/>
                </a:cubicBezTo>
                <a:lnTo>
                  <a:pt x="338586" y="1625727"/>
                </a:lnTo>
                <a:cubicBezTo>
                  <a:pt x="268418" y="1625727"/>
                  <a:pt x="211586" y="1568895"/>
                  <a:pt x="211586" y="1498727"/>
                </a:cubicBezTo>
                <a:lnTo>
                  <a:pt x="211586" y="1278827"/>
                </a:lnTo>
                <a:cubicBezTo>
                  <a:pt x="211586" y="1220407"/>
                  <a:pt x="164215" y="1173036"/>
                  <a:pt x="105795" y="1173036"/>
                </a:cubicBezTo>
                <a:cubicBezTo>
                  <a:pt x="47375" y="1173036"/>
                  <a:pt x="-440" y="1125220"/>
                  <a:pt x="4" y="1066483"/>
                </a:cubicBezTo>
                <a:lnTo>
                  <a:pt x="3687" y="556133"/>
                </a:lnTo>
                <a:cubicBezTo>
                  <a:pt x="4068" y="498983"/>
                  <a:pt x="50550" y="452882"/>
                  <a:pt x="107637" y="452882"/>
                </a:cubicBezTo>
                <a:cubicBezTo>
                  <a:pt x="164723" y="452882"/>
                  <a:pt x="211586" y="406337"/>
                  <a:pt x="211586" y="348933"/>
                </a:cubicBezTo>
                <a:lnTo>
                  <a:pt x="211586" y="127000"/>
                </a:lnTo>
                <a:cubicBezTo>
                  <a:pt x="211586" y="56833"/>
                  <a:pt x="268418" y="0"/>
                  <a:pt x="338586" y="0"/>
                </a:cubicBezTo>
                <a:close/>
              </a:path>
            </a:pathLst>
          </a:custGeom>
          <a:solidFill>
            <a:schemeClr val="bg1"/>
          </a:solidFill>
          <a:effectLst>
            <a:outerShdw blurRad="419100" dist="215900" dir="11280000" algn="tl" rotWithShape="0">
              <a:prstClr val="black">
                <a:alpha val="10000"/>
              </a:prstClr>
            </a:outerShdw>
          </a:effectLst>
        </p:spPr>
        <p:txBody>
          <a:bodyPr wrap="square" lIns="144000" tIns="0" rIns="144000" bIns="0" anchor="ctr" anchorCtr="0">
            <a:noAutofit/>
          </a:bodyPr>
          <a:lstStyle>
            <a:lvl1pPr algn="ctr">
              <a:defRPr/>
            </a:lvl1pPr>
          </a:lstStyle>
          <a:p>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endParaRPr lang="nl-NL" dirty="0"/>
          </a:p>
        </p:txBody>
      </p:sp>
      <p:sp>
        <p:nvSpPr>
          <p:cNvPr id="32" name="Tijdelijke aanduiding voor afbeelding 31">
            <a:extLst>
              <a:ext uri="{FF2B5EF4-FFF2-40B4-BE49-F238E27FC236}">
                <a16:creationId xmlns:a16="http://schemas.microsoft.com/office/drawing/2014/main" id="{A395DE97-0851-85B2-B293-C048A34F0000}"/>
              </a:ext>
            </a:extLst>
          </p:cNvPr>
          <p:cNvSpPr>
            <a:spLocks noGrp="1"/>
          </p:cNvSpPr>
          <p:nvPr>
            <p:ph type="pic" sz="quarter" idx="36" hasCustomPrompt="1"/>
          </p:nvPr>
        </p:nvSpPr>
        <p:spPr>
          <a:xfrm>
            <a:off x="7740650" y="1510030"/>
            <a:ext cx="4451414" cy="1625600"/>
          </a:xfrm>
          <a:custGeom>
            <a:avLst/>
            <a:gdLst>
              <a:gd name="connsiteX0" fmla="*/ 127000 w 4451414"/>
              <a:gd name="connsiteY0" fmla="*/ 0 h 1625600"/>
              <a:gd name="connsiteX1" fmla="*/ 4451350 w 4451414"/>
              <a:gd name="connsiteY1" fmla="*/ 0 h 1625600"/>
              <a:gd name="connsiteX2" fmla="*/ 4451414 w 4451414"/>
              <a:gd name="connsiteY2" fmla="*/ 0 h 1625600"/>
              <a:gd name="connsiteX3" fmla="*/ 4451414 w 4451414"/>
              <a:gd name="connsiteY3" fmla="*/ 1625600 h 1625600"/>
              <a:gd name="connsiteX4" fmla="*/ 127064 w 4451414"/>
              <a:gd name="connsiteY4" fmla="*/ 1625600 h 1625600"/>
              <a:gd name="connsiteX5" fmla="*/ 64 w 4451414"/>
              <a:gd name="connsiteY5" fmla="*/ 1498600 h 1625600"/>
              <a:gd name="connsiteX6" fmla="*/ 64 w 4451414"/>
              <a:gd name="connsiteY6" fmla="*/ 1313180 h 1625600"/>
              <a:gd name="connsiteX7" fmla="*/ 94044 w 4451414"/>
              <a:gd name="connsiteY7" fmla="*/ 1219200 h 1625600"/>
              <a:gd name="connsiteX8" fmla="*/ 188023 w 4451414"/>
              <a:gd name="connsiteY8" fmla="*/ 1126046 h 1625600"/>
              <a:gd name="connsiteX9" fmla="*/ 193548 w 4451414"/>
              <a:gd name="connsiteY9" fmla="*/ 504000 h 1625600"/>
              <a:gd name="connsiteX10" fmla="*/ 96774 w 4451414"/>
              <a:gd name="connsiteY10" fmla="*/ 406400 h 1625600"/>
              <a:gd name="connsiteX11" fmla="*/ 0 w 4451414"/>
              <a:gd name="connsiteY11" fmla="*/ 309626 h 1625600"/>
              <a:gd name="connsiteX12" fmla="*/ 0 w 4451414"/>
              <a:gd name="connsiteY12" fmla="*/ 127000 h 1625600"/>
              <a:gd name="connsiteX13" fmla="*/ 127000 w 4451414"/>
              <a:gd name="connsiteY13"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51414" h="1625600">
                <a:moveTo>
                  <a:pt x="127000" y="0"/>
                </a:moveTo>
                <a:lnTo>
                  <a:pt x="4451350" y="0"/>
                </a:lnTo>
                <a:lnTo>
                  <a:pt x="4451414" y="0"/>
                </a:lnTo>
                <a:lnTo>
                  <a:pt x="4451414" y="1625600"/>
                </a:lnTo>
                <a:lnTo>
                  <a:pt x="127064" y="1625600"/>
                </a:lnTo>
                <a:cubicBezTo>
                  <a:pt x="56896" y="1625600"/>
                  <a:pt x="64" y="1568768"/>
                  <a:pt x="64" y="1498600"/>
                </a:cubicBezTo>
                <a:lnTo>
                  <a:pt x="64" y="1313180"/>
                </a:lnTo>
                <a:cubicBezTo>
                  <a:pt x="64" y="1261301"/>
                  <a:pt x="42481" y="1219200"/>
                  <a:pt x="94044" y="1219200"/>
                </a:cubicBezTo>
                <a:cubicBezTo>
                  <a:pt x="145606" y="1219200"/>
                  <a:pt x="187579" y="1177608"/>
                  <a:pt x="188023" y="1126046"/>
                </a:cubicBezTo>
                <a:lnTo>
                  <a:pt x="193548" y="504000"/>
                </a:lnTo>
                <a:cubicBezTo>
                  <a:pt x="193993" y="450215"/>
                  <a:pt x="150241" y="406400"/>
                  <a:pt x="96774" y="406400"/>
                </a:cubicBezTo>
                <a:cubicBezTo>
                  <a:pt x="43307" y="406400"/>
                  <a:pt x="0" y="363093"/>
                  <a:pt x="0" y="309626"/>
                </a:cubicBez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lIns="252000" tIns="0" rIns="252000" bIns="0" anchor="ctr" anchorCtr="0">
            <a:noAutofit/>
          </a:bodyPr>
          <a:lstStyle>
            <a:lvl1pPr algn="ctr">
              <a:defRPr/>
            </a:lvl1pPr>
          </a:lstStyle>
          <a:p>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endParaRPr lang="nl-NL" dirty="0"/>
          </a:p>
        </p:txBody>
      </p:sp>
      <p:sp>
        <p:nvSpPr>
          <p:cNvPr id="40" name="Tijdelijke aanduiding voor afbeelding 39">
            <a:extLst>
              <a:ext uri="{FF2B5EF4-FFF2-40B4-BE49-F238E27FC236}">
                <a16:creationId xmlns:a16="http://schemas.microsoft.com/office/drawing/2014/main" id="{DBCB3DF0-8D7C-3873-B7E1-493BBA1834BA}"/>
              </a:ext>
            </a:extLst>
          </p:cNvPr>
          <p:cNvSpPr>
            <a:spLocks noGrp="1"/>
          </p:cNvSpPr>
          <p:nvPr>
            <p:ph type="pic" sz="quarter" idx="39" hasCustomPrompt="1"/>
          </p:nvPr>
        </p:nvSpPr>
        <p:spPr>
          <a:xfrm>
            <a:off x="698501" y="3865880"/>
            <a:ext cx="3507613" cy="1625600"/>
          </a:xfrm>
          <a:custGeom>
            <a:avLst/>
            <a:gdLst>
              <a:gd name="connsiteX0" fmla="*/ 127000 w 3507613"/>
              <a:gd name="connsiteY0" fmla="*/ 0 h 1625600"/>
              <a:gd name="connsiteX1" fmla="*/ 3380613 w 3507613"/>
              <a:gd name="connsiteY1" fmla="*/ 0 h 1625600"/>
              <a:gd name="connsiteX2" fmla="*/ 3507613 w 3507613"/>
              <a:gd name="connsiteY2" fmla="*/ 127000 h 1625600"/>
              <a:gd name="connsiteX3" fmla="*/ 3507613 w 3507613"/>
              <a:gd name="connsiteY3" fmla="*/ 299466 h 1625600"/>
              <a:gd name="connsiteX4" fmla="*/ 3400679 w 3507613"/>
              <a:gd name="connsiteY4" fmla="*/ 406400 h 1625600"/>
              <a:gd name="connsiteX5" fmla="*/ 3293745 w 3507613"/>
              <a:gd name="connsiteY5" fmla="*/ 513334 h 1625600"/>
              <a:gd name="connsiteX6" fmla="*/ 3293745 w 3507613"/>
              <a:gd name="connsiteY6" fmla="*/ 1114298 h 1625600"/>
              <a:gd name="connsiteX7" fmla="*/ 3400679 w 3507613"/>
              <a:gd name="connsiteY7" fmla="*/ 1220216 h 1625600"/>
              <a:gd name="connsiteX8" fmla="*/ 3507613 w 3507613"/>
              <a:gd name="connsiteY8" fmla="*/ 1326134 h 1625600"/>
              <a:gd name="connsiteX9" fmla="*/ 3507613 w 3507613"/>
              <a:gd name="connsiteY9" fmla="*/ 1498600 h 1625600"/>
              <a:gd name="connsiteX10" fmla="*/ 3380613 w 3507613"/>
              <a:gd name="connsiteY10" fmla="*/ 1625600 h 1625600"/>
              <a:gd name="connsiteX11" fmla="*/ 127000 w 3507613"/>
              <a:gd name="connsiteY11" fmla="*/ 1625600 h 1625600"/>
              <a:gd name="connsiteX12" fmla="*/ 0 w 3507613"/>
              <a:gd name="connsiteY12" fmla="*/ 1498600 h 1625600"/>
              <a:gd name="connsiteX13" fmla="*/ 0 w 3507613"/>
              <a:gd name="connsiteY13" fmla="*/ 1320800 h 1625600"/>
              <a:gd name="connsiteX14" fmla="*/ 101600 w 3507613"/>
              <a:gd name="connsiteY14" fmla="*/ 1219200 h 1625600"/>
              <a:gd name="connsiteX15" fmla="*/ 203200 w 3507613"/>
              <a:gd name="connsiteY15" fmla="*/ 1117600 h 1625600"/>
              <a:gd name="connsiteX16" fmla="*/ 203200 w 3507613"/>
              <a:gd name="connsiteY16" fmla="*/ 508000 h 1625600"/>
              <a:gd name="connsiteX17" fmla="*/ 101600 w 3507613"/>
              <a:gd name="connsiteY17" fmla="*/ 406400 h 1625600"/>
              <a:gd name="connsiteX18" fmla="*/ 0 w 3507613"/>
              <a:gd name="connsiteY18" fmla="*/ 304800 h 1625600"/>
              <a:gd name="connsiteX19" fmla="*/ 0 w 3507613"/>
              <a:gd name="connsiteY19" fmla="*/ 127000 h 1625600"/>
              <a:gd name="connsiteX20" fmla="*/ 127000 w 3507613"/>
              <a:gd name="connsiteY20"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7613" h="1625600">
                <a:moveTo>
                  <a:pt x="127000" y="0"/>
                </a:moveTo>
                <a:lnTo>
                  <a:pt x="3380613" y="0"/>
                </a:lnTo>
                <a:cubicBezTo>
                  <a:pt x="3450781" y="0"/>
                  <a:pt x="3507613" y="56833"/>
                  <a:pt x="3507613" y="127000"/>
                </a:cubicBezTo>
                <a:lnTo>
                  <a:pt x="3507613" y="299466"/>
                </a:lnTo>
                <a:cubicBezTo>
                  <a:pt x="3507613" y="358521"/>
                  <a:pt x="3459734" y="406400"/>
                  <a:pt x="3400679" y="406400"/>
                </a:cubicBezTo>
                <a:cubicBezTo>
                  <a:pt x="3341624" y="406400"/>
                  <a:pt x="3293745" y="454279"/>
                  <a:pt x="3293745" y="513334"/>
                </a:cubicBezTo>
                <a:lnTo>
                  <a:pt x="3293745" y="1114298"/>
                </a:lnTo>
                <a:cubicBezTo>
                  <a:pt x="3293745" y="1173226"/>
                  <a:pt x="3341815" y="1220788"/>
                  <a:pt x="3400679" y="1220216"/>
                </a:cubicBezTo>
                <a:cubicBezTo>
                  <a:pt x="3459544" y="1219645"/>
                  <a:pt x="3507613" y="1267206"/>
                  <a:pt x="3507613" y="1326134"/>
                </a:cubicBezTo>
                <a:lnTo>
                  <a:pt x="3507613" y="1498600"/>
                </a:lnTo>
                <a:cubicBezTo>
                  <a:pt x="3507613" y="1568767"/>
                  <a:pt x="3450781" y="1625600"/>
                  <a:pt x="3380613" y="1625600"/>
                </a:cubicBezTo>
                <a:lnTo>
                  <a:pt x="127000" y="1625600"/>
                </a:lnTo>
                <a:cubicBezTo>
                  <a:pt x="56832" y="1625600"/>
                  <a:pt x="0" y="1568767"/>
                  <a:pt x="0" y="1498600"/>
                </a:cubicBezTo>
                <a:lnTo>
                  <a:pt x="0" y="1320800"/>
                </a:lnTo>
                <a:cubicBezTo>
                  <a:pt x="0" y="1264666"/>
                  <a:pt x="45466" y="1219200"/>
                  <a:pt x="101600" y="1219200"/>
                </a:cubicBezTo>
                <a:cubicBezTo>
                  <a:pt x="157734" y="1219200"/>
                  <a:pt x="203200" y="1173734"/>
                  <a:pt x="203200" y="1117600"/>
                </a:cubicBezTo>
                <a:lnTo>
                  <a:pt x="203200" y="508000"/>
                </a:lnTo>
                <a:cubicBezTo>
                  <a:pt x="203200" y="451866"/>
                  <a:pt x="157734" y="406400"/>
                  <a:pt x="101600" y="406400"/>
                </a:cubicBezTo>
                <a:cubicBezTo>
                  <a:pt x="45466" y="406400"/>
                  <a:pt x="0" y="360934"/>
                  <a:pt x="0" y="304800"/>
                </a:cubicBez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lIns="252000" rIns="252000" bIns="0" anchor="ctr" anchorCtr="0">
            <a:noAutofit/>
          </a:bodyPr>
          <a:lstStyle>
            <a:lvl1pPr algn="ctr">
              <a:defRPr/>
            </a:lvl1p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p>
        </p:txBody>
      </p:sp>
      <p:sp>
        <p:nvSpPr>
          <p:cNvPr id="38" name="Tijdelijke aanduiding voor afbeelding 37">
            <a:extLst>
              <a:ext uri="{FF2B5EF4-FFF2-40B4-BE49-F238E27FC236}">
                <a16:creationId xmlns:a16="http://schemas.microsoft.com/office/drawing/2014/main" id="{76B109F6-5041-F856-126F-5994D86F86A2}"/>
              </a:ext>
            </a:extLst>
          </p:cNvPr>
          <p:cNvSpPr>
            <a:spLocks noGrp="1"/>
          </p:cNvSpPr>
          <p:nvPr>
            <p:ph type="pic" sz="quarter" idx="38" hasCustomPrompt="1"/>
          </p:nvPr>
        </p:nvSpPr>
        <p:spPr>
          <a:xfrm>
            <a:off x="4061329" y="3865881"/>
            <a:ext cx="3817116" cy="1625727"/>
          </a:xfrm>
          <a:custGeom>
            <a:avLst/>
            <a:gdLst>
              <a:gd name="connsiteX0" fmla="*/ 338586 w 3817116"/>
              <a:gd name="connsiteY0" fmla="*/ 0 h 1625727"/>
              <a:gd name="connsiteX1" fmla="*/ 3482852 w 3817116"/>
              <a:gd name="connsiteY1" fmla="*/ 0 h 1625727"/>
              <a:gd name="connsiteX2" fmla="*/ 3609852 w 3817116"/>
              <a:gd name="connsiteY2" fmla="*/ 127000 h 1625727"/>
              <a:gd name="connsiteX3" fmla="*/ 3609852 w 3817116"/>
              <a:gd name="connsiteY3" fmla="*/ 349123 h 1625727"/>
              <a:gd name="connsiteX4" fmla="*/ 3713484 w 3817116"/>
              <a:gd name="connsiteY4" fmla="*/ 452755 h 1625727"/>
              <a:gd name="connsiteX5" fmla="*/ 3817116 w 3817116"/>
              <a:gd name="connsiteY5" fmla="*/ 556387 h 1625727"/>
              <a:gd name="connsiteX6" fmla="*/ 3817116 w 3817116"/>
              <a:gd name="connsiteY6" fmla="*/ 1071372 h 1625727"/>
              <a:gd name="connsiteX7" fmla="*/ 3713484 w 3817116"/>
              <a:gd name="connsiteY7" fmla="*/ 1173988 h 1625727"/>
              <a:gd name="connsiteX8" fmla="*/ 3609852 w 3817116"/>
              <a:gd name="connsiteY8" fmla="*/ 1276604 h 1625727"/>
              <a:gd name="connsiteX9" fmla="*/ 3609852 w 3817116"/>
              <a:gd name="connsiteY9" fmla="*/ 1498727 h 1625727"/>
              <a:gd name="connsiteX10" fmla="*/ 3482852 w 3817116"/>
              <a:gd name="connsiteY10" fmla="*/ 1625727 h 1625727"/>
              <a:gd name="connsiteX11" fmla="*/ 338586 w 3817116"/>
              <a:gd name="connsiteY11" fmla="*/ 1625727 h 1625727"/>
              <a:gd name="connsiteX12" fmla="*/ 211586 w 3817116"/>
              <a:gd name="connsiteY12" fmla="*/ 1498727 h 1625727"/>
              <a:gd name="connsiteX13" fmla="*/ 211586 w 3817116"/>
              <a:gd name="connsiteY13" fmla="*/ 1278827 h 1625727"/>
              <a:gd name="connsiteX14" fmla="*/ 105795 w 3817116"/>
              <a:gd name="connsiteY14" fmla="*/ 1173035 h 1625727"/>
              <a:gd name="connsiteX15" fmla="*/ 4 w 3817116"/>
              <a:gd name="connsiteY15" fmla="*/ 1066483 h 1625727"/>
              <a:gd name="connsiteX16" fmla="*/ 3687 w 3817116"/>
              <a:gd name="connsiteY16" fmla="*/ 556133 h 1625727"/>
              <a:gd name="connsiteX17" fmla="*/ 107637 w 3817116"/>
              <a:gd name="connsiteY17" fmla="*/ 452882 h 1625727"/>
              <a:gd name="connsiteX18" fmla="*/ 211586 w 3817116"/>
              <a:gd name="connsiteY18" fmla="*/ 348933 h 1625727"/>
              <a:gd name="connsiteX19" fmla="*/ 211586 w 3817116"/>
              <a:gd name="connsiteY19" fmla="*/ 127190 h 1625727"/>
              <a:gd name="connsiteX20" fmla="*/ 211586 w 3817116"/>
              <a:gd name="connsiteY20" fmla="*/ 127000 h 1625727"/>
              <a:gd name="connsiteX21" fmla="*/ 338586 w 3817116"/>
              <a:gd name="connsiteY21" fmla="*/ 0 h 162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7116" h="1625727">
                <a:moveTo>
                  <a:pt x="338586" y="0"/>
                </a:moveTo>
                <a:lnTo>
                  <a:pt x="3482852" y="0"/>
                </a:lnTo>
                <a:cubicBezTo>
                  <a:pt x="3553019" y="0"/>
                  <a:pt x="3609852" y="56833"/>
                  <a:pt x="3609852" y="127000"/>
                </a:cubicBezTo>
                <a:lnTo>
                  <a:pt x="3609852" y="349123"/>
                </a:lnTo>
                <a:cubicBezTo>
                  <a:pt x="3609852" y="406336"/>
                  <a:pt x="3656207" y="452755"/>
                  <a:pt x="3713484" y="452755"/>
                </a:cubicBezTo>
                <a:cubicBezTo>
                  <a:pt x="3770761" y="452755"/>
                  <a:pt x="3817116" y="499110"/>
                  <a:pt x="3817116" y="556387"/>
                </a:cubicBezTo>
                <a:lnTo>
                  <a:pt x="3817116" y="1071372"/>
                </a:lnTo>
                <a:cubicBezTo>
                  <a:pt x="3817116" y="1128459"/>
                  <a:pt x="3770571" y="1174496"/>
                  <a:pt x="3713484" y="1173988"/>
                </a:cubicBezTo>
                <a:cubicBezTo>
                  <a:pt x="3656461" y="1173416"/>
                  <a:pt x="3609852" y="1219517"/>
                  <a:pt x="3609852" y="1276604"/>
                </a:cubicBezTo>
                <a:lnTo>
                  <a:pt x="3609852" y="1498727"/>
                </a:lnTo>
                <a:cubicBezTo>
                  <a:pt x="3609852" y="1568895"/>
                  <a:pt x="3553019" y="1625727"/>
                  <a:pt x="3482852" y="1625727"/>
                </a:cubicBezTo>
                <a:lnTo>
                  <a:pt x="338586" y="1625727"/>
                </a:lnTo>
                <a:cubicBezTo>
                  <a:pt x="268418" y="1625727"/>
                  <a:pt x="211586" y="1568895"/>
                  <a:pt x="211586" y="1498727"/>
                </a:cubicBezTo>
                <a:lnTo>
                  <a:pt x="211586" y="1278827"/>
                </a:lnTo>
                <a:cubicBezTo>
                  <a:pt x="211586" y="1220407"/>
                  <a:pt x="164215" y="1173035"/>
                  <a:pt x="105795" y="1173035"/>
                </a:cubicBezTo>
                <a:cubicBezTo>
                  <a:pt x="47375" y="1173035"/>
                  <a:pt x="-440" y="1125220"/>
                  <a:pt x="4" y="1066483"/>
                </a:cubicBezTo>
                <a:lnTo>
                  <a:pt x="3687" y="556133"/>
                </a:lnTo>
                <a:cubicBezTo>
                  <a:pt x="4068" y="498983"/>
                  <a:pt x="50550" y="452882"/>
                  <a:pt x="107637" y="452882"/>
                </a:cubicBezTo>
                <a:cubicBezTo>
                  <a:pt x="164723" y="452882"/>
                  <a:pt x="211586" y="406336"/>
                  <a:pt x="211586" y="348933"/>
                </a:cubicBezTo>
                <a:lnTo>
                  <a:pt x="211586" y="127190"/>
                </a:lnTo>
                <a:lnTo>
                  <a:pt x="211586" y="127000"/>
                </a:lnTo>
                <a:cubicBezTo>
                  <a:pt x="211586" y="56833"/>
                  <a:pt x="268418" y="0"/>
                  <a:pt x="338586" y="0"/>
                </a:cubicBezTo>
                <a:close/>
              </a:path>
            </a:pathLst>
          </a:custGeom>
          <a:solidFill>
            <a:schemeClr val="bg1"/>
          </a:solidFill>
          <a:effectLst>
            <a:outerShdw blurRad="419100" dist="215900" dir="11280000" algn="tl" rotWithShape="0">
              <a:prstClr val="black">
                <a:alpha val="10000"/>
              </a:prstClr>
            </a:outerShdw>
          </a:effectLst>
        </p:spPr>
        <p:txBody>
          <a:bodyPr wrap="square" lIns="144000" rIns="144000" bIns="0" anchor="ctr" anchorCtr="0">
            <a:noAutofit/>
          </a:bodyPr>
          <a:lstStyle>
            <a:lvl1pPr algn="ctr">
              <a:defRPr/>
            </a:lvl1p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p>
        </p:txBody>
      </p:sp>
      <p:sp>
        <p:nvSpPr>
          <p:cNvPr id="36" name="Tijdelijke aanduiding voor afbeelding 35">
            <a:extLst>
              <a:ext uri="{FF2B5EF4-FFF2-40B4-BE49-F238E27FC236}">
                <a16:creationId xmlns:a16="http://schemas.microsoft.com/office/drawing/2014/main" id="{DCAA040B-A49A-DC69-FFDF-452B80A73AFF}"/>
              </a:ext>
            </a:extLst>
          </p:cNvPr>
          <p:cNvSpPr>
            <a:spLocks noGrp="1"/>
          </p:cNvSpPr>
          <p:nvPr>
            <p:ph type="pic" sz="quarter" idx="37" hasCustomPrompt="1"/>
          </p:nvPr>
        </p:nvSpPr>
        <p:spPr>
          <a:xfrm>
            <a:off x="7739126" y="3865880"/>
            <a:ext cx="3817874" cy="1625600"/>
          </a:xfrm>
          <a:custGeom>
            <a:avLst/>
            <a:gdLst>
              <a:gd name="connsiteX0" fmla="*/ 127000 w 3817874"/>
              <a:gd name="connsiteY0" fmla="*/ 0 h 1625600"/>
              <a:gd name="connsiteX1" fmla="*/ 3690874 w 3817874"/>
              <a:gd name="connsiteY1" fmla="*/ 0 h 1625600"/>
              <a:gd name="connsiteX2" fmla="*/ 3817874 w 3817874"/>
              <a:gd name="connsiteY2" fmla="*/ 127000 h 1625600"/>
              <a:gd name="connsiteX3" fmla="*/ 3817874 w 3817874"/>
              <a:gd name="connsiteY3" fmla="*/ 1498600 h 1625600"/>
              <a:gd name="connsiteX4" fmla="*/ 3690874 w 3817874"/>
              <a:gd name="connsiteY4" fmla="*/ 1625600 h 1625600"/>
              <a:gd name="connsiteX5" fmla="*/ 127000 w 3817874"/>
              <a:gd name="connsiteY5" fmla="*/ 1625600 h 1625600"/>
              <a:gd name="connsiteX6" fmla="*/ 0 w 3817874"/>
              <a:gd name="connsiteY6" fmla="*/ 1498600 h 1625600"/>
              <a:gd name="connsiteX7" fmla="*/ 0 w 3817874"/>
              <a:gd name="connsiteY7" fmla="*/ 1333119 h 1625600"/>
              <a:gd name="connsiteX8" fmla="*/ 113919 w 3817874"/>
              <a:gd name="connsiteY8" fmla="*/ 1219200 h 1625600"/>
              <a:gd name="connsiteX9" fmla="*/ 227838 w 3817874"/>
              <a:gd name="connsiteY9" fmla="*/ 1106107 h 1625600"/>
              <a:gd name="connsiteX10" fmla="*/ 232029 w 3817874"/>
              <a:gd name="connsiteY10" fmla="*/ 523177 h 1625600"/>
              <a:gd name="connsiteX11" fmla="*/ 116078 w 3817874"/>
              <a:gd name="connsiteY11" fmla="*/ 406336 h 1625600"/>
              <a:gd name="connsiteX12" fmla="*/ 127 w 3817874"/>
              <a:gd name="connsiteY12" fmla="*/ 290386 h 1625600"/>
              <a:gd name="connsiteX13" fmla="*/ 127 w 3817874"/>
              <a:gd name="connsiteY13" fmla="*/ 126936 h 1625600"/>
              <a:gd name="connsiteX14" fmla="*/ 0 w 3817874"/>
              <a:gd name="connsiteY14" fmla="*/ 127000 h 1625600"/>
              <a:gd name="connsiteX15" fmla="*/ 127000 w 3817874"/>
              <a:gd name="connsiteY15" fmla="*/ 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7874" h="1625600">
                <a:moveTo>
                  <a:pt x="127000" y="0"/>
                </a:moveTo>
                <a:lnTo>
                  <a:pt x="3690874" y="0"/>
                </a:lnTo>
                <a:cubicBezTo>
                  <a:pt x="3761042" y="0"/>
                  <a:pt x="3817874" y="56833"/>
                  <a:pt x="3817874" y="127000"/>
                </a:cubicBezTo>
                <a:lnTo>
                  <a:pt x="3817874" y="1498600"/>
                </a:lnTo>
                <a:cubicBezTo>
                  <a:pt x="3817874" y="1568767"/>
                  <a:pt x="3761042" y="1625600"/>
                  <a:pt x="3690874" y="1625600"/>
                </a:cubicBezTo>
                <a:lnTo>
                  <a:pt x="127000" y="1625600"/>
                </a:lnTo>
                <a:cubicBezTo>
                  <a:pt x="56832" y="1625600"/>
                  <a:pt x="0" y="1568767"/>
                  <a:pt x="0" y="1498600"/>
                </a:cubicBezTo>
                <a:lnTo>
                  <a:pt x="0" y="1333119"/>
                </a:lnTo>
                <a:cubicBezTo>
                  <a:pt x="0" y="1270191"/>
                  <a:pt x="50991" y="1219200"/>
                  <a:pt x="113919" y="1219200"/>
                </a:cubicBezTo>
                <a:cubicBezTo>
                  <a:pt x="176847" y="1219200"/>
                  <a:pt x="227393" y="1168717"/>
                  <a:pt x="227838" y="1106107"/>
                </a:cubicBezTo>
                <a:lnTo>
                  <a:pt x="232029" y="523177"/>
                </a:lnTo>
                <a:cubicBezTo>
                  <a:pt x="232473" y="458788"/>
                  <a:pt x="180404" y="406336"/>
                  <a:pt x="116078" y="406336"/>
                </a:cubicBezTo>
                <a:cubicBezTo>
                  <a:pt x="51753" y="406336"/>
                  <a:pt x="127" y="354394"/>
                  <a:pt x="127" y="290386"/>
                </a:cubicBezTo>
                <a:lnTo>
                  <a:pt x="127" y="126936"/>
                </a:lnTo>
                <a:lnTo>
                  <a:pt x="0" y="127000"/>
                </a:lnTo>
                <a:cubicBezTo>
                  <a:pt x="0" y="56833"/>
                  <a:pt x="56832" y="0"/>
                  <a:pt x="127000" y="0"/>
                </a:cubicBezTo>
                <a:close/>
              </a:path>
            </a:pathLst>
          </a:custGeom>
          <a:solidFill>
            <a:schemeClr val="bg1"/>
          </a:solidFill>
          <a:effectLst>
            <a:outerShdw blurRad="419100" dist="215900" dir="11280000" algn="tl" rotWithShape="0">
              <a:prstClr val="black">
                <a:alpha val="10000"/>
              </a:prstClr>
            </a:outerShdw>
          </a:effectLst>
        </p:spPr>
        <p:txBody>
          <a:bodyPr wrap="square" lIns="216000" rIns="216000" bIns="0" anchor="ctr" anchorCtr="0">
            <a:noAutofit/>
          </a:bodyPr>
          <a:lstStyle>
            <a:lvl1pPr algn="ctr">
              <a:defRPr/>
            </a:lvl1p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nl-NL"/>
              <a:t>Klik in de navigatie aan de linkerkant met de rechtermuisknop op de dia die je wilt kopiëren.</a:t>
            </a:r>
            <a:br>
              <a:rPr lang="nl-NL"/>
            </a:br>
            <a:r>
              <a:rPr lang="nl-NL"/>
              <a:t>Kies “Kopieer”.</a:t>
            </a:r>
            <a:br>
              <a:rPr lang="nl-NL"/>
            </a:br>
            <a:r>
              <a:rPr lang="nl-NL"/>
              <a:t>Klik met de rechtermuisknop op deze afbeeldingsplaceholder en kies “Plakken als afbeelding”</a:t>
            </a:r>
          </a:p>
        </p:txBody>
      </p:sp>
    </p:spTree>
    <p:extLst>
      <p:ext uri="{BB962C8B-B14F-4D97-AF65-F5344CB8AC3E}">
        <p14:creationId xmlns:p14="http://schemas.microsoft.com/office/powerpoint/2010/main" val="22001278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e future is digital">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23" name="Afbeeldingsplaceholder">
            <a:extLst>
              <a:ext uri="{FF2B5EF4-FFF2-40B4-BE49-F238E27FC236}">
                <a16:creationId xmlns:a16="http://schemas.microsoft.com/office/drawing/2014/main" id="{C90E0216-1721-1C19-5B4E-9DE96EA08E68}"/>
              </a:ext>
            </a:extLst>
          </p:cNvPr>
          <p:cNvSpPr>
            <a:spLocks noGrp="1" noRot="1" noMove="1" noResize="1" noEditPoints="1" noAdjustHandles="1" noChangeArrowheads="1" noChangeShapeType="1"/>
          </p:cNvSpPr>
          <p:nvPr>
            <p:ph type="pic" sz="quarter" idx="11"/>
          </p:nvPr>
        </p:nvSpPr>
        <p:spPr>
          <a:xfrm>
            <a:off x="120604" y="115880"/>
            <a:ext cx="11943150" cy="6614305"/>
          </a:xfrm>
          <a:custGeom>
            <a:avLst/>
            <a:gdLst>
              <a:gd name="connsiteX0" fmla="*/ 11816016 w 11943150"/>
              <a:gd name="connsiteY0" fmla="*/ 1 h 6614305"/>
              <a:gd name="connsiteX1" fmla="*/ 11943150 w 11943150"/>
              <a:gd name="connsiteY1" fmla="*/ 126999 h 6614305"/>
              <a:gd name="connsiteX2" fmla="*/ 11943150 w 11943150"/>
              <a:gd name="connsiteY2" fmla="*/ 6476327 h 6614305"/>
              <a:gd name="connsiteX3" fmla="*/ 11816426 w 11943150"/>
              <a:gd name="connsiteY3" fmla="*/ 6603324 h 6614305"/>
              <a:gd name="connsiteX4" fmla="*/ 6521136 w 11943150"/>
              <a:gd name="connsiteY4" fmla="*/ 6614305 h 6614305"/>
              <a:gd name="connsiteX5" fmla="*/ 4949492 w 11943150"/>
              <a:gd name="connsiteY5" fmla="*/ 6614305 h 6614305"/>
              <a:gd name="connsiteX6" fmla="*/ 4822494 w 11943150"/>
              <a:gd name="connsiteY6" fmla="*/ 6487308 h 6614305"/>
              <a:gd name="connsiteX7" fmla="*/ 4822494 w 11943150"/>
              <a:gd name="connsiteY7" fmla="*/ 6430152 h 6614305"/>
              <a:gd name="connsiteX8" fmla="*/ 4695496 w 11943150"/>
              <a:gd name="connsiteY8" fmla="*/ 6303155 h 6614305"/>
              <a:gd name="connsiteX9" fmla="*/ 1743623 w 11943150"/>
              <a:gd name="connsiteY9" fmla="*/ 6303155 h 6614305"/>
              <a:gd name="connsiteX10" fmla="*/ 1616626 w 11943150"/>
              <a:gd name="connsiteY10" fmla="*/ 6176157 h 6614305"/>
              <a:gd name="connsiteX11" fmla="*/ 1616626 w 11943150"/>
              <a:gd name="connsiteY11" fmla="*/ 5938054 h 6614305"/>
              <a:gd name="connsiteX12" fmla="*/ 1743623 w 11943150"/>
              <a:gd name="connsiteY12" fmla="*/ 5811056 h 6614305"/>
              <a:gd name="connsiteX13" fmla="*/ 2451761 w 11943150"/>
              <a:gd name="connsiteY13" fmla="*/ 5811056 h 6614305"/>
              <a:gd name="connsiteX14" fmla="*/ 2578758 w 11943150"/>
              <a:gd name="connsiteY14" fmla="*/ 5684059 h 6614305"/>
              <a:gd name="connsiteX15" fmla="*/ 2578758 w 11943150"/>
              <a:gd name="connsiteY15" fmla="*/ 5334850 h 6614305"/>
              <a:gd name="connsiteX16" fmla="*/ 2451761 w 11943150"/>
              <a:gd name="connsiteY16" fmla="*/ 5207853 h 6614305"/>
              <a:gd name="connsiteX17" fmla="*/ 1743623 w 11943150"/>
              <a:gd name="connsiteY17" fmla="*/ 5207853 h 6614305"/>
              <a:gd name="connsiteX18" fmla="*/ 1616626 w 11943150"/>
              <a:gd name="connsiteY18" fmla="*/ 5080855 h 6614305"/>
              <a:gd name="connsiteX19" fmla="*/ 1616626 w 11943150"/>
              <a:gd name="connsiteY19" fmla="*/ 4725303 h 6614305"/>
              <a:gd name="connsiteX20" fmla="*/ 1489629 w 11943150"/>
              <a:gd name="connsiteY20" fmla="*/ 4598306 h 6614305"/>
              <a:gd name="connsiteX21" fmla="*/ 126997 w 11943150"/>
              <a:gd name="connsiteY21" fmla="*/ 4598306 h 6614305"/>
              <a:gd name="connsiteX22" fmla="*/ 0 w 11943150"/>
              <a:gd name="connsiteY22" fmla="*/ 4471308 h 6614305"/>
              <a:gd name="connsiteX23" fmla="*/ 0 w 11943150"/>
              <a:gd name="connsiteY23" fmla="*/ 758507 h 6614305"/>
              <a:gd name="connsiteX24" fmla="*/ 126997 w 11943150"/>
              <a:gd name="connsiteY24" fmla="*/ 631510 h 6614305"/>
              <a:gd name="connsiteX25" fmla="*/ 1476158 w 11943150"/>
              <a:gd name="connsiteY25" fmla="*/ 631510 h 6614305"/>
              <a:gd name="connsiteX26" fmla="*/ 1603156 w 11943150"/>
              <a:gd name="connsiteY26" fmla="*/ 504513 h 6614305"/>
              <a:gd name="connsiteX27" fmla="*/ 1603156 w 11943150"/>
              <a:gd name="connsiteY27" fmla="*/ 137945 h 6614305"/>
              <a:gd name="connsiteX28" fmla="*/ 1730017 w 11943150"/>
              <a:gd name="connsiteY28" fmla="*/ 10948 h 661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43150" h="6614305">
                <a:moveTo>
                  <a:pt x="11816016" y="1"/>
                </a:moveTo>
                <a:cubicBezTo>
                  <a:pt x="11886200" y="-67"/>
                  <a:pt x="11943150" y="56816"/>
                  <a:pt x="11943150" y="126999"/>
                </a:cubicBezTo>
                <a:lnTo>
                  <a:pt x="11943150" y="6476327"/>
                </a:lnTo>
                <a:cubicBezTo>
                  <a:pt x="11943150" y="6546339"/>
                  <a:pt x="11886473" y="6603154"/>
                  <a:pt x="11816426" y="6603324"/>
                </a:cubicBezTo>
                <a:lnTo>
                  <a:pt x="6521136" y="6614305"/>
                </a:lnTo>
                <a:lnTo>
                  <a:pt x="4949492" y="6614305"/>
                </a:lnTo>
                <a:cubicBezTo>
                  <a:pt x="4879377" y="6614305"/>
                  <a:pt x="4822494" y="6557456"/>
                  <a:pt x="4822494" y="6487308"/>
                </a:cubicBezTo>
                <a:lnTo>
                  <a:pt x="4822494" y="6430152"/>
                </a:lnTo>
                <a:cubicBezTo>
                  <a:pt x="4822494" y="6360037"/>
                  <a:pt x="4765645" y="6303155"/>
                  <a:pt x="4695496" y="6303155"/>
                </a:cubicBezTo>
                <a:lnTo>
                  <a:pt x="1743623" y="6303155"/>
                </a:lnTo>
                <a:cubicBezTo>
                  <a:pt x="1673509" y="6303155"/>
                  <a:pt x="1616626" y="6246306"/>
                  <a:pt x="1616626" y="6176157"/>
                </a:cubicBezTo>
                <a:lnTo>
                  <a:pt x="1616626" y="5938054"/>
                </a:lnTo>
                <a:cubicBezTo>
                  <a:pt x="1616626" y="5867939"/>
                  <a:pt x="1673475" y="5811056"/>
                  <a:pt x="1743623" y="5811056"/>
                </a:cubicBezTo>
                <a:lnTo>
                  <a:pt x="2451761" y="5811056"/>
                </a:lnTo>
                <a:cubicBezTo>
                  <a:pt x="2521875" y="5811056"/>
                  <a:pt x="2578758" y="5754208"/>
                  <a:pt x="2578758" y="5684059"/>
                </a:cubicBezTo>
                <a:lnTo>
                  <a:pt x="2578758" y="5334850"/>
                </a:lnTo>
                <a:cubicBezTo>
                  <a:pt x="2578758" y="5264736"/>
                  <a:pt x="2521909" y="5207853"/>
                  <a:pt x="2451761" y="5207853"/>
                </a:cubicBezTo>
                <a:lnTo>
                  <a:pt x="1743623" y="5207853"/>
                </a:lnTo>
                <a:cubicBezTo>
                  <a:pt x="1673509" y="5207853"/>
                  <a:pt x="1616626" y="5151004"/>
                  <a:pt x="1616626" y="5080855"/>
                </a:cubicBezTo>
                <a:lnTo>
                  <a:pt x="1616626" y="4725303"/>
                </a:lnTo>
                <a:cubicBezTo>
                  <a:pt x="1616626" y="4655189"/>
                  <a:pt x="1559777" y="4598306"/>
                  <a:pt x="1489629" y="4598306"/>
                </a:cubicBezTo>
                <a:lnTo>
                  <a:pt x="126997" y="4598306"/>
                </a:lnTo>
                <a:cubicBezTo>
                  <a:pt x="56883" y="4598306"/>
                  <a:pt x="0" y="4541457"/>
                  <a:pt x="0" y="4471308"/>
                </a:cubicBezTo>
                <a:lnTo>
                  <a:pt x="0" y="758507"/>
                </a:lnTo>
                <a:cubicBezTo>
                  <a:pt x="0" y="688393"/>
                  <a:pt x="56849" y="631510"/>
                  <a:pt x="126997" y="631510"/>
                </a:cubicBezTo>
                <a:lnTo>
                  <a:pt x="1476158" y="631510"/>
                </a:lnTo>
                <a:cubicBezTo>
                  <a:pt x="1546273" y="631510"/>
                  <a:pt x="1603156" y="574661"/>
                  <a:pt x="1603156" y="504513"/>
                </a:cubicBezTo>
                <a:lnTo>
                  <a:pt x="1603156" y="137945"/>
                </a:lnTo>
                <a:cubicBezTo>
                  <a:pt x="1603156" y="67865"/>
                  <a:pt x="1659936" y="11050"/>
                  <a:pt x="1730017" y="10948"/>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6" name="Tekst">
            <a:extLst>
              <a:ext uri="{FF2B5EF4-FFF2-40B4-BE49-F238E27FC236}">
                <a16:creationId xmlns:a16="http://schemas.microsoft.com/office/drawing/2014/main" id="{9A7B3120-C190-9846-DFFC-5FE83455E524}"/>
              </a:ext>
            </a:extLst>
          </p:cNvPr>
          <p:cNvPicPr>
            <a:picLocks noGrp="1" noRot="1" noChangeAspect="1" noMove="1" noResize="1" noEditPoints="1" noAdjustHandles="1" noChangeArrowheads="1" noChangeShapeType="1" noCrop="1"/>
          </p:cNvPicPr>
          <p:nvPr userDrawn="1"/>
        </p:nvPicPr>
        <p:blipFill rotWithShape="1">
          <a:blip r:embed="rId4"/>
          <a:srcRect l="7199" t="10294" r="7199" b="15712"/>
          <a:stretch/>
        </p:blipFill>
        <p:spPr>
          <a:xfrm>
            <a:off x="127000" y="5421631"/>
            <a:ext cx="2491740" cy="975359"/>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5099685"/>
            <a:ext cx="1485302" cy="183600"/>
          </a:xfrm>
          <a:prstGeom prst="roundRect">
            <a:avLst>
              <a:gd name="adj" fmla="val 50000"/>
            </a:avLst>
          </a:prstGeom>
          <a:solidFill>
            <a:schemeClr val="accent2"/>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a:t>
            </a:r>
            <a:endParaRPr lang="nl-NL" dirty="0"/>
          </a:p>
        </p:txBody>
      </p:sp>
      <p:sp>
        <p:nvSpPr>
          <p:cNvPr id="7" name="Tijdelijke aanduiding voor tekst 2">
            <a:extLst>
              <a:ext uri="{FF2B5EF4-FFF2-40B4-BE49-F238E27FC236}">
                <a16:creationId xmlns:a16="http://schemas.microsoft.com/office/drawing/2014/main" id="{3DCCD377-7664-1998-E9A3-CC1A4EDD004A}"/>
              </a:ext>
            </a:extLst>
          </p:cNvPr>
          <p:cNvSpPr>
            <a:spLocks noGrp="1"/>
          </p:cNvSpPr>
          <p:nvPr>
            <p:ph type="body" idx="12" hasCustomPrompt="1"/>
          </p:nvPr>
        </p:nvSpPr>
        <p:spPr>
          <a:xfrm>
            <a:off x="152998" y="4880642"/>
            <a:ext cx="1486800" cy="119135"/>
          </a:xfrm>
        </p:spPr>
        <p:txBody>
          <a:bodyPr anchor="t" anchorCtr="0">
            <a:spAutoFit/>
          </a:bodyPr>
          <a:lstStyle>
            <a:lvl1pPr marL="0" indent="0">
              <a:buNone/>
              <a:defRPr sz="75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192980568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e toekomst leefbaar maken">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39" name="Afbeeldingsplaceholder">
            <a:extLst>
              <a:ext uri="{FF2B5EF4-FFF2-40B4-BE49-F238E27FC236}">
                <a16:creationId xmlns:a16="http://schemas.microsoft.com/office/drawing/2014/main" id="{8053BA1C-82B2-1600-3836-897E937FD31B}"/>
              </a:ext>
            </a:extLst>
          </p:cNvPr>
          <p:cNvSpPr>
            <a:spLocks noGrp="1" noRot="1" noMove="1" noResize="1" noEditPoints="1" noAdjustHandles="1" noChangeArrowheads="1" noChangeShapeType="1"/>
          </p:cNvSpPr>
          <p:nvPr>
            <p:ph type="pic" sz="quarter" idx="11"/>
          </p:nvPr>
        </p:nvSpPr>
        <p:spPr>
          <a:xfrm>
            <a:off x="120420" y="115918"/>
            <a:ext cx="11943129" cy="6614309"/>
          </a:xfrm>
          <a:custGeom>
            <a:avLst/>
            <a:gdLst>
              <a:gd name="connsiteX0" fmla="*/ 11816001 w 11943129"/>
              <a:gd name="connsiteY0" fmla="*/ 1 h 6614309"/>
              <a:gd name="connsiteX1" fmla="*/ 11943129 w 11943129"/>
              <a:gd name="connsiteY1" fmla="*/ 126981 h 6614309"/>
              <a:gd name="connsiteX2" fmla="*/ 11943129 w 11943129"/>
              <a:gd name="connsiteY2" fmla="*/ 6476354 h 6614309"/>
              <a:gd name="connsiteX3" fmla="*/ 11816413 w 11943129"/>
              <a:gd name="connsiteY3" fmla="*/ 6603335 h 6614309"/>
              <a:gd name="connsiteX4" fmla="*/ 6521102 w 11943129"/>
              <a:gd name="connsiteY4" fmla="*/ 6614309 h 6614309"/>
              <a:gd name="connsiteX5" fmla="*/ 4936760 w 11943129"/>
              <a:gd name="connsiteY5" fmla="*/ 6614309 h 6614309"/>
              <a:gd name="connsiteX6" fmla="*/ 4809781 w 11943129"/>
              <a:gd name="connsiteY6" fmla="*/ 6487328 h 6614309"/>
              <a:gd name="connsiteX7" fmla="*/ 4809781 w 11943129"/>
              <a:gd name="connsiteY7" fmla="*/ 6430193 h 6614309"/>
              <a:gd name="connsiteX8" fmla="*/ 4682799 w 11943129"/>
              <a:gd name="connsiteY8" fmla="*/ 6303213 h 6614309"/>
              <a:gd name="connsiteX9" fmla="*/ 3394431 w 11943129"/>
              <a:gd name="connsiteY9" fmla="*/ 6303213 h 6614309"/>
              <a:gd name="connsiteX10" fmla="*/ 3267450 w 11943129"/>
              <a:gd name="connsiteY10" fmla="*/ 6176232 h 6614309"/>
              <a:gd name="connsiteX11" fmla="*/ 3267450 w 11943129"/>
              <a:gd name="connsiteY11" fmla="*/ 5938129 h 6614309"/>
              <a:gd name="connsiteX12" fmla="*/ 3140470 w 11943129"/>
              <a:gd name="connsiteY12" fmla="*/ 5811149 h 6614309"/>
              <a:gd name="connsiteX13" fmla="*/ 2832757 w 11943129"/>
              <a:gd name="connsiteY13" fmla="*/ 5811149 h 6614309"/>
              <a:gd name="connsiteX14" fmla="*/ 2705777 w 11943129"/>
              <a:gd name="connsiteY14" fmla="*/ 5684168 h 6614309"/>
              <a:gd name="connsiteX15" fmla="*/ 2705777 w 11943129"/>
              <a:gd name="connsiteY15" fmla="*/ 5334972 h 6614309"/>
              <a:gd name="connsiteX16" fmla="*/ 2578796 w 11943129"/>
              <a:gd name="connsiteY16" fmla="*/ 5207992 h 6614309"/>
              <a:gd name="connsiteX17" fmla="*/ 1426205 w 11943129"/>
              <a:gd name="connsiteY17" fmla="*/ 5207992 h 6614309"/>
              <a:gd name="connsiteX18" fmla="*/ 1299225 w 11943129"/>
              <a:gd name="connsiteY18" fmla="*/ 5081012 h 6614309"/>
              <a:gd name="connsiteX19" fmla="*/ 1299225 w 11943129"/>
              <a:gd name="connsiteY19" fmla="*/ 5030231 h 6614309"/>
              <a:gd name="connsiteX20" fmla="*/ 1426205 w 11943129"/>
              <a:gd name="connsiteY20" fmla="*/ 4903251 h 6614309"/>
              <a:gd name="connsiteX21" fmla="*/ 1489695 w 11943129"/>
              <a:gd name="connsiteY21" fmla="*/ 4903251 h 6614309"/>
              <a:gd name="connsiteX22" fmla="*/ 1616676 w 11943129"/>
              <a:gd name="connsiteY22" fmla="*/ 4776270 h 6614309"/>
              <a:gd name="connsiteX23" fmla="*/ 1616676 w 11943129"/>
              <a:gd name="connsiteY23" fmla="*/ 4725490 h 6614309"/>
              <a:gd name="connsiteX24" fmla="*/ 1489695 w 11943129"/>
              <a:gd name="connsiteY24" fmla="*/ 4598510 h 6614309"/>
              <a:gd name="connsiteX25" fmla="*/ 126980 w 11943129"/>
              <a:gd name="connsiteY25" fmla="*/ 4598510 h 6614309"/>
              <a:gd name="connsiteX26" fmla="*/ 0 w 11943129"/>
              <a:gd name="connsiteY26" fmla="*/ 4471529 h 6614309"/>
              <a:gd name="connsiteX27" fmla="*/ 0 w 11943129"/>
              <a:gd name="connsiteY27" fmla="*/ 758471 h 6614309"/>
              <a:gd name="connsiteX28" fmla="*/ 126980 w 11943129"/>
              <a:gd name="connsiteY28" fmla="*/ 631490 h 6614309"/>
              <a:gd name="connsiteX29" fmla="*/ 1476132 w 11943129"/>
              <a:gd name="connsiteY29" fmla="*/ 631490 h 6614309"/>
              <a:gd name="connsiteX30" fmla="*/ 1476162 w 11943129"/>
              <a:gd name="connsiteY30" fmla="*/ 631490 h 6614309"/>
              <a:gd name="connsiteX31" fmla="*/ 1603142 w 11943129"/>
              <a:gd name="connsiteY31" fmla="*/ 504510 h 6614309"/>
              <a:gd name="connsiteX32" fmla="*/ 1603142 w 11943129"/>
              <a:gd name="connsiteY32" fmla="*/ 137926 h 6614309"/>
              <a:gd name="connsiteX33" fmla="*/ 1729975 w 11943129"/>
              <a:gd name="connsiteY33" fmla="*/ 10946 h 661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943129" h="6614309">
                <a:moveTo>
                  <a:pt x="11816001" y="1"/>
                </a:moveTo>
                <a:cubicBezTo>
                  <a:pt x="11886200" y="-87"/>
                  <a:pt x="11943129" y="56813"/>
                  <a:pt x="11943129" y="126981"/>
                </a:cubicBezTo>
                <a:lnTo>
                  <a:pt x="11943129" y="6476354"/>
                </a:lnTo>
                <a:cubicBezTo>
                  <a:pt x="11943129" y="6546376"/>
                  <a:pt x="11886435" y="6603187"/>
                  <a:pt x="11816413" y="6603335"/>
                </a:cubicBezTo>
                <a:lnTo>
                  <a:pt x="6521102" y="6614309"/>
                </a:lnTo>
                <a:lnTo>
                  <a:pt x="4936760" y="6614309"/>
                </a:lnTo>
                <a:cubicBezTo>
                  <a:pt x="4866620" y="6614309"/>
                  <a:pt x="4809781" y="6557467"/>
                  <a:pt x="4809781" y="6487328"/>
                </a:cubicBezTo>
                <a:lnTo>
                  <a:pt x="4809781" y="6430193"/>
                </a:lnTo>
                <a:cubicBezTo>
                  <a:pt x="4809781" y="6360053"/>
                  <a:pt x="4752939" y="6303213"/>
                  <a:pt x="4682799" y="6303213"/>
                </a:cubicBezTo>
                <a:lnTo>
                  <a:pt x="3394431" y="6303213"/>
                </a:lnTo>
                <a:cubicBezTo>
                  <a:pt x="3324291" y="6303213"/>
                  <a:pt x="3267450" y="6246371"/>
                  <a:pt x="3267450" y="6176232"/>
                </a:cubicBezTo>
                <a:lnTo>
                  <a:pt x="3267450" y="5938129"/>
                </a:lnTo>
                <a:cubicBezTo>
                  <a:pt x="3267450" y="5867990"/>
                  <a:pt x="3210609" y="5811149"/>
                  <a:pt x="3140470" y="5811149"/>
                </a:cubicBezTo>
                <a:lnTo>
                  <a:pt x="2832757" y="5811149"/>
                </a:lnTo>
                <a:cubicBezTo>
                  <a:pt x="2762618" y="5811149"/>
                  <a:pt x="2705777" y="5754308"/>
                  <a:pt x="2705777" y="5684168"/>
                </a:cubicBezTo>
                <a:lnTo>
                  <a:pt x="2705777" y="5334972"/>
                </a:lnTo>
                <a:cubicBezTo>
                  <a:pt x="2705777" y="5264833"/>
                  <a:pt x="2648936" y="5207992"/>
                  <a:pt x="2578796" y="5207992"/>
                </a:cubicBezTo>
                <a:lnTo>
                  <a:pt x="1426205" y="5207992"/>
                </a:lnTo>
                <a:cubicBezTo>
                  <a:pt x="1356066" y="5207992"/>
                  <a:pt x="1299225" y="5151151"/>
                  <a:pt x="1299225" y="5081012"/>
                </a:cubicBezTo>
                <a:lnTo>
                  <a:pt x="1299225" y="5030231"/>
                </a:lnTo>
                <a:cubicBezTo>
                  <a:pt x="1299225" y="4960092"/>
                  <a:pt x="1356066" y="4903251"/>
                  <a:pt x="1426205" y="4903251"/>
                </a:cubicBezTo>
                <a:lnTo>
                  <a:pt x="1489695" y="4903251"/>
                </a:lnTo>
                <a:cubicBezTo>
                  <a:pt x="1559835" y="4903251"/>
                  <a:pt x="1616676" y="4846410"/>
                  <a:pt x="1616676" y="4776270"/>
                </a:cubicBezTo>
                <a:lnTo>
                  <a:pt x="1616676" y="4725490"/>
                </a:lnTo>
                <a:cubicBezTo>
                  <a:pt x="1616676" y="4655351"/>
                  <a:pt x="1559835" y="4598510"/>
                  <a:pt x="1489695" y="4598510"/>
                </a:cubicBezTo>
                <a:lnTo>
                  <a:pt x="126980" y="4598510"/>
                </a:lnTo>
                <a:cubicBezTo>
                  <a:pt x="56841" y="4598510"/>
                  <a:pt x="0" y="4541668"/>
                  <a:pt x="0" y="4471529"/>
                </a:cubicBezTo>
                <a:lnTo>
                  <a:pt x="0" y="758471"/>
                </a:lnTo>
                <a:cubicBezTo>
                  <a:pt x="0" y="688331"/>
                  <a:pt x="56841" y="631490"/>
                  <a:pt x="126980" y="631490"/>
                </a:cubicBezTo>
                <a:lnTo>
                  <a:pt x="1476132" y="631490"/>
                </a:lnTo>
                <a:lnTo>
                  <a:pt x="1476162" y="631490"/>
                </a:lnTo>
                <a:cubicBezTo>
                  <a:pt x="1546301" y="631490"/>
                  <a:pt x="1603142" y="574649"/>
                  <a:pt x="1603142" y="504510"/>
                </a:cubicBezTo>
                <a:lnTo>
                  <a:pt x="1603142" y="137926"/>
                </a:lnTo>
                <a:cubicBezTo>
                  <a:pt x="1603142" y="67846"/>
                  <a:pt x="1659924" y="11004"/>
                  <a:pt x="1729975" y="10946"/>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2" name="Tekst">
            <a:extLst>
              <a:ext uri="{FF2B5EF4-FFF2-40B4-BE49-F238E27FC236}">
                <a16:creationId xmlns:a16="http://schemas.microsoft.com/office/drawing/2014/main" id="{09927AC8-B93B-065A-0ED4-A82534B2968A}"/>
              </a:ext>
            </a:extLst>
          </p:cNvPr>
          <p:cNvPicPr>
            <a:picLocks noGrp="1" noRot="1" noChangeAspect="1" noMove="1" noResize="1" noEditPoints="1" noAdjustHandles="1" noChangeArrowheads="1" noChangeShapeType="1" noCrop="1"/>
          </p:cNvPicPr>
          <p:nvPr userDrawn="1"/>
        </p:nvPicPr>
        <p:blipFill rotWithShape="1">
          <a:blip r:embed="rId4"/>
          <a:srcRect l="6299" t="12753" r="6413" b="22872"/>
          <a:stretch/>
        </p:blipFill>
        <p:spPr>
          <a:xfrm>
            <a:off x="132080" y="5442126"/>
            <a:ext cx="3057809" cy="843680"/>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5099685"/>
            <a:ext cx="1061122" cy="183600"/>
          </a:xfrm>
          <a:prstGeom prst="roundRect">
            <a:avLst>
              <a:gd name="adj" fmla="val 50000"/>
            </a:avLst>
          </a:prstGeom>
          <a:solidFill>
            <a:schemeClr val="accent3"/>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a:t>
            </a:r>
            <a:endParaRPr lang="nl-NL" dirty="0"/>
          </a:p>
        </p:txBody>
      </p:sp>
      <p:sp>
        <p:nvSpPr>
          <p:cNvPr id="7" name="Tijdelijke aanduiding voor tekst 2">
            <a:extLst>
              <a:ext uri="{FF2B5EF4-FFF2-40B4-BE49-F238E27FC236}">
                <a16:creationId xmlns:a16="http://schemas.microsoft.com/office/drawing/2014/main" id="{3DCCD377-7664-1998-E9A3-CC1A4EDD004A}"/>
              </a:ext>
            </a:extLst>
          </p:cNvPr>
          <p:cNvSpPr>
            <a:spLocks noGrp="1"/>
          </p:cNvSpPr>
          <p:nvPr>
            <p:ph type="body" idx="12" hasCustomPrompt="1"/>
          </p:nvPr>
        </p:nvSpPr>
        <p:spPr>
          <a:xfrm>
            <a:off x="152998" y="4880642"/>
            <a:ext cx="1486800" cy="119135"/>
          </a:xfrm>
        </p:spPr>
        <p:txBody>
          <a:bodyPr anchor="t" anchorCtr="0">
            <a:spAutoFit/>
          </a:bodyPr>
          <a:lstStyle>
            <a:lvl1pPr marL="0" indent="0">
              <a:buNone/>
              <a:defRPr sz="75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199530671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nnovatieve, ambitieuze ondernemers ...">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12" name="Afbeeldingsplaceholder">
            <a:extLst>
              <a:ext uri="{FF2B5EF4-FFF2-40B4-BE49-F238E27FC236}">
                <a16:creationId xmlns:a16="http://schemas.microsoft.com/office/drawing/2014/main" id="{242B0549-178D-5698-029C-9ED9ABD856FF}"/>
              </a:ext>
            </a:extLst>
          </p:cNvPr>
          <p:cNvSpPr>
            <a:spLocks noGrp="1" noRot="1" noMove="1" noResize="1" noEditPoints="1" noAdjustHandles="1" noChangeArrowheads="1" noChangeShapeType="1"/>
          </p:cNvSpPr>
          <p:nvPr>
            <p:ph type="pic" sz="quarter" idx="11"/>
          </p:nvPr>
        </p:nvSpPr>
        <p:spPr>
          <a:xfrm>
            <a:off x="120448" y="116520"/>
            <a:ext cx="11943325" cy="6614407"/>
          </a:xfrm>
          <a:custGeom>
            <a:avLst/>
            <a:gdLst>
              <a:gd name="connsiteX0" fmla="*/ 11816203 w 11943325"/>
              <a:gd name="connsiteY0" fmla="*/ 1 h 6614407"/>
              <a:gd name="connsiteX1" fmla="*/ 11943325 w 11943325"/>
              <a:gd name="connsiteY1" fmla="*/ 126977 h 6614407"/>
              <a:gd name="connsiteX2" fmla="*/ 11943325 w 11943325"/>
              <a:gd name="connsiteY2" fmla="*/ 6476461 h 6614407"/>
              <a:gd name="connsiteX3" fmla="*/ 11816595 w 11943325"/>
              <a:gd name="connsiteY3" fmla="*/ 6603437 h 6614407"/>
              <a:gd name="connsiteX4" fmla="*/ 6521174 w 11943325"/>
              <a:gd name="connsiteY4" fmla="*/ 6614407 h 6614407"/>
              <a:gd name="connsiteX5" fmla="*/ 4939969 w 11943325"/>
              <a:gd name="connsiteY5" fmla="*/ 6614407 h 6614407"/>
              <a:gd name="connsiteX6" fmla="*/ 4812995 w 11943325"/>
              <a:gd name="connsiteY6" fmla="*/ 6487431 h 6614407"/>
              <a:gd name="connsiteX7" fmla="*/ 4812995 w 11943325"/>
              <a:gd name="connsiteY7" fmla="*/ 6430275 h 6614407"/>
              <a:gd name="connsiteX8" fmla="*/ 4939969 w 11943325"/>
              <a:gd name="connsiteY8" fmla="*/ 6303300 h 6614407"/>
              <a:gd name="connsiteX9" fmla="*/ 5368555 w 11943325"/>
              <a:gd name="connsiteY9" fmla="*/ 6303300 h 6614407"/>
              <a:gd name="connsiteX10" fmla="*/ 5495529 w 11943325"/>
              <a:gd name="connsiteY10" fmla="*/ 6176324 h 6614407"/>
              <a:gd name="connsiteX11" fmla="*/ 5495529 w 11943325"/>
              <a:gd name="connsiteY11" fmla="*/ 6001715 h 6614407"/>
              <a:gd name="connsiteX12" fmla="*/ 5622505 w 11943325"/>
              <a:gd name="connsiteY12" fmla="*/ 5874739 h 6614407"/>
              <a:gd name="connsiteX13" fmla="*/ 6330662 w 11943325"/>
              <a:gd name="connsiteY13" fmla="*/ 5874739 h 6614407"/>
              <a:gd name="connsiteX14" fmla="*/ 6457637 w 11943325"/>
              <a:gd name="connsiteY14" fmla="*/ 5747764 h 6614407"/>
              <a:gd name="connsiteX15" fmla="*/ 6457637 w 11943325"/>
              <a:gd name="connsiteY15" fmla="*/ 5398544 h 6614407"/>
              <a:gd name="connsiteX16" fmla="*/ 6330662 w 11943325"/>
              <a:gd name="connsiteY16" fmla="*/ 5271569 h 6614407"/>
              <a:gd name="connsiteX17" fmla="*/ 5139955 w 11943325"/>
              <a:gd name="connsiteY17" fmla="*/ 5271569 h 6614407"/>
              <a:gd name="connsiteX18" fmla="*/ 5012979 w 11943325"/>
              <a:gd name="connsiteY18" fmla="*/ 5144594 h 6614407"/>
              <a:gd name="connsiteX19" fmla="*/ 5012979 w 11943325"/>
              <a:gd name="connsiteY19" fmla="*/ 4858862 h 6614407"/>
              <a:gd name="connsiteX20" fmla="*/ 5139955 w 11943325"/>
              <a:gd name="connsiteY20" fmla="*/ 4731886 h 6614407"/>
              <a:gd name="connsiteX21" fmla="*/ 5171416 w 11943325"/>
              <a:gd name="connsiteY21" fmla="*/ 4731886 h 6614407"/>
              <a:gd name="connsiteX22" fmla="*/ 5298392 w 11943325"/>
              <a:gd name="connsiteY22" fmla="*/ 4604911 h 6614407"/>
              <a:gd name="connsiteX23" fmla="*/ 5298392 w 11943325"/>
              <a:gd name="connsiteY23" fmla="*/ 4314296 h 6614407"/>
              <a:gd name="connsiteX24" fmla="*/ 5171465 w 11943325"/>
              <a:gd name="connsiteY24" fmla="*/ 4187320 h 6614407"/>
              <a:gd name="connsiteX25" fmla="*/ 1743520 w 11943325"/>
              <a:gd name="connsiteY25" fmla="*/ 4185921 h 6614407"/>
              <a:gd name="connsiteX26" fmla="*/ 1616593 w 11943325"/>
              <a:gd name="connsiteY26" fmla="*/ 4058946 h 6614407"/>
              <a:gd name="connsiteX27" fmla="*/ 1616593 w 11943325"/>
              <a:gd name="connsiteY27" fmla="*/ 3877931 h 6614407"/>
              <a:gd name="connsiteX28" fmla="*/ 1489618 w 11943325"/>
              <a:gd name="connsiteY28" fmla="*/ 3750956 h 6614407"/>
              <a:gd name="connsiteX29" fmla="*/ 126975 w 11943325"/>
              <a:gd name="connsiteY29" fmla="*/ 3750956 h 6614407"/>
              <a:gd name="connsiteX30" fmla="*/ 0 w 11943325"/>
              <a:gd name="connsiteY30" fmla="*/ 3623980 h 6614407"/>
              <a:gd name="connsiteX31" fmla="*/ 0 w 11943325"/>
              <a:gd name="connsiteY31" fmla="*/ 758492 h 6614407"/>
              <a:gd name="connsiteX32" fmla="*/ 126975 w 11943325"/>
              <a:gd name="connsiteY32" fmla="*/ 631516 h 6614407"/>
              <a:gd name="connsiteX33" fmla="*/ 1476145 w 11943325"/>
              <a:gd name="connsiteY33" fmla="*/ 631516 h 6614407"/>
              <a:gd name="connsiteX34" fmla="*/ 1603120 w 11943325"/>
              <a:gd name="connsiteY34" fmla="*/ 504541 h 6614407"/>
              <a:gd name="connsiteX35" fmla="*/ 1603120 w 11943325"/>
              <a:gd name="connsiteY35" fmla="*/ 137922 h 6614407"/>
              <a:gd name="connsiteX36" fmla="*/ 1729973 w 11943325"/>
              <a:gd name="connsiteY36" fmla="*/ 10946 h 661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943325" h="6614407">
                <a:moveTo>
                  <a:pt x="11816203" y="1"/>
                </a:moveTo>
                <a:cubicBezTo>
                  <a:pt x="11886390" y="-73"/>
                  <a:pt x="11943325" y="56789"/>
                  <a:pt x="11943325" y="126977"/>
                </a:cubicBezTo>
                <a:lnTo>
                  <a:pt x="11943325" y="6476461"/>
                </a:lnTo>
                <a:cubicBezTo>
                  <a:pt x="11943325" y="6546502"/>
                  <a:pt x="11886635" y="6603314"/>
                  <a:pt x="11816595" y="6603437"/>
                </a:cubicBezTo>
                <a:lnTo>
                  <a:pt x="6521174" y="6614407"/>
                </a:lnTo>
                <a:lnTo>
                  <a:pt x="4939969" y="6614407"/>
                </a:lnTo>
                <a:cubicBezTo>
                  <a:pt x="4869831" y="6614407"/>
                  <a:pt x="4812995" y="6557545"/>
                  <a:pt x="4812995" y="6487431"/>
                </a:cubicBezTo>
                <a:lnTo>
                  <a:pt x="4812995" y="6430275"/>
                </a:lnTo>
                <a:cubicBezTo>
                  <a:pt x="4812995" y="6360137"/>
                  <a:pt x="4869855" y="6303300"/>
                  <a:pt x="4939969" y="6303300"/>
                </a:cubicBezTo>
                <a:lnTo>
                  <a:pt x="5368555" y="6303300"/>
                </a:lnTo>
                <a:cubicBezTo>
                  <a:pt x="5438692" y="6303300"/>
                  <a:pt x="5495529" y="6246438"/>
                  <a:pt x="5495529" y="6176324"/>
                </a:cubicBezTo>
                <a:lnTo>
                  <a:pt x="5495529" y="6001715"/>
                </a:lnTo>
                <a:cubicBezTo>
                  <a:pt x="5495529" y="5931576"/>
                  <a:pt x="5552392" y="5874739"/>
                  <a:pt x="5622505" y="5874739"/>
                </a:cubicBezTo>
                <a:lnTo>
                  <a:pt x="6330662" y="5874739"/>
                </a:lnTo>
                <a:cubicBezTo>
                  <a:pt x="6400800" y="5874739"/>
                  <a:pt x="6457637" y="5817877"/>
                  <a:pt x="6457637" y="5747764"/>
                </a:cubicBezTo>
                <a:lnTo>
                  <a:pt x="6457637" y="5398544"/>
                </a:lnTo>
                <a:cubicBezTo>
                  <a:pt x="6457637" y="5328406"/>
                  <a:pt x="6400776" y="5271569"/>
                  <a:pt x="6330662" y="5271569"/>
                </a:cubicBezTo>
                <a:lnTo>
                  <a:pt x="5139955" y="5271569"/>
                </a:lnTo>
                <a:cubicBezTo>
                  <a:pt x="5069816" y="5271569"/>
                  <a:pt x="5012979" y="5214708"/>
                  <a:pt x="5012979" y="5144594"/>
                </a:cubicBezTo>
                <a:lnTo>
                  <a:pt x="5012979" y="4858862"/>
                </a:lnTo>
                <a:cubicBezTo>
                  <a:pt x="5012979" y="4788724"/>
                  <a:pt x="5069841" y="4731886"/>
                  <a:pt x="5139955" y="4731886"/>
                </a:cubicBezTo>
                <a:lnTo>
                  <a:pt x="5171416" y="4731886"/>
                </a:lnTo>
                <a:cubicBezTo>
                  <a:pt x="5241555" y="4731886"/>
                  <a:pt x="5298392" y="4675025"/>
                  <a:pt x="5298392" y="4604911"/>
                </a:cubicBezTo>
                <a:lnTo>
                  <a:pt x="5298392" y="4314296"/>
                </a:lnTo>
                <a:cubicBezTo>
                  <a:pt x="5298392" y="4244182"/>
                  <a:pt x="5241578" y="4187345"/>
                  <a:pt x="5171465" y="4187320"/>
                </a:cubicBezTo>
                <a:lnTo>
                  <a:pt x="1743520" y="4185921"/>
                </a:lnTo>
                <a:cubicBezTo>
                  <a:pt x="1673406" y="4185897"/>
                  <a:pt x="1616593" y="4129035"/>
                  <a:pt x="1616593" y="4058946"/>
                </a:cubicBezTo>
                <a:lnTo>
                  <a:pt x="1616593" y="3877931"/>
                </a:lnTo>
                <a:cubicBezTo>
                  <a:pt x="1616593" y="3807792"/>
                  <a:pt x="1559732" y="3750956"/>
                  <a:pt x="1489618" y="3750956"/>
                </a:cubicBezTo>
                <a:lnTo>
                  <a:pt x="126975" y="3750956"/>
                </a:lnTo>
                <a:cubicBezTo>
                  <a:pt x="56837" y="3750956"/>
                  <a:pt x="0" y="3694094"/>
                  <a:pt x="0" y="3623980"/>
                </a:cubicBezTo>
                <a:lnTo>
                  <a:pt x="0" y="758492"/>
                </a:lnTo>
                <a:cubicBezTo>
                  <a:pt x="0" y="688353"/>
                  <a:pt x="56862" y="631516"/>
                  <a:pt x="126975" y="631516"/>
                </a:cubicBezTo>
                <a:lnTo>
                  <a:pt x="1476145" y="631516"/>
                </a:lnTo>
                <a:cubicBezTo>
                  <a:pt x="1546283" y="631516"/>
                  <a:pt x="1603120" y="574655"/>
                  <a:pt x="1603120" y="504541"/>
                </a:cubicBezTo>
                <a:lnTo>
                  <a:pt x="1603120" y="137922"/>
                </a:lnTo>
                <a:cubicBezTo>
                  <a:pt x="1603120" y="67833"/>
                  <a:pt x="1659884" y="11020"/>
                  <a:pt x="1729973" y="10946"/>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13" name="Tekst">
            <a:extLst>
              <a:ext uri="{FF2B5EF4-FFF2-40B4-BE49-F238E27FC236}">
                <a16:creationId xmlns:a16="http://schemas.microsoft.com/office/drawing/2014/main" id="{4BCE8CA7-D6C4-5E14-3DA7-7C2D144373BF}"/>
              </a:ext>
            </a:extLst>
          </p:cNvPr>
          <p:cNvPicPr>
            <a:picLocks noGrp="1" noRot="1" noChangeAspect="1" noMove="1" noResize="1" noEditPoints="1" noAdjustHandles="1" noChangeArrowheads="1" noChangeShapeType="1" noCrop="1"/>
          </p:cNvPicPr>
          <p:nvPr userDrawn="1"/>
        </p:nvPicPr>
        <p:blipFill rotWithShape="1">
          <a:blip r:embed="rId4"/>
          <a:srcRect l="2833" t="5681" r="3917" b="11962"/>
          <a:stretch/>
        </p:blipFill>
        <p:spPr>
          <a:xfrm>
            <a:off x="124519" y="4375674"/>
            <a:ext cx="6346123" cy="1933907"/>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8" y="4006215"/>
            <a:ext cx="148911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Datum | PLAATS</a:t>
            </a:r>
            <a:endParaRPr lang="nl-NL" dirty="0"/>
          </a:p>
        </p:txBody>
      </p:sp>
    </p:spTree>
    <p:extLst>
      <p:ext uri="{BB962C8B-B14F-4D97-AF65-F5344CB8AC3E}">
        <p14:creationId xmlns:p14="http://schemas.microsoft.com/office/powerpoint/2010/main" val="45732991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Werken aan de gezonde mens">
    <p:spTree>
      <p:nvGrpSpPr>
        <p:cNvPr id="1" name=""/>
        <p:cNvGrpSpPr/>
        <p:nvPr/>
      </p:nvGrpSpPr>
      <p:grpSpPr>
        <a:xfrm>
          <a:off x="0" y="0"/>
          <a:ext cx="0" cy="0"/>
          <a:chOff x="0" y="0"/>
          <a:chExt cx="0" cy="0"/>
        </a:xfrm>
      </p:grpSpPr>
      <p:sp>
        <p:nvSpPr>
          <p:cNvPr id="36" name="Vrije vorm: vorm 35">
            <a:extLst>
              <a:ext uri="{FF2B5EF4-FFF2-40B4-BE49-F238E27FC236}">
                <a16:creationId xmlns:a16="http://schemas.microsoft.com/office/drawing/2014/main" id="{CD8127C3-9253-CA4D-E033-FB4470C4F3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7" name="Logo">
            <a:extLst>
              <a:ext uri="{FF2B5EF4-FFF2-40B4-BE49-F238E27FC236}">
                <a16:creationId xmlns:a16="http://schemas.microsoft.com/office/drawing/2014/main" id="{EE276A19-7474-6DE5-9074-896DF52964AD}"/>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13" name="Afbeeldingsplaceholder">
            <a:extLst>
              <a:ext uri="{FF2B5EF4-FFF2-40B4-BE49-F238E27FC236}">
                <a16:creationId xmlns:a16="http://schemas.microsoft.com/office/drawing/2014/main" id="{4B8AD32B-DBA5-7F9F-A60E-16ECD9173D0A}"/>
              </a:ext>
            </a:extLst>
          </p:cNvPr>
          <p:cNvSpPr>
            <a:spLocks noGrp="1" noRot="1" noMove="1" noResize="1" noEditPoints="1" noAdjustHandles="1" noChangeArrowheads="1" noChangeShapeType="1"/>
          </p:cNvSpPr>
          <p:nvPr>
            <p:ph type="pic" sz="quarter" idx="11"/>
          </p:nvPr>
        </p:nvSpPr>
        <p:spPr>
          <a:xfrm>
            <a:off x="120411" y="116856"/>
            <a:ext cx="11943319" cy="6614396"/>
          </a:xfrm>
          <a:custGeom>
            <a:avLst/>
            <a:gdLst>
              <a:gd name="connsiteX0" fmla="*/ 11816192 w 11943319"/>
              <a:gd name="connsiteY0" fmla="*/ 1 h 6614396"/>
              <a:gd name="connsiteX1" fmla="*/ 11943319 w 11943319"/>
              <a:gd name="connsiteY1" fmla="*/ 126997 h 6614396"/>
              <a:gd name="connsiteX2" fmla="*/ 11943319 w 11943319"/>
              <a:gd name="connsiteY2" fmla="*/ 6476442 h 6614396"/>
              <a:gd name="connsiteX3" fmla="*/ 11816583 w 11943319"/>
              <a:gd name="connsiteY3" fmla="*/ 6603437 h 6614396"/>
              <a:gd name="connsiteX4" fmla="*/ 6521211 w 11943319"/>
              <a:gd name="connsiteY4" fmla="*/ 6614396 h 6614396"/>
              <a:gd name="connsiteX5" fmla="*/ 4936850 w 11943319"/>
              <a:gd name="connsiteY5" fmla="*/ 6614396 h 6614396"/>
              <a:gd name="connsiteX6" fmla="*/ 4809855 w 11943319"/>
              <a:gd name="connsiteY6" fmla="*/ 6487400 h 6614396"/>
              <a:gd name="connsiteX7" fmla="*/ 4809855 w 11943319"/>
              <a:gd name="connsiteY7" fmla="*/ 6430266 h 6614396"/>
              <a:gd name="connsiteX8" fmla="*/ 4682858 w 11943319"/>
              <a:gd name="connsiteY8" fmla="*/ 6303270 h 6614396"/>
              <a:gd name="connsiteX9" fmla="*/ 3711923 w 11943319"/>
              <a:gd name="connsiteY9" fmla="*/ 6303270 h 6614396"/>
              <a:gd name="connsiteX10" fmla="*/ 3584927 w 11943319"/>
              <a:gd name="connsiteY10" fmla="*/ 6176275 h 6614396"/>
              <a:gd name="connsiteX11" fmla="*/ 3584927 w 11943319"/>
              <a:gd name="connsiteY11" fmla="*/ 5938187 h 6614396"/>
              <a:gd name="connsiteX12" fmla="*/ 3457931 w 11943319"/>
              <a:gd name="connsiteY12" fmla="*/ 5811192 h 6614396"/>
              <a:gd name="connsiteX13" fmla="*/ 2705744 w 11943319"/>
              <a:gd name="connsiteY13" fmla="*/ 5811192 h 6614396"/>
              <a:gd name="connsiteX14" fmla="*/ 2578749 w 11943319"/>
              <a:gd name="connsiteY14" fmla="*/ 5684196 h 6614396"/>
              <a:gd name="connsiteX15" fmla="*/ 2578749 w 11943319"/>
              <a:gd name="connsiteY15" fmla="*/ 5334990 h 6614396"/>
              <a:gd name="connsiteX16" fmla="*/ 2451753 w 11943319"/>
              <a:gd name="connsiteY16" fmla="*/ 5207995 h 6614396"/>
              <a:gd name="connsiteX17" fmla="*/ 1807092 w 11943319"/>
              <a:gd name="connsiteY17" fmla="*/ 5207995 h 6614396"/>
              <a:gd name="connsiteX18" fmla="*/ 1680096 w 11943319"/>
              <a:gd name="connsiteY18" fmla="*/ 5080999 h 6614396"/>
              <a:gd name="connsiteX19" fmla="*/ 1680096 w 11943319"/>
              <a:gd name="connsiteY19" fmla="*/ 4934976 h 6614396"/>
              <a:gd name="connsiteX20" fmla="*/ 1648341 w 11943319"/>
              <a:gd name="connsiteY20" fmla="*/ 4903221 h 6614396"/>
              <a:gd name="connsiteX21" fmla="*/ 1616585 w 11943319"/>
              <a:gd name="connsiteY21" fmla="*/ 4871465 h 6614396"/>
              <a:gd name="connsiteX22" fmla="*/ 1616585 w 11943319"/>
              <a:gd name="connsiteY22" fmla="*/ 4725443 h 6614396"/>
              <a:gd name="connsiteX23" fmla="*/ 1489590 w 11943319"/>
              <a:gd name="connsiteY23" fmla="*/ 4598447 h 6614396"/>
              <a:gd name="connsiteX24" fmla="*/ 126996 w 11943319"/>
              <a:gd name="connsiteY24" fmla="*/ 4598447 h 6614396"/>
              <a:gd name="connsiteX25" fmla="*/ 0 w 11943319"/>
              <a:gd name="connsiteY25" fmla="*/ 4471451 h 6614396"/>
              <a:gd name="connsiteX26" fmla="*/ 0 w 11943319"/>
              <a:gd name="connsiteY26" fmla="*/ 758513 h 6614396"/>
              <a:gd name="connsiteX27" fmla="*/ 126996 w 11943319"/>
              <a:gd name="connsiteY27" fmla="*/ 631518 h 6614396"/>
              <a:gd name="connsiteX28" fmla="*/ 1476185 w 11943319"/>
              <a:gd name="connsiteY28" fmla="*/ 631518 h 6614396"/>
              <a:gd name="connsiteX29" fmla="*/ 1603180 w 11943319"/>
              <a:gd name="connsiteY29" fmla="*/ 504522 h 6614396"/>
              <a:gd name="connsiteX30" fmla="*/ 1603180 w 11943319"/>
              <a:gd name="connsiteY30" fmla="*/ 137955 h 6614396"/>
              <a:gd name="connsiteX31" fmla="*/ 1730020 w 11943319"/>
              <a:gd name="connsiteY31" fmla="*/ 10959 h 661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943319" h="6614396">
                <a:moveTo>
                  <a:pt x="11816192" y="1"/>
                </a:moveTo>
                <a:cubicBezTo>
                  <a:pt x="11886367" y="-77"/>
                  <a:pt x="11943319" y="56796"/>
                  <a:pt x="11943319" y="126997"/>
                </a:cubicBezTo>
                <a:lnTo>
                  <a:pt x="11943319" y="6476442"/>
                </a:lnTo>
                <a:cubicBezTo>
                  <a:pt x="11943319" y="6546460"/>
                  <a:pt x="11886627" y="6603281"/>
                  <a:pt x="11816583" y="6603437"/>
                </a:cubicBezTo>
                <a:lnTo>
                  <a:pt x="6521211" y="6614396"/>
                </a:lnTo>
                <a:lnTo>
                  <a:pt x="4936850" y="6614396"/>
                </a:lnTo>
                <a:cubicBezTo>
                  <a:pt x="4866727" y="6614396"/>
                  <a:pt x="4809855" y="6557549"/>
                  <a:pt x="4809855" y="6487400"/>
                </a:cubicBezTo>
                <a:lnTo>
                  <a:pt x="4809855" y="6430266"/>
                </a:lnTo>
                <a:cubicBezTo>
                  <a:pt x="4809855" y="6360144"/>
                  <a:pt x="4753007" y="6303270"/>
                  <a:pt x="4682858" y="6303270"/>
                </a:cubicBezTo>
                <a:lnTo>
                  <a:pt x="3711923" y="6303270"/>
                </a:lnTo>
                <a:cubicBezTo>
                  <a:pt x="3641801" y="6303270"/>
                  <a:pt x="3584927" y="6246423"/>
                  <a:pt x="3584927" y="6176275"/>
                </a:cubicBezTo>
                <a:lnTo>
                  <a:pt x="3584927" y="5938187"/>
                </a:lnTo>
                <a:cubicBezTo>
                  <a:pt x="3584927" y="5868065"/>
                  <a:pt x="3528080" y="5811192"/>
                  <a:pt x="3457931" y="5811192"/>
                </a:cubicBezTo>
                <a:lnTo>
                  <a:pt x="2705744" y="5811192"/>
                </a:lnTo>
                <a:cubicBezTo>
                  <a:pt x="2635622" y="5811192"/>
                  <a:pt x="2578749" y="5754344"/>
                  <a:pt x="2578749" y="5684196"/>
                </a:cubicBezTo>
                <a:lnTo>
                  <a:pt x="2578749" y="5334990"/>
                </a:lnTo>
                <a:cubicBezTo>
                  <a:pt x="2578749" y="5264868"/>
                  <a:pt x="2521901" y="5207995"/>
                  <a:pt x="2451753" y="5207995"/>
                </a:cubicBezTo>
                <a:lnTo>
                  <a:pt x="1807092" y="5207995"/>
                </a:lnTo>
                <a:cubicBezTo>
                  <a:pt x="1736970" y="5207995"/>
                  <a:pt x="1680096" y="5151148"/>
                  <a:pt x="1680096" y="5080999"/>
                </a:cubicBezTo>
                <a:lnTo>
                  <a:pt x="1680096" y="4934976"/>
                </a:lnTo>
                <a:cubicBezTo>
                  <a:pt x="1680096" y="4917433"/>
                  <a:pt x="1665884" y="4903221"/>
                  <a:pt x="1648341" y="4903221"/>
                </a:cubicBezTo>
                <a:cubicBezTo>
                  <a:pt x="1630797" y="4903221"/>
                  <a:pt x="1616585" y="4889009"/>
                  <a:pt x="1616585" y="4871465"/>
                </a:cubicBezTo>
                <a:lnTo>
                  <a:pt x="1616585" y="4725443"/>
                </a:lnTo>
                <a:cubicBezTo>
                  <a:pt x="1616585" y="4655320"/>
                  <a:pt x="1559738" y="4598447"/>
                  <a:pt x="1489590" y="4598447"/>
                </a:cubicBezTo>
                <a:lnTo>
                  <a:pt x="126996" y="4598447"/>
                </a:lnTo>
                <a:cubicBezTo>
                  <a:pt x="56873" y="4598447"/>
                  <a:pt x="0" y="4541599"/>
                  <a:pt x="0" y="4471451"/>
                </a:cubicBezTo>
                <a:lnTo>
                  <a:pt x="0" y="758513"/>
                </a:lnTo>
                <a:cubicBezTo>
                  <a:pt x="0" y="688391"/>
                  <a:pt x="56847" y="631518"/>
                  <a:pt x="126996" y="631518"/>
                </a:cubicBezTo>
                <a:lnTo>
                  <a:pt x="1476185" y="631518"/>
                </a:lnTo>
                <a:cubicBezTo>
                  <a:pt x="1546307" y="631518"/>
                  <a:pt x="1603180" y="574670"/>
                  <a:pt x="1603180" y="504522"/>
                </a:cubicBezTo>
                <a:lnTo>
                  <a:pt x="1603180" y="137955"/>
                </a:lnTo>
                <a:cubicBezTo>
                  <a:pt x="1603180" y="67885"/>
                  <a:pt x="1659950" y="11037"/>
                  <a:pt x="1730020" y="10959"/>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2" name="Tekst">
            <a:extLst>
              <a:ext uri="{FF2B5EF4-FFF2-40B4-BE49-F238E27FC236}">
                <a16:creationId xmlns:a16="http://schemas.microsoft.com/office/drawing/2014/main" id="{938190E1-593B-955D-6A2D-91EF93F243C3}"/>
              </a:ext>
            </a:extLst>
          </p:cNvPr>
          <p:cNvPicPr>
            <a:picLocks noGrp="1" noRot="1" noChangeAspect="1" noMove="1" noResize="1" noEditPoints="1" noAdjustHandles="1" noChangeArrowheads="1" noChangeShapeType="1" noCrop="1"/>
          </p:cNvPicPr>
          <p:nvPr userDrawn="1"/>
        </p:nvPicPr>
        <p:blipFill rotWithShape="1">
          <a:blip r:embed="rId4"/>
          <a:srcRect l="4902" t="14256" r="5570" b="17448"/>
          <a:stretch/>
        </p:blipFill>
        <p:spPr>
          <a:xfrm>
            <a:off x="118909" y="5463361"/>
            <a:ext cx="3443242" cy="895067"/>
          </a:xfrm>
          <a:prstGeom prst="rect">
            <a:avLst/>
          </a:prstGeom>
        </p:spPr>
      </p:pic>
      <p:sp>
        <p:nvSpPr>
          <p:cNvPr id="3" name="Ondertitel 2">
            <a:extLst>
              <a:ext uri="{FF2B5EF4-FFF2-40B4-BE49-F238E27FC236}">
                <a16:creationId xmlns:a16="http://schemas.microsoft.com/office/drawing/2014/main" id="{8F23442A-B1AC-F6A6-15D5-4FD005BE3CE5}"/>
              </a:ext>
            </a:extLst>
          </p:cNvPr>
          <p:cNvSpPr>
            <a:spLocks noGrp="1"/>
          </p:cNvSpPr>
          <p:nvPr>
            <p:ph type="subTitle" idx="1" hasCustomPrompt="1"/>
          </p:nvPr>
        </p:nvSpPr>
        <p:spPr>
          <a:xfrm>
            <a:off x="152998" y="6483032"/>
            <a:ext cx="4511966"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9" name="Tijdelijke aanduiding voor tekst 2">
            <a:extLst>
              <a:ext uri="{FF2B5EF4-FFF2-40B4-BE49-F238E27FC236}">
                <a16:creationId xmlns:a16="http://schemas.microsoft.com/office/drawing/2014/main" id="{BE1D131F-9F63-71D0-40B2-515131BA5472}"/>
              </a:ext>
            </a:extLst>
          </p:cNvPr>
          <p:cNvSpPr>
            <a:spLocks noGrp="1"/>
          </p:cNvSpPr>
          <p:nvPr>
            <p:ph type="body" idx="10" hasCustomPrompt="1"/>
          </p:nvPr>
        </p:nvSpPr>
        <p:spPr>
          <a:xfrm>
            <a:off x="152997" y="5099685"/>
            <a:ext cx="1555787" cy="183600"/>
          </a:xfrm>
          <a:prstGeom prst="roundRect">
            <a:avLst>
              <a:gd name="adj" fmla="val 50000"/>
            </a:avLst>
          </a:prstGeom>
          <a:solidFill>
            <a:schemeClr val="accent4"/>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a:t>
            </a:r>
            <a:endParaRPr lang="nl-NL" dirty="0"/>
          </a:p>
        </p:txBody>
      </p:sp>
      <p:sp>
        <p:nvSpPr>
          <p:cNvPr id="7" name="Tijdelijke aanduiding voor tekst 2">
            <a:extLst>
              <a:ext uri="{FF2B5EF4-FFF2-40B4-BE49-F238E27FC236}">
                <a16:creationId xmlns:a16="http://schemas.microsoft.com/office/drawing/2014/main" id="{3DCCD377-7664-1998-E9A3-CC1A4EDD004A}"/>
              </a:ext>
            </a:extLst>
          </p:cNvPr>
          <p:cNvSpPr>
            <a:spLocks noGrp="1"/>
          </p:cNvSpPr>
          <p:nvPr>
            <p:ph type="body" idx="12" hasCustomPrompt="1"/>
          </p:nvPr>
        </p:nvSpPr>
        <p:spPr>
          <a:xfrm>
            <a:off x="152998" y="4880642"/>
            <a:ext cx="1486800" cy="119135"/>
          </a:xfrm>
        </p:spPr>
        <p:txBody>
          <a:bodyPr anchor="t" anchorCtr="0">
            <a:spAutoFit/>
          </a:bodyPr>
          <a:lstStyle>
            <a:lvl1pPr marL="0" indent="0">
              <a:buNone/>
              <a:defRPr sz="75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Tree>
    <p:extLst>
      <p:ext uri="{BB962C8B-B14F-4D97-AF65-F5344CB8AC3E}">
        <p14:creationId xmlns:p14="http://schemas.microsoft.com/office/powerpoint/2010/main" val="241479548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rie i's">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9344806E-44BD-C80A-A0B3-DCD936446204}"/>
              </a:ext>
            </a:extLst>
          </p:cNvPr>
          <p:cNvSpPr>
            <a:spLocks noGrp="1" noRot="1" noMove="1" noResize="1" noEditPoints="1" noAdjustHandles="1" noChangeArrowheads="1" noChangeShapeType="1"/>
          </p:cNvSpPr>
          <p:nvPr userDrawn="1"/>
        </p:nvSpPr>
        <p:spPr>
          <a:xfrm flipH="1">
            <a:off x="63977" y="63500"/>
            <a:ext cx="12064045" cy="6731000"/>
          </a:xfrm>
          <a:custGeom>
            <a:avLst/>
            <a:gdLst>
              <a:gd name="connsiteX0" fmla="*/ 11937045 w 12064045"/>
              <a:gd name="connsiteY0" fmla="*/ 0 h 6731000"/>
              <a:gd name="connsiteX1" fmla="*/ 6242685 w 12064045"/>
              <a:gd name="connsiteY1" fmla="*/ 0 h 6731000"/>
              <a:gd name="connsiteX2" fmla="*/ 6242685 w 12064045"/>
              <a:gd name="connsiteY2" fmla="*/ 391 h 6731000"/>
              <a:gd name="connsiteX3" fmla="*/ 1787191 w 12064045"/>
              <a:gd name="connsiteY3" fmla="*/ 391 h 6731000"/>
              <a:gd name="connsiteX4" fmla="*/ 1660206 w 12064045"/>
              <a:gd name="connsiteY4" fmla="*/ 127376 h 6731000"/>
              <a:gd name="connsiteX5" fmla="*/ 1660206 w 12064045"/>
              <a:gd name="connsiteY5" fmla="*/ 552777 h 6731000"/>
              <a:gd name="connsiteX6" fmla="*/ 1533220 w 12064045"/>
              <a:gd name="connsiteY6" fmla="*/ 679762 h 6731000"/>
              <a:gd name="connsiteX7" fmla="*/ 126985 w 12064045"/>
              <a:gd name="connsiteY7" fmla="*/ 679762 h 6731000"/>
              <a:gd name="connsiteX8" fmla="*/ 0 w 12064045"/>
              <a:gd name="connsiteY8" fmla="*/ 806874 h 6731000"/>
              <a:gd name="connsiteX9" fmla="*/ 6095 w 12064045"/>
              <a:gd name="connsiteY9" fmla="*/ 6603752 h 6731000"/>
              <a:gd name="connsiteX10" fmla="*/ 133081 w 12064045"/>
              <a:gd name="connsiteY10" fmla="*/ 6730610 h 6731000"/>
              <a:gd name="connsiteX11" fmla="*/ 6242685 w 12064045"/>
              <a:gd name="connsiteY11" fmla="*/ 6730610 h 6731000"/>
              <a:gd name="connsiteX12" fmla="*/ 6242685 w 12064045"/>
              <a:gd name="connsiteY12" fmla="*/ 6731000 h 6731000"/>
              <a:gd name="connsiteX13" fmla="*/ 11930949 w 12064045"/>
              <a:gd name="connsiteY13" fmla="*/ 6731000 h 6731000"/>
              <a:gd name="connsiteX14" fmla="*/ 11937045 w 12064045"/>
              <a:gd name="connsiteY14" fmla="*/ 6731000 h 6731000"/>
              <a:gd name="connsiteX15" fmla="*/ 12064045 w 12064045"/>
              <a:gd name="connsiteY15" fmla="*/ 6604000 h 6731000"/>
              <a:gd name="connsiteX16" fmla="*/ 12064045 w 12064045"/>
              <a:gd name="connsiteY16" fmla="*/ 127000 h 6731000"/>
              <a:gd name="connsiteX17" fmla="*/ 11937045 w 12064045"/>
              <a:gd name="connsiteY17"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64045" h="6731000">
                <a:moveTo>
                  <a:pt x="11937045" y="0"/>
                </a:moveTo>
                <a:lnTo>
                  <a:pt x="6242685" y="0"/>
                </a:lnTo>
                <a:lnTo>
                  <a:pt x="6242685" y="391"/>
                </a:lnTo>
                <a:lnTo>
                  <a:pt x="1787191" y="391"/>
                </a:lnTo>
                <a:cubicBezTo>
                  <a:pt x="1717031" y="391"/>
                  <a:pt x="1660206" y="57217"/>
                  <a:pt x="1660206" y="127376"/>
                </a:cubicBezTo>
                <a:lnTo>
                  <a:pt x="1660206" y="552777"/>
                </a:lnTo>
                <a:cubicBezTo>
                  <a:pt x="1660206" y="622936"/>
                  <a:pt x="1603380" y="679762"/>
                  <a:pt x="1533220" y="679762"/>
                </a:cubicBezTo>
                <a:lnTo>
                  <a:pt x="126985" y="679762"/>
                </a:lnTo>
                <a:cubicBezTo>
                  <a:pt x="56826" y="679762"/>
                  <a:pt x="-63" y="736715"/>
                  <a:pt x="0" y="806874"/>
                </a:cubicBezTo>
                <a:cubicBezTo>
                  <a:pt x="2032" y="2739167"/>
                  <a:pt x="4063" y="4671459"/>
                  <a:pt x="6095" y="6603752"/>
                </a:cubicBezTo>
                <a:cubicBezTo>
                  <a:pt x="6159" y="6673848"/>
                  <a:pt x="62985" y="6730610"/>
                  <a:pt x="133081" y="6730610"/>
                </a:cubicBezTo>
                <a:lnTo>
                  <a:pt x="6242685" y="6730610"/>
                </a:lnTo>
                <a:lnTo>
                  <a:pt x="6242685" y="6731000"/>
                </a:lnTo>
                <a:lnTo>
                  <a:pt x="11930949" y="6731000"/>
                </a:lnTo>
                <a:lnTo>
                  <a:pt x="11937045" y="6731000"/>
                </a:lnTo>
                <a:cubicBezTo>
                  <a:pt x="12007213" y="6731000"/>
                  <a:pt x="12064045" y="6674168"/>
                  <a:pt x="12064045" y="6604000"/>
                </a:cubicBezTo>
                <a:lnTo>
                  <a:pt x="12064045" y="127000"/>
                </a:lnTo>
                <a:cubicBezTo>
                  <a:pt x="12064045" y="56833"/>
                  <a:pt x="12007213" y="0"/>
                  <a:pt x="11937045" y="0"/>
                </a:cubicBezTo>
                <a:close/>
              </a:path>
            </a:pathLst>
          </a:custGeom>
          <a:solidFill>
            <a:schemeClr val="bg1"/>
          </a:solidFill>
          <a:ln w="0" cap="flat">
            <a:noFill/>
            <a:prstDash val="solid"/>
            <a:miter/>
          </a:ln>
        </p:spPr>
        <p:txBody>
          <a:bodyPr rtlCol="0" anchor="ctr"/>
          <a:lstStyle/>
          <a:p>
            <a:endParaRPr lang="en-GB"/>
          </a:p>
        </p:txBody>
      </p:sp>
      <p:pic>
        <p:nvPicPr>
          <p:cNvPr id="6" name="Logo">
            <a:extLst>
              <a:ext uri="{FF2B5EF4-FFF2-40B4-BE49-F238E27FC236}">
                <a16:creationId xmlns:a16="http://schemas.microsoft.com/office/drawing/2014/main" id="{5AE7DC46-F571-4C0E-591B-70F88DA25C69}"/>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3177008"/>
            <a:ext cx="4536000" cy="503984"/>
          </a:xfrm>
        </p:spPr>
        <p:txBody>
          <a:bodyPr anchor="ctr" anchorCtr="0"/>
          <a:lstStyle>
            <a:lvl1pPr algn="l">
              <a:defRPr sz="3000"/>
            </a:lvl1pPr>
          </a:lstStyle>
          <a:p>
            <a:r>
              <a:rPr lang="nl-NL"/>
              <a:t>Titel</a:t>
            </a:r>
            <a:endParaRPr lang="nl-NL" dirty="0"/>
          </a:p>
        </p:txBody>
      </p:sp>
      <p:sp>
        <p:nvSpPr>
          <p:cNvPr id="21" name="Tijdelijke aanduiding voor afbeelding 20">
            <a:extLst>
              <a:ext uri="{FF2B5EF4-FFF2-40B4-BE49-F238E27FC236}">
                <a16:creationId xmlns:a16="http://schemas.microsoft.com/office/drawing/2014/main" id="{5E9D6C20-A1E9-E726-ED8A-B8E80466B1B4}"/>
              </a:ext>
            </a:extLst>
          </p:cNvPr>
          <p:cNvSpPr>
            <a:spLocks noGrp="1"/>
          </p:cNvSpPr>
          <p:nvPr>
            <p:ph type="pic" sz="quarter" idx="19"/>
          </p:nvPr>
        </p:nvSpPr>
        <p:spPr>
          <a:xfrm>
            <a:off x="5866128" y="127001"/>
            <a:ext cx="6142992" cy="2146808"/>
          </a:xfrm>
          <a:custGeom>
            <a:avLst/>
            <a:gdLst>
              <a:gd name="connsiteX0" fmla="*/ 211504 w 6142992"/>
              <a:gd name="connsiteY0" fmla="*/ 0 h 2146808"/>
              <a:gd name="connsiteX1" fmla="*/ 980442 w 6142992"/>
              <a:gd name="connsiteY1" fmla="*/ 0 h 2146808"/>
              <a:gd name="connsiteX2" fmla="*/ 3891330 w 6142992"/>
              <a:gd name="connsiteY2" fmla="*/ 0 h 2146808"/>
              <a:gd name="connsiteX3" fmla="*/ 4368167 w 6142992"/>
              <a:gd name="connsiteY3" fmla="*/ 0 h 2146808"/>
              <a:gd name="connsiteX4" fmla="*/ 4495167 w 6142992"/>
              <a:gd name="connsiteY4" fmla="*/ 127000 h 2146808"/>
              <a:gd name="connsiteX5" fmla="*/ 4495167 w 6142992"/>
              <a:gd name="connsiteY5" fmla="*/ 558800 h 2146808"/>
              <a:gd name="connsiteX6" fmla="*/ 4622167 w 6142992"/>
              <a:gd name="connsiteY6" fmla="*/ 685800 h 2146808"/>
              <a:gd name="connsiteX7" fmla="*/ 6015992 w 6142992"/>
              <a:gd name="connsiteY7" fmla="*/ 685800 h 2146808"/>
              <a:gd name="connsiteX8" fmla="*/ 6142992 w 6142992"/>
              <a:gd name="connsiteY8" fmla="*/ 812800 h 2146808"/>
              <a:gd name="connsiteX9" fmla="*/ 6142992 w 6142992"/>
              <a:gd name="connsiteY9" fmla="*/ 972593 h 2146808"/>
              <a:gd name="connsiteX10" fmla="*/ 6142992 w 6142992"/>
              <a:gd name="connsiteY10" fmla="*/ 1817547 h 2146808"/>
              <a:gd name="connsiteX11" fmla="*/ 6142992 w 6142992"/>
              <a:gd name="connsiteY11" fmla="*/ 1935304 h 2146808"/>
              <a:gd name="connsiteX12" fmla="*/ 5931488 w 6142992"/>
              <a:gd name="connsiteY12" fmla="*/ 2146808 h 2146808"/>
              <a:gd name="connsiteX13" fmla="*/ 211504 w 6142992"/>
              <a:gd name="connsiteY13" fmla="*/ 2146808 h 2146808"/>
              <a:gd name="connsiteX14" fmla="*/ 0 w 6142992"/>
              <a:gd name="connsiteY14" fmla="*/ 1935304 h 2146808"/>
              <a:gd name="connsiteX15" fmla="*/ 0 w 6142992"/>
              <a:gd name="connsiteY15" fmla="*/ 211504 h 2146808"/>
              <a:gd name="connsiteX16" fmla="*/ 211504 w 6142992"/>
              <a:gd name="connsiteY16" fmla="*/ 0 h 214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42992" h="2146808">
                <a:moveTo>
                  <a:pt x="211504" y="0"/>
                </a:moveTo>
                <a:lnTo>
                  <a:pt x="980442" y="0"/>
                </a:lnTo>
                <a:lnTo>
                  <a:pt x="3891330" y="0"/>
                </a:lnTo>
                <a:lnTo>
                  <a:pt x="4368167" y="0"/>
                </a:lnTo>
                <a:cubicBezTo>
                  <a:pt x="4438017" y="0"/>
                  <a:pt x="4495167" y="56833"/>
                  <a:pt x="4495167" y="127000"/>
                </a:cubicBezTo>
                <a:lnTo>
                  <a:pt x="4495167" y="558800"/>
                </a:lnTo>
                <a:cubicBezTo>
                  <a:pt x="4495167" y="628968"/>
                  <a:pt x="4552317" y="685800"/>
                  <a:pt x="4622167" y="685800"/>
                </a:cubicBezTo>
                <a:lnTo>
                  <a:pt x="6015992" y="685800"/>
                </a:lnTo>
                <a:cubicBezTo>
                  <a:pt x="6085842" y="685800"/>
                  <a:pt x="6142992" y="742633"/>
                  <a:pt x="6142992" y="812800"/>
                </a:cubicBezTo>
                <a:lnTo>
                  <a:pt x="6142992" y="972593"/>
                </a:lnTo>
                <a:lnTo>
                  <a:pt x="6142992" y="1817547"/>
                </a:lnTo>
                <a:lnTo>
                  <a:pt x="6142992" y="1935304"/>
                </a:lnTo>
                <a:cubicBezTo>
                  <a:pt x="6142992" y="2052114"/>
                  <a:pt x="6048298" y="2146808"/>
                  <a:pt x="5931488" y="2146808"/>
                </a:cubicBezTo>
                <a:lnTo>
                  <a:pt x="211504" y="2146808"/>
                </a:lnTo>
                <a:cubicBezTo>
                  <a:pt x="94694" y="2146808"/>
                  <a:pt x="0" y="2052114"/>
                  <a:pt x="0" y="1935304"/>
                </a:cubicBezTo>
                <a:lnTo>
                  <a:pt x="0" y="211504"/>
                </a:lnTo>
                <a:cubicBezTo>
                  <a:pt x="0" y="94694"/>
                  <a:pt x="94694" y="0"/>
                  <a:pt x="21150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2" name="Tijdelijke aanduiding voor afbeelding 11">
            <a:extLst>
              <a:ext uri="{FF2B5EF4-FFF2-40B4-BE49-F238E27FC236}">
                <a16:creationId xmlns:a16="http://schemas.microsoft.com/office/drawing/2014/main" id="{1EFBB957-C56D-3783-5E39-DBC05B4E28F4}"/>
              </a:ext>
            </a:extLst>
          </p:cNvPr>
          <p:cNvSpPr>
            <a:spLocks noGrp="1"/>
          </p:cNvSpPr>
          <p:nvPr>
            <p:ph type="pic" sz="quarter" idx="20"/>
          </p:nvPr>
        </p:nvSpPr>
        <p:spPr>
          <a:xfrm>
            <a:off x="5866128" y="2355597"/>
            <a:ext cx="6142992" cy="2146808"/>
          </a:xfrm>
          <a:prstGeom prst="roundRect">
            <a:avLst>
              <a:gd name="adj" fmla="val 9852"/>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3" name="Tijdelijke aanduiding voor afbeelding 12">
            <a:extLst>
              <a:ext uri="{FF2B5EF4-FFF2-40B4-BE49-F238E27FC236}">
                <a16:creationId xmlns:a16="http://schemas.microsoft.com/office/drawing/2014/main" id="{FD1DDD1A-31D6-F617-755C-10E9F07D47FC}"/>
              </a:ext>
            </a:extLst>
          </p:cNvPr>
          <p:cNvSpPr>
            <a:spLocks noGrp="1"/>
          </p:cNvSpPr>
          <p:nvPr>
            <p:ph type="pic" sz="quarter" idx="21"/>
          </p:nvPr>
        </p:nvSpPr>
        <p:spPr>
          <a:xfrm>
            <a:off x="5866128" y="4584192"/>
            <a:ext cx="6142992" cy="2146808"/>
          </a:xfrm>
          <a:prstGeom prst="roundRect">
            <a:avLst>
              <a:gd name="adj" fmla="val 9852"/>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2" name="Tijdelijke aanduiding voor tekst 8">
            <a:extLst>
              <a:ext uri="{FF2B5EF4-FFF2-40B4-BE49-F238E27FC236}">
                <a16:creationId xmlns:a16="http://schemas.microsoft.com/office/drawing/2014/main" id="{6C759515-462C-D5FA-F843-2FD7CB6BF4C7}"/>
              </a:ext>
            </a:extLst>
          </p:cNvPr>
          <p:cNvSpPr>
            <a:spLocks noGrp="1"/>
          </p:cNvSpPr>
          <p:nvPr>
            <p:ph type="body" sz="quarter" idx="13" hasCustomPrompt="1"/>
          </p:nvPr>
        </p:nvSpPr>
        <p:spPr>
          <a:xfrm>
            <a:off x="6134977" y="1340169"/>
            <a:ext cx="2340000" cy="317523"/>
          </a:xfrm>
        </p:spPr>
        <p:txBody>
          <a:bodyPr wrap="square">
            <a:spAutoFit/>
          </a:bodyPr>
          <a:lstStyle>
            <a:lvl1pPr>
              <a:defRPr sz="2000" b="1">
                <a:solidFill>
                  <a:schemeClr val="bg1"/>
                </a:solidFill>
                <a:latin typeface="+mn-lt"/>
              </a:defRPr>
            </a:lvl1pPr>
          </a:lstStyle>
          <a:p>
            <a:pPr lvl="0"/>
            <a:r>
              <a:rPr lang="nl-NL"/>
              <a:t>Tekst</a:t>
            </a:r>
            <a:endParaRPr lang="nl-NL" dirty="0"/>
          </a:p>
        </p:txBody>
      </p:sp>
      <p:sp>
        <p:nvSpPr>
          <p:cNvPr id="28" name="Tijdelijke aanduiding voor tekst 8">
            <a:extLst>
              <a:ext uri="{FF2B5EF4-FFF2-40B4-BE49-F238E27FC236}">
                <a16:creationId xmlns:a16="http://schemas.microsoft.com/office/drawing/2014/main" id="{631522B9-E2B8-37A5-8623-A07497D501D1}"/>
              </a:ext>
            </a:extLst>
          </p:cNvPr>
          <p:cNvSpPr>
            <a:spLocks noGrp="1"/>
          </p:cNvSpPr>
          <p:nvPr>
            <p:ph type="body" sz="quarter" idx="22" hasCustomPrompt="1"/>
          </p:nvPr>
        </p:nvSpPr>
        <p:spPr>
          <a:xfrm>
            <a:off x="6134977" y="1750041"/>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30" name="Tijdelijke aanduiding voor tekst 8">
            <a:extLst>
              <a:ext uri="{FF2B5EF4-FFF2-40B4-BE49-F238E27FC236}">
                <a16:creationId xmlns:a16="http://schemas.microsoft.com/office/drawing/2014/main" id="{AA8FCC21-DB64-DAD9-08B4-B464B3CC4928}"/>
              </a:ext>
            </a:extLst>
          </p:cNvPr>
          <p:cNvSpPr>
            <a:spLocks noGrp="1"/>
          </p:cNvSpPr>
          <p:nvPr>
            <p:ph type="body" sz="quarter" idx="24" hasCustomPrompt="1"/>
          </p:nvPr>
        </p:nvSpPr>
        <p:spPr>
          <a:xfrm>
            <a:off x="6134977" y="3568764"/>
            <a:ext cx="2340000" cy="317523"/>
          </a:xfrm>
        </p:spPr>
        <p:txBody>
          <a:bodyPr wrap="square">
            <a:spAutoFit/>
          </a:bodyPr>
          <a:lstStyle>
            <a:lvl1pPr>
              <a:defRPr sz="2000" b="1">
                <a:solidFill>
                  <a:schemeClr val="bg1"/>
                </a:solidFill>
                <a:latin typeface="+mn-lt"/>
              </a:defRPr>
            </a:lvl1pPr>
          </a:lstStyle>
          <a:p>
            <a:pPr lvl="0"/>
            <a:r>
              <a:rPr lang="nl-NL"/>
              <a:t>Tekst</a:t>
            </a:r>
            <a:endParaRPr lang="nl-NL" dirty="0"/>
          </a:p>
        </p:txBody>
      </p:sp>
      <p:sp>
        <p:nvSpPr>
          <p:cNvPr id="31" name="Tijdelijke aanduiding voor tekst 8">
            <a:extLst>
              <a:ext uri="{FF2B5EF4-FFF2-40B4-BE49-F238E27FC236}">
                <a16:creationId xmlns:a16="http://schemas.microsoft.com/office/drawing/2014/main" id="{4A6524F9-CD4F-C48A-75F9-8EC16FB0C36E}"/>
              </a:ext>
            </a:extLst>
          </p:cNvPr>
          <p:cNvSpPr>
            <a:spLocks noGrp="1"/>
          </p:cNvSpPr>
          <p:nvPr>
            <p:ph type="body" sz="quarter" idx="25" hasCustomPrompt="1"/>
          </p:nvPr>
        </p:nvSpPr>
        <p:spPr>
          <a:xfrm>
            <a:off x="6134977" y="397863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33" name="Tijdelijke aanduiding voor tekst 8">
            <a:extLst>
              <a:ext uri="{FF2B5EF4-FFF2-40B4-BE49-F238E27FC236}">
                <a16:creationId xmlns:a16="http://schemas.microsoft.com/office/drawing/2014/main" id="{27AC645A-7C35-E5C9-88DA-FA88C25C7DF2}"/>
              </a:ext>
            </a:extLst>
          </p:cNvPr>
          <p:cNvSpPr>
            <a:spLocks noGrp="1"/>
          </p:cNvSpPr>
          <p:nvPr>
            <p:ph type="body" sz="quarter" idx="27" hasCustomPrompt="1"/>
          </p:nvPr>
        </p:nvSpPr>
        <p:spPr>
          <a:xfrm>
            <a:off x="6134977" y="5807922"/>
            <a:ext cx="2340000" cy="317523"/>
          </a:xfrm>
        </p:spPr>
        <p:txBody>
          <a:bodyPr wrap="square">
            <a:spAutoFit/>
          </a:bodyPr>
          <a:lstStyle>
            <a:lvl1pPr>
              <a:defRPr sz="2000" b="1">
                <a:solidFill>
                  <a:schemeClr val="bg1"/>
                </a:solidFill>
                <a:latin typeface="+mn-lt"/>
              </a:defRPr>
            </a:lvl1pPr>
          </a:lstStyle>
          <a:p>
            <a:pPr lvl="0"/>
            <a:r>
              <a:rPr lang="nl-NL"/>
              <a:t>Tekst</a:t>
            </a:r>
            <a:endParaRPr lang="nl-NL" dirty="0"/>
          </a:p>
        </p:txBody>
      </p:sp>
      <p:sp>
        <p:nvSpPr>
          <p:cNvPr id="34" name="Tijdelijke aanduiding voor tekst 8">
            <a:extLst>
              <a:ext uri="{FF2B5EF4-FFF2-40B4-BE49-F238E27FC236}">
                <a16:creationId xmlns:a16="http://schemas.microsoft.com/office/drawing/2014/main" id="{47FA5E21-E7B6-1F1A-374F-090E399E11A3}"/>
              </a:ext>
            </a:extLst>
          </p:cNvPr>
          <p:cNvSpPr>
            <a:spLocks noGrp="1"/>
          </p:cNvSpPr>
          <p:nvPr>
            <p:ph type="body" sz="quarter" idx="28" hasCustomPrompt="1"/>
          </p:nvPr>
        </p:nvSpPr>
        <p:spPr>
          <a:xfrm>
            <a:off x="6134977" y="6217794"/>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Tree>
    <p:extLst>
      <p:ext uri="{BB962C8B-B14F-4D97-AF65-F5344CB8AC3E}">
        <p14:creationId xmlns:p14="http://schemas.microsoft.com/office/powerpoint/2010/main" val="181354182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en afbeelding">
    <p:spTree>
      <p:nvGrpSpPr>
        <p:cNvPr id="1" name=""/>
        <p:cNvGrpSpPr/>
        <p:nvPr/>
      </p:nvGrpSpPr>
      <p:grpSpPr>
        <a:xfrm>
          <a:off x="0" y="0"/>
          <a:ext cx="0" cy="0"/>
          <a:chOff x="0" y="0"/>
          <a:chExt cx="0" cy="0"/>
        </a:xfrm>
      </p:grpSpPr>
      <p:pic>
        <p:nvPicPr>
          <p:cNvPr id="9" name="logo.png" descr="logo.png">
            <a:extLst>
              <a:ext uri="{FF2B5EF4-FFF2-40B4-BE49-F238E27FC236}">
                <a16:creationId xmlns:a16="http://schemas.microsoft.com/office/drawing/2014/main" id="{08BC8C48-D383-924F-A837-E66528A4A00C}"/>
              </a:ext>
            </a:extLst>
          </p:cNvPr>
          <p:cNvPicPr>
            <a:picLocks noChangeAspect="1"/>
          </p:cNvPicPr>
          <p:nvPr/>
        </p:nvPicPr>
        <p:blipFill>
          <a:blip r:embed="rId2"/>
          <a:stretch>
            <a:fillRect/>
          </a:stretch>
        </p:blipFill>
        <p:spPr>
          <a:xfrm>
            <a:off x="10335003" y="-1525"/>
            <a:ext cx="1862049" cy="1671070"/>
          </a:xfrm>
          <a:prstGeom prst="rect">
            <a:avLst/>
          </a:prstGeom>
          <a:ln w="12700">
            <a:miter lim="400000"/>
          </a:ln>
        </p:spPr>
      </p:pic>
      <p:pic>
        <p:nvPicPr>
          <p:cNvPr id="10" name="Picture 9">
            <a:extLst>
              <a:ext uri="{FF2B5EF4-FFF2-40B4-BE49-F238E27FC236}">
                <a16:creationId xmlns:a16="http://schemas.microsoft.com/office/drawing/2014/main" id="{E781E5CA-688A-5440-BDFC-3D1B30E1D7EE}"/>
              </a:ext>
            </a:extLst>
          </p:cNvPr>
          <p:cNvPicPr>
            <a:picLocks noChangeAspect="1"/>
          </p:cNvPicPr>
          <p:nvPr/>
        </p:nvPicPr>
        <p:blipFill>
          <a:blip r:embed="rId3"/>
          <a:stretch>
            <a:fillRect/>
          </a:stretch>
        </p:blipFill>
        <p:spPr>
          <a:xfrm>
            <a:off x="9731" y="1739565"/>
            <a:ext cx="12192000" cy="51771"/>
          </a:xfrm>
          <a:prstGeom prst="rect">
            <a:avLst/>
          </a:prstGeom>
        </p:spPr>
      </p:pic>
      <p:sp>
        <p:nvSpPr>
          <p:cNvPr id="8" name="Tijdelijke aanduiding voor dianummer 2">
            <a:extLst>
              <a:ext uri="{FF2B5EF4-FFF2-40B4-BE49-F238E27FC236}">
                <a16:creationId xmlns:a16="http://schemas.microsoft.com/office/drawing/2014/main" id="{AF6E8805-7195-CCA2-373E-765289A89F23}"/>
              </a:ext>
            </a:extLst>
          </p:cNvPr>
          <p:cNvSpPr txBox="1">
            <a:spLocks/>
          </p:cNvSpPr>
          <p:nvPr userDrawn="1"/>
        </p:nvSpPr>
        <p:spPr>
          <a:xfrm>
            <a:off x="11465560" y="6573205"/>
            <a:ext cx="559101" cy="175775"/>
          </a:xfrm>
          <a:prstGeom prst="rect">
            <a:avLst/>
          </a:prstGeom>
        </p:spPr>
        <p:txBody>
          <a:bodyPr anchor="ctr" anchorCtr="0"/>
          <a:lstStyle>
            <a:defPPr>
              <a:defRPr lang="en-US"/>
            </a:defPPr>
            <a:lvl1pPr marL="0" algn="l" defTabSz="914400" rtl="0" eaLnBrk="1" latinLnBrk="0" hangingPunct="1">
              <a:defRPr sz="800" i="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sz="1000" b="1" i="0">
                <a:solidFill>
                  <a:schemeClr val="accent1"/>
                </a:solidFill>
                <a:latin typeface="Muli" panose="00000500000000000000" pitchFamily="2" charset="0"/>
              </a:rPr>
              <a:t>|  </a:t>
            </a:r>
            <a:fld id="{45E449D3-B577-44D2-89AE-17D980B37AF7}" type="slidenum">
              <a:rPr lang="nl-NL" sz="1000" b="1" i="0" smtClean="0">
                <a:solidFill>
                  <a:schemeClr val="accent1"/>
                </a:solidFill>
                <a:latin typeface="Muli" panose="00000500000000000000" pitchFamily="2" charset="0"/>
              </a:rPr>
              <a:pPr algn="r"/>
              <a:t>‹#›</a:t>
            </a:fld>
            <a:r>
              <a:rPr lang="nl-NL" sz="1000" i="0">
                <a:solidFill>
                  <a:schemeClr val="bg2"/>
                </a:solidFill>
                <a:latin typeface="Muli" panose="00000500000000000000" pitchFamily="2" charset="0"/>
              </a:rPr>
              <a:t> </a:t>
            </a:r>
          </a:p>
        </p:txBody>
      </p:sp>
      <p:sp>
        <p:nvSpPr>
          <p:cNvPr id="11" name="Tijdelijke aanduiding voor tekst 10">
            <a:extLst>
              <a:ext uri="{FF2B5EF4-FFF2-40B4-BE49-F238E27FC236}">
                <a16:creationId xmlns:a16="http://schemas.microsoft.com/office/drawing/2014/main" id="{2640FDB3-F422-F8B2-3E19-318F91055B40}"/>
              </a:ext>
            </a:extLst>
          </p:cNvPr>
          <p:cNvSpPr>
            <a:spLocks noGrp="1"/>
          </p:cNvSpPr>
          <p:nvPr>
            <p:ph type="body" sz="quarter" idx="14" hasCustomPrompt="1"/>
          </p:nvPr>
        </p:nvSpPr>
        <p:spPr>
          <a:xfrm>
            <a:off x="7485062" y="6573205"/>
            <a:ext cx="4183697" cy="175775"/>
          </a:xfrm>
          <a:prstGeom prst="rect">
            <a:avLst/>
          </a:prstGeom>
        </p:spPr>
        <p:txBody>
          <a:bodyPr anchor="ctr">
            <a:noAutofit/>
          </a:bodyPr>
          <a:lstStyle>
            <a:lvl1pPr marL="0" indent="0" algn="r">
              <a:buNone/>
              <a:defRPr sz="1000">
                <a:solidFill>
                  <a:schemeClr val="accent1"/>
                </a:solidFill>
              </a:defRPr>
            </a:lvl1pPr>
            <a:lvl2pPr marL="457200" indent="0" algn="r">
              <a:buNone/>
              <a:defRPr sz="1000">
                <a:solidFill>
                  <a:schemeClr val="accent1"/>
                </a:solidFill>
              </a:defRPr>
            </a:lvl2pPr>
            <a:lvl3pPr marL="914400" indent="0" algn="r">
              <a:buNone/>
              <a:defRPr sz="1000">
                <a:solidFill>
                  <a:schemeClr val="accent1"/>
                </a:solidFill>
              </a:defRPr>
            </a:lvl3pPr>
            <a:lvl4pPr marL="1371600" indent="0" algn="r">
              <a:buNone/>
              <a:defRPr sz="1000">
                <a:solidFill>
                  <a:schemeClr val="accent1"/>
                </a:solidFill>
              </a:defRPr>
            </a:lvl4pPr>
            <a:lvl5pPr marL="1828800" indent="0" algn="r">
              <a:buNone/>
              <a:defRPr sz="1000">
                <a:solidFill>
                  <a:schemeClr val="accent1"/>
                </a:solidFill>
              </a:defRPr>
            </a:lvl5pPr>
          </a:lstStyle>
          <a:p>
            <a:pPr lvl="0"/>
            <a:r>
              <a:rPr lang="nl-NL"/>
              <a:t>Hoofdstuk aanduiding</a:t>
            </a:r>
          </a:p>
        </p:txBody>
      </p:sp>
      <p:sp>
        <p:nvSpPr>
          <p:cNvPr id="4" name="Content Placeholder 7">
            <a:extLst>
              <a:ext uri="{FF2B5EF4-FFF2-40B4-BE49-F238E27FC236}">
                <a16:creationId xmlns:a16="http://schemas.microsoft.com/office/drawing/2014/main" id="{7A52536E-468E-C10D-9E49-47B37DF6D7C8}"/>
              </a:ext>
            </a:extLst>
          </p:cNvPr>
          <p:cNvSpPr>
            <a:spLocks noGrp="1"/>
          </p:cNvSpPr>
          <p:nvPr>
            <p:ph sz="quarter" idx="12"/>
          </p:nvPr>
        </p:nvSpPr>
        <p:spPr>
          <a:xfrm>
            <a:off x="850426" y="1990725"/>
            <a:ext cx="10511174" cy="41751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B79C249C-D30D-7DDC-87F5-458A60ECE02E}"/>
              </a:ext>
            </a:extLst>
          </p:cNvPr>
          <p:cNvSpPr>
            <a:spLocks noGrp="1"/>
          </p:cNvSpPr>
          <p:nvPr>
            <p:ph type="title"/>
          </p:nvPr>
        </p:nvSpPr>
        <p:spPr>
          <a:xfrm>
            <a:off x="850426" y="414000"/>
            <a:ext cx="10512000" cy="659829"/>
          </a:xfrm>
          <a:prstGeom prst="rect">
            <a:avLst/>
          </a:prstGeom>
        </p:spPr>
        <p:txBody>
          <a:bodyPr>
            <a:normAutofit/>
          </a:bodyPr>
          <a:lstStyle>
            <a:lvl1pPr>
              <a:defRPr sz="3600"/>
            </a:lvl1pPr>
          </a:lstStyle>
          <a:p>
            <a:r>
              <a:rPr lang="en-US"/>
              <a:t>Click to edit Master title style</a:t>
            </a:r>
          </a:p>
        </p:txBody>
      </p:sp>
      <p:sp>
        <p:nvSpPr>
          <p:cNvPr id="7" name="Text Placeholder 13">
            <a:extLst>
              <a:ext uri="{FF2B5EF4-FFF2-40B4-BE49-F238E27FC236}">
                <a16:creationId xmlns:a16="http://schemas.microsoft.com/office/drawing/2014/main" id="{3AC89B40-69F7-4177-ABD9-077E8605C08A}"/>
              </a:ext>
            </a:extLst>
          </p:cNvPr>
          <p:cNvSpPr>
            <a:spLocks noGrp="1"/>
          </p:cNvSpPr>
          <p:nvPr>
            <p:ph type="body" sz="quarter" idx="11" hasCustomPrompt="1"/>
          </p:nvPr>
        </p:nvSpPr>
        <p:spPr>
          <a:xfrm>
            <a:off x="850426" y="1080000"/>
            <a:ext cx="10512000" cy="431800"/>
          </a:xfrm>
          <a:prstGeom prst="rect">
            <a:avLst/>
          </a:prstGeom>
        </p:spPr>
        <p:txBody>
          <a:bodyPr>
            <a:noAutofit/>
          </a:bodyPr>
          <a:lstStyle>
            <a:lvl1pPr marL="0" indent="0">
              <a:buNone/>
              <a:defRPr sz="2400">
                <a:solidFill>
                  <a:schemeClr val="bg2"/>
                </a:solidFill>
              </a:defRPr>
            </a:lvl1pPr>
            <a:lvl2pPr marL="457200" indent="0">
              <a:buNone/>
              <a:defRPr sz="2400">
                <a:solidFill>
                  <a:srgbClr val="ABB3BB"/>
                </a:solidFill>
              </a:defRPr>
            </a:lvl2pPr>
            <a:lvl3pPr marL="914400" indent="0">
              <a:buNone/>
              <a:defRPr sz="2400">
                <a:solidFill>
                  <a:srgbClr val="ABB3BB"/>
                </a:solidFill>
              </a:defRPr>
            </a:lvl3pPr>
            <a:lvl4pPr marL="1371600" indent="0">
              <a:buNone/>
              <a:defRPr sz="2400">
                <a:solidFill>
                  <a:srgbClr val="ABB3BB"/>
                </a:solidFill>
              </a:defRPr>
            </a:lvl4pPr>
            <a:lvl5pPr marL="1828800" indent="0">
              <a:buNone/>
              <a:defRPr sz="2400">
                <a:solidFill>
                  <a:srgbClr val="ABB3BB"/>
                </a:solidFill>
              </a:defRPr>
            </a:lvl5pPr>
          </a:lstStyle>
          <a:p>
            <a:pPr lvl="0"/>
            <a:r>
              <a:rPr lang="en-US"/>
              <a:t>Subtitle goes here</a:t>
            </a:r>
          </a:p>
        </p:txBody>
      </p:sp>
      <p:sp>
        <p:nvSpPr>
          <p:cNvPr id="13" name="Tijdelijke aanduiding voor tekst 12">
            <a:extLst>
              <a:ext uri="{FF2B5EF4-FFF2-40B4-BE49-F238E27FC236}">
                <a16:creationId xmlns:a16="http://schemas.microsoft.com/office/drawing/2014/main" id="{AB296F54-8836-89D1-953D-DEC32A90E795}"/>
              </a:ext>
            </a:extLst>
          </p:cNvPr>
          <p:cNvSpPr>
            <a:spLocks noGrp="1"/>
          </p:cNvSpPr>
          <p:nvPr>
            <p:ph type="body" sz="quarter" idx="16"/>
          </p:nvPr>
        </p:nvSpPr>
        <p:spPr>
          <a:xfrm>
            <a:off x="6284912" y="6197600"/>
            <a:ext cx="5077514" cy="169377"/>
          </a:xfrm>
          <a:prstGeom prst="rect">
            <a:avLst/>
          </a:prstGeom>
        </p:spPr>
        <p:txBody>
          <a:bodyPr anchor="ctr"/>
          <a:lstStyle>
            <a:lvl1pPr marL="0" indent="0" algn="r">
              <a:buNone/>
              <a:defRPr sz="1000" i="1">
                <a:solidFill>
                  <a:schemeClr val="bg2"/>
                </a:solidFill>
              </a:defRPr>
            </a:lvl1pPr>
            <a:lvl2pPr marL="457200" indent="0" algn="r">
              <a:buNone/>
              <a:defRPr sz="1000" i="1">
                <a:solidFill>
                  <a:schemeClr val="bg2"/>
                </a:solidFill>
              </a:defRPr>
            </a:lvl2pPr>
            <a:lvl3pPr marL="914400" indent="0" algn="r">
              <a:buNone/>
              <a:defRPr sz="1000" i="1">
                <a:solidFill>
                  <a:schemeClr val="bg2"/>
                </a:solidFill>
              </a:defRPr>
            </a:lvl3pPr>
            <a:lvl4pPr marL="1371600" indent="0" algn="r">
              <a:buNone/>
              <a:defRPr sz="1000" i="1">
                <a:solidFill>
                  <a:schemeClr val="bg2"/>
                </a:solidFill>
              </a:defRPr>
            </a:lvl4pPr>
            <a:lvl5pPr marL="1828800" indent="0" algn="r">
              <a:buNone/>
              <a:defRPr sz="1000" i="1">
                <a:solidFill>
                  <a:schemeClr val="bg2"/>
                </a:solidFill>
              </a:defRPr>
            </a:lvl5pPr>
          </a:lstStyle>
          <a:p>
            <a:pPr lvl="0"/>
            <a:r>
              <a:rPr lang="nl-NL"/>
              <a:t>Klikken om de tekststijl van het model te bewerken</a:t>
            </a:r>
          </a:p>
        </p:txBody>
      </p:sp>
    </p:spTree>
    <p:extLst>
      <p:ext uri="{BB962C8B-B14F-4D97-AF65-F5344CB8AC3E}">
        <p14:creationId xmlns:p14="http://schemas.microsoft.com/office/powerpoint/2010/main" val="31364063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rie eco's">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3961440" y="557262"/>
            <a:ext cx="7560000" cy="503984"/>
          </a:xfrm>
        </p:spPr>
        <p:txBody>
          <a:bodyPr anchor="t" anchorCtr="0"/>
          <a:lstStyle>
            <a:lvl1pPr algn="r">
              <a:defRPr sz="3000"/>
            </a:lvl1pPr>
          </a:lstStyle>
          <a:p>
            <a:r>
              <a:rPr lang="nl-NL"/>
              <a:t>Titel</a:t>
            </a:r>
            <a:endParaRPr lang="nl-NL" dirty="0"/>
          </a:p>
        </p:txBody>
      </p:sp>
      <p:sp>
        <p:nvSpPr>
          <p:cNvPr id="13" name="Tijdelijke aanduiding voor afbeelding 12">
            <a:extLst>
              <a:ext uri="{FF2B5EF4-FFF2-40B4-BE49-F238E27FC236}">
                <a16:creationId xmlns:a16="http://schemas.microsoft.com/office/drawing/2014/main" id="{FD1DDD1A-31D6-F617-755C-10E9F07D47FC}"/>
              </a:ext>
            </a:extLst>
          </p:cNvPr>
          <p:cNvSpPr>
            <a:spLocks noGrp="1"/>
          </p:cNvSpPr>
          <p:nvPr>
            <p:ph type="pic" sz="quarter" idx="21"/>
          </p:nvPr>
        </p:nvSpPr>
        <p:spPr>
          <a:xfrm>
            <a:off x="247648" y="2430892"/>
            <a:ext cx="3663952" cy="4005468"/>
          </a:xfrm>
          <a:prstGeom prst="roundRect">
            <a:avLst>
              <a:gd name="adj" fmla="val 5277"/>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0" name="Tijdelijke aanduiding voor tekst 8">
            <a:extLst>
              <a:ext uri="{FF2B5EF4-FFF2-40B4-BE49-F238E27FC236}">
                <a16:creationId xmlns:a16="http://schemas.microsoft.com/office/drawing/2014/main" id="{AA8FCC21-DB64-DAD9-08B4-B464B3CC4928}"/>
              </a:ext>
            </a:extLst>
          </p:cNvPr>
          <p:cNvSpPr>
            <a:spLocks noGrp="1"/>
          </p:cNvSpPr>
          <p:nvPr>
            <p:ph type="body" sz="quarter" idx="24" hasCustomPrompt="1"/>
          </p:nvPr>
        </p:nvSpPr>
        <p:spPr>
          <a:xfrm>
            <a:off x="465697" y="5666804"/>
            <a:ext cx="2340000" cy="317523"/>
          </a:xfrm>
        </p:spPr>
        <p:txBody>
          <a:bodyPr wrap="square" anchor="b" anchorCtr="0">
            <a:spAutoFit/>
          </a:bodyPr>
          <a:lstStyle>
            <a:lvl1pPr>
              <a:defRPr sz="2000" b="1">
                <a:solidFill>
                  <a:schemeClr val="bg1"/>
                </a:solidFill>
                <a:latin typeface="+mn-lt"/>
              </a:defRPr>
            </a:lvl1pPr>
          </a:lstStyle>
          <a:p>
            <a:pPr lvl="0"/>
            <a:r>
              <a:rPr lang="nl-NL"/>
              <a:t>Tekst</a:t>
            </a:r>
            <a:endParaRPr lang="nl-NL" dirty="0"/>
          </a:p>
        </p:txBody>
      </p:sp>
      <p:sp>
        <p:nvSpPr>
          <p:cNvPr id="31" name="Tijdelijke aanduiding voor tekst 8">
            <a:extLst>
              <a:ext uri="{FF2B5EF4-FFF2-40B4-BE49-F238E27FC236}">
                <a16:creationId xmlns:a16="http://schemas.microsoft.com/office/drawing/2014/main" id="{4A6524F9-CD4F-C48A-75F9-8EC16FB0C36E}"/>
              </a:ext>
            </a:extLst>
          </p:cNvPr>
          <p:cNvSpPr>
            <a:spLocks noGrp="1"/>
          </p:cNvSpPr>
          <p:nvPr>
            <p:ph type="body" sz="quarter" idx="25" hasCustomPrompt="1"/>
          </p:nvPr>
        </p:nvSpPr>
        <p:spPr>
          <a:xfrm>
            <a:off x="465697" y="608175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2" name="Tijdelijke aanduiding voor afbeelding 1">
            <a:extLst>
              <a:ext uri="{FF2B5EF4-FFF2-40B4-BE49-F238E27FC236}">
                <a16:creationId xmlns:a16="http://schemas.microsoft.com/office/drawing/2014/main" id="{520AE496-C44D-8BCE-EC22-6569A609FC7A}"/>
              </a:ext>
            </a:extLst>
          </p:cNvPr>
          <p:cNvSpPr>
            <a:spLocks noGrp="1"/>
          </p:cNvSpPr>
          <p:nvPr>
            <p:ph type="pic" sz="quarter" idx="26"/>
          </p:nvPr>
        </p:nvSpPr>
        <p:spPr>
          <a:xfrm>
            <a:off x="7857488" y="2430892"/>
            <a:ext cx="3663952" cy="4005468"/>
          </a:xfrm>
          <a:prstGeom prst="roundRect">
            <a:avLst>
              <a:gd name="adj" fmla="val 5277"/>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 name="Tijdelijke aanduiding voor tekst 8">
            <a:extLst>
              <a:ext uri="{FF2B5EF4-FFF2-40B4-BE49-F238E27FC236}">
                <a16:creationId xmlns:a16="http://schemas.microsoft.com/office/drawing/2014/main" id="{86077B2E-DC7B-21D1-4049-5E0BD3820361}"/>
              </a:ext>
            </a:extLst>
          </p:cNvPr>
          <p:cNvSpPr>
            <a:spLocks noGrp="1"/>
          </p:cNvSpPr>
          <p:nvPr>
            <p:ph type="body" sz="quarter" idx="27" hasCustomPrompt="1"/>
          </p:nvPr>
        </p:nvSpPr>
        <p:spPr>
          <a:xfrm>
            <a:off x="8075537" y="5666804"/>
            <a:ext cx="2340000" cy="317523"/>
          </a:xfrm>
        </p:spPr>
        <p:txBody>
          <a:bodyPr wrap="square" anchor="b" anchorCtr="0">
            <a:spAutoFit/>
          </a:bodyPr>
          <a:lstStyle>
            <a:lvl1pPr>
              <a:defRPr sz="2000" b="1">
                <a:solidFill>
                  <a:schemeClr val="bg1"/>
                </a:solidFill>
                <a:latin typeface="+mn-lt"/>
              </a:defRPr>
            </a:lvl1pPr>
          </a:lstStyle>
          <a:p>
            <a:pPr lvl="0"/>
            <a:r>
              <a:rPr lang="nl-NL"/>
              <a:t>Tekst</a:t>
            </a:r>
            <a:endParaRPr lang="nl-NL" dirty="0"/>
          </a:p>
        </p:txBody>
      </p:sp>
      <p:sp>
        <p:nvSpPr>
          <p:cNvPr id="7" name="Tijdelijke aanduiding voor tekst 8">
            <a:extLst>
              <a:ext uri="{FF2B5EF4-FFF2-40B4-BE49-F238E27FC236}">
                <a16:creationId xmlns:a16="http://schemas.microsoft.com/office/drawing/2014/main" id="{AA35B4D7-F55F-B4FC-54FC-7B80B0D652D3}"/>
              </a:ext>
            </a:extLst>
          </p:cNvPr>
          <p:cNvSpPr>
            <a:spLocks noGrp="1"/>
          </p:cNvSpPr>
          <p:nvPr>
            <p:ph type="body" sz="quarter" idx="28" hasCustomPrompt="1"/>
          </p:nvPr>
        </p:nvSpPr>
        <p:spPr>
          <a:xfrm>
            <a:off x="8075537" y="608175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
        <p:nvSpPr>
          <p:cNvPr id="9" name="Tijdelijke aanduiding voor afbeelding 8">
            <a:extLst>
              <a:ext uri="{FF2B5EF4-FFF2-40B4-BE49-F238E27FC236}">
                <a16:creationId xmlns:a16="http://schemas.microsoft.com/office/drawing/2014/main" id="{CCCA9AFD-5885-4013-A1EF-D1609692000F}"/>
              </a:ext>
            </a:extLst>
          </p:cNvPr>
          <p:cNvSpPr>
            <a:spLocks noGrp="1"/>
          </p:cNvSpPr>
          <p:nvPr>
            <p:ph type="pic" sz="quarter" idx="29"/>
          </p:nvPr>
        </p:nvSpPr>
        <p:spPr>
          <a:xfrm>
            <a:off x="4052568" y="2430892"/>
            <a:ext cx="3663952" cy="4005468"/>
          </a:xfrm>
          <a:prstGeom prst="roundRect">
            <a:avLst>
              <a:gd name="adj" fmla="val 5277"/>
            </a:avLst>
          </a:pr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0" name="Tijdelijke aanduiding voor tekst 8">
            <a:extLst>
              <a:ext uri="{FF2B5EF4-FFF2-40B4-BE49-F238E27FC236}">
                <a16:creationId xmlns:a16="http://schemas.microsoft.com/office/drawing/2014/main" id="{A0455B6E-410A-AD68-0C98-E827ED77FC5C}"/>
              </a:ext>
            </a:extLst>
          </p:cNvPr>
          <p:cNvSpPr>
            <a:spLocks noGrp="1"/>
          </p:cNvSpPr>
          <p:nvPr>
            <p:ph type="body" sz="quarter" idx="30" hasCustomPrompt="1"/>
          </p:nvPr>
        </p:nvSpPr>
        <p:spPr>
          <a:xfrm>
            <a:off x="4270617" y="5666804"/>
            <a:ext cx="2340000" cy="317523"/>
          </a:xfrm>
        </p:spPr>
        <p:txBody>
          <a:bodyPr wrap="square" anchor="b" anchorCtr="0">
            <a:spAutoFit/>
          </a:bodyPr>
          <a:lstStyle>
            <a:lvl1pPr>
              <a:defRPr sz="2000" b="1">
                <a:solidFill>
                  <a:schemeClr val="bg1"/>
                </a:solidFill>
                <a:latin typeface="+mn-lt"/>
              </a:defRPr>
            </a:lvl1pPr>
          </a:lstStyle>
          <a:p>
            <a:pPr lvl="0"/>
            <a:r>
              <a:rPr lang="nl-NL"/>
              <a:t>Tekst</a:t>
            </a:r>
            <a:endParaRPr lang="nl-NL" dirty="0"/>
          </a:p>
        </p:txBody>
      </p:sp>
      <p:sp>
        <p:nvSpPr>
          <p:cNvPr id="11" name="Tijdelijke aanduiding voor tekst 8">
            <a:extLst>
              <a:ext uri="{FF2B5EF4-FFF2-40B4-BE49-F238E27FC236}">
                <a16:creationId xmlns:a16="http://schemas.microsoft.com/office/drawing/2014/main" id="{1A093F01-926C-1F99-EB22-DD9ED0C22AAF}"/>
              </a:ext>
            </a:extLst>
          </p:cNvPr>
          <p:cNvSpPr>
            <a:spLocks noGrp="1"/>
          </p:cNvSpPr>
          <p:nvPr>
            <p:ph type="body" sz="quarter" idx="31" hasCustomPrompt="1"/>
          </p:nvPr>
        </p:nvSpPr>
        <p:spPr>
          <a:xfrm>
            <a:off x="4270617" y="6081756"/>
            <a:ext cx="2340000" cy="158761"/>
          </a:xfrm>
        </p:spPr>
        <p:txBody>
          <a:bodyPr wrap="square">
            <a:spAutoFit/>
          </a:bodyPr>
          <a:lstStyle>
            <a:lvl1pPr>
              <a:defRPr sz="1000" b="1" cap="all" spc="140" baseline="0">
                <a:solidFill>
                  <a:schemeClr val="bg1"/>
                </a:solidFill>
                <a:latin typeface="+mn-lt"/>
              </a:defRPr>
            </a:lvl1pPr>
          </a:lstStyle>
          <a:p>
            <a:pPr lvl="0"/>
            <a:r>
              <a:rPr lang="nl-NL"/>
              <a:t>Subtitel</a:t>
            </a:r>
            <a:endParaRPr lang="nl-NL" dirty="0"/>
          </a:p>
        </p:txBody>
      </p:sp>
    </p:spTree>
    <p:extLst>
      <p:ext uri="{BB962C8B-B14F-4D97-AF65-F5344CB8AC3E}">
        <p14:creationId xmlns:p14="http://schemas.microsoft.com/office/powerpoint/2010/main" val="2981388505"/>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Hoofdstuk Lichtblauw">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4"/>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43778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64407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175577"/>
            <a:ext cx="664014" cy="182744"/>
          </a:xfrm>
          <a:prstGeom prst="roundRect">
            <a:avLst>
              <a:gd name="adj" fmla="val 50000"/>
            </a:avLst>
          </a:prstGeom>
          <a:solidFill>
            <a:schemeClr val="bg1"/>
          </a:solidFill>
        </p:spPr>
        <p:txBody>
          <a:bodyPr wrap="none" lIns="108000" tIns="7200" rIns="108000" bIns="7200" anchor="ctr" anchorCtr="0">
            <a:spAutoFit/>
          </a:bodyPr>
          <a:lstStyle>
            <a:lvl1pPr marL="0" indent="0" algn="l">
              <a:lnSpc>
                <a:spcPct val="100000"/>
              </a:lnSpc>
              <a:buNone/>
              <a:defRPr sz="750" b="1" cap="all" baseline="0">
                <a:solidFill>
                  <a:schemeClr val="accent4"/>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ivisie</a:t>
            </a:r>
          </a:p>
        </p:txBody>
      </p:sp>
      <p:sp>
        <p:nvSpPr>
          <p:cNvPr id="2" name="Tijdelijke aanduiding voor tekst 2">
            <a:extLst>
              <a:ext uri="{FF2B5EF4-FFF2-40B4-BE49-F238E27FC236}">
                <a16:creationId xmlns:a16="http://schemas.microsoft.com/office/drawing/2014/main" id="{6EFEF2A0-F6EB-6D53-4F51-1362942845DC}"/>
              </a:ext>
            </a:extLst>
          </p:cNvPr>
          <p:cNvSpPr>
            <a:spLocks noGrp="1"/>
          </p:cNvSpPr>
          <p:nvPr>
            <p:ph type="body" idx="11" hasCustomPrompt="1"/>
          </p:nvPr>
        </p:nvSpPr>
        <p:spPr>
          <a:xfrm>
            <a:off x="152998" y="1963706"/>
            <a:ext cx="4536000" cy="119135"/>
          </a:xfrm>
        </p:spPr>
        <p:txBody>
          <a:bodyPr anchor="t" anchorCtr="0">
            <a:spAutoFit/>
          </a:bodyPr>
          <a:lstStyle>
            <a:lvl1pPr marL="0" indent="0">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3" name="Tijdelijke aanduiding voor voettekst 2">
            <a:extLst>
              <a:ext uri="{FF2B5EF4-FFF2-40B4-BE49-F238E27FC236}">
                <a16:creationId xmlns:a16="http://schemas.microsoft.com/office/drawing/2014/main" id="{07CEA9C8-F2AB-41D1-BC12-19936CA9C9FE}"/>
              </a:ext>
            </a:extLst>
          </p:cNvPr>
          <p:cNvSpPr>
            <a:spLocks noGrp="1"/>
          </p:cNvSpPr>
          <p:nvPr>
            <p:ph type="ftr" sz="quarter" idx="12"/>
          </p:nvPr>
        </p:nvSpPr>
        <p:spPr/>
        <p:txBody>
          <a:bodyPr/>
          <a:lstStyle/>
          <a:p>
            <a:endParaRPr lang="nl-NL" dirty="0"/>
          </a:p>
        </p:txBody>
      </p:sp>
      <p:sp>
        <p:nvSpPr>
          <p:cNvPr id="4" name="Tijdelijke aanduiding voor dianummer 3">
            <a:extLst>
              <a:ext uri="{FF2B5EF4-FFF2-40B4-BE49-F238E27FC236}">
                <a16:creationId xmlns:a16="http://schemas.microsoft.com/office/drawing/2014/main" id="{A5748D79-1649-4905-1747-AD0B5632718F}"/>
              </a:ext>
            </a:extLst>
          </p:cNvPr>
          <p:cNvSpPr>
            <a:spLocks noGrp="1"/>
          </p:cNvSpPr>
          <p:nvPr>
            <p:ph type="sldNum" sz="quarter" idx="13"/>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349074895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Hoofdstuk Oranje">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2"/>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43778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64407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175577"/>
            <a:ext cx="664014" cy="182744"/>
          </a:xfrm>
          <a:prstGeom prst="roundRect">
            <a:avLst>
              <a:gd name="adj" fmla="val 50000"/>
            </a:avLst>
          </a:prstGeom>
          <a:solidFill>
            <a:schemeClr val="bg1"/>
          </a:solidFill>
        </p:spPr>
        <p:txBody>
          <a:bodyPr wrap="none" lIns="108000" tIns="7200" rIns="108000" bIns="7200" anchor="ctr" anchorCtr="0">
            <a:spAutoFit/>
          </a:bodyPr>
          <a:lstStyle>
            <a:lvl1pPr marL="0" indent="0" algn="l">
              <a:lnSpc>
                <a:spcPct val="100000"/>
              </a:lnSpc>
              <a:buNone/>
              <a:defRPr sz="750" b="1" cap="all" baseline="0">
                <a:solidFill>
                  <a:schemeClr val="accent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ivisie</a:t>
            </a:r>
          </a:p>
        </p:txBody>
      </p:sp>
      <p:sp>
        <p:nvSpPr>
          <p:cNvPr id="2" name="Tijdelijke aanduiding voor tekst 2">
            <a:extLst>
              <a:ext uri="{FF2B5EF4-FFF2-40B4-BE49-F238E27FC236}">
                <a16:creationId xmlns:a16="http://schemas.microsoft.com/office/drawing/2014/main" id="{5DCAE896-7A8F-539D-127B-7C7609C06605}"/>
              </a:ext>
            </a:extLst>
          </p:cNvPr>
          <p:cNvSpPr>
            <a:spLocks noGrp="1"/>
          </p:cNvSpPr>
          <p:nvPr>
            <p:ph type="body" idx="11" hasCustomPrompt="1"/>
          </p:nvPr>
        </p:nvSpPr>
        <p:spPr>
          <a:xfrm>
            <a:off x="152998" y="1963706"/>
            <a:ext cx="4536000" cy="119135"/>
          </a:xfrm>
        </p:spPr>
        <p:txBody>
          <a:bodyPr anchor="t" anchorCtr="0">
            <a:spAutoFit/>
          </a:bodyPr>
          <a:lstStyle>
            <a:lvl1pPr marL="0" indent="0">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3" name="Tijdelijke aanduiding voor voettekst 2">
            <a:extLst>
              <a:ext uri="{FF2B5EF4-FFF2-40B4-BE49-F238E27FC236}">
                <a16:creationId xmlns:a16="http://schemas.microsoft.com/office/drawing/2014/main" id="{7CB356A9-F893-1569-D7AC-36A1C8D5EED5}"/>
              </a:ext>
            </a:extLst>
          </p:cNvPr>
          <p:cNvSpPr>
            <a:spLocks noGrp="1"/>
          </p:cNvSpPr>
          <p:nvPr>
            <p:ph type="ftr" sz="quarter" idx="12"/>
          </p:nvPr>
        </p:nvSpPr>
        <p:spPr/>
        <p:txBody>
          <a:bodyPr/>
          <a:lstStyle/>
          <a:p>
            <a:endParaRPr lang="nl-NL" dirty="0"/>
          </a:p>
        </p:txBody>
      </p:sp>
      <p:sp>
        <p:nvSpPr>
          <p:cNvPr id="4" name="Tijdelijke aanduiding voor dianummer 3">
            <a:extLst>
              <a:ext uri="{FF2B5EF4-FFF2-40B4-BE49-F238E27FC236}">
                <a16:creationId xmlns:a16="http://schemas.microsoft.com/office/drawing/2014/main" id="{A4FE9DB3-F066-EEF7-69B6-B4B74649A654}"/>
              </a:ext>
            </a:extLst>
          </p:cNvPr>
          <p:cNvSpPr>
            <a:spLocks noGrp="1"/>
          </p:cNvSpPr>
          <p:nvPr>
            <p:ph type="sldNum" sz="quarter" idx="13"/>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414704821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Hoofdstuk Groen">
    <p:spTree>
      <p:nvGrpSpPr>
        <p:cNvPr id="1" name=""/>
        <p:cNvGrpSpPr/>
        <p:nvPr/>
      </p:nvGrpSpPr>
      <p:grpSpPr>
        <a:xfrm>
          <a:off x="0" y="0"/>
          <a:ext cx="0" cy="0"/>
          <a:chOff x="0" y="0"/>
          <a:chExt cx="0" cy="0"/>
        </a:xfrm>
      </p:grpSpPr>
      <p:sp>
        <p:nvSpPr>
          <p:cNvPr id="15" name="Vrije vorm: vorm 14">
            <a:extLst>
              <a:ext uri="{FF2B5EF4-FFF2-40B4-BE49-F238E27FC236}">
                <a16:creationId xmlns:a16="http://schemas.microsoft.com/office/drawing/2014/main" id="{9D13BAE1-40E2-6D84-72AB-43BF78C8F636}"/>
              </a:ext>
            </a:extLst>
          </p:cNvPr>
          <p:cNvSpPr>
            <a:spLocks noGrp="1" noRot="1" noMove="1" noResize="1" noEditPoints="1" noAdjustHandles="1" noChangeArrowheads="1" noChangeShapeType="1"/>
          </p:cNvSpPr>
          <p:nvPr/>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3"/>
          </a:solidFill>
          <a:ln w="0" cap="flat">
            <a:noFill/>
            <a:prstDash val="solid"/>
            <a:miter/>
          </a:ln>
        </p:spPr>
        <p:txBody>
          <a:bodyPr rtlCol="0" anchor="ctr"/>
          <a:lstStyle/>
          <a:p>
            <a:endParaRPr lang="nl-NL" dirty="0"/>
          </a:p>
        </p:txBody>
      </p:sp>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437780"/>
            <a:ext cx="4536000" cy="1034899"/>
          </a:xfrm>
        </p:spPr>
        <p:txBody>
          <a:bodyPr anchor="t" anchorCtr="0"/>
          <a:lstStyle>
            <a:lvl1pPr algn="l">
              <a:defRPr sz="3000">
                <a:solidFill>
                  <a:schemeClr val="bg1"/>
                </a:solidFill>
              </a:defRPr>
            </a:lvl1pPr>
          </a:lstStyle>
          <a:p>
            <a:r>
              <a:rPr lang="nl-NL" dirty="0"/>
              <a:t>Titel over maximaal 4 regels</a:t>
            </a:r>
          </a:p>
        </p:txBody>
      </p:sp>
      <p:sp>
        <p:nvSpPr>
          <p:cNvPr id="9" name="Ondertitel 2">
            <a:extLst>
              <a:ext uri="{FF2B5EF4-FFF2-40B4-BE49-F238E27FC236}">
                <a16:creationId xmlns:a16="http://schemas.microsoft.com/office/drawing/2014/main" id="{83331C39-3F73-E347-63EA-836F2D531EE4}"/>
              </a:ext>
            </a:extLst>
          </p:cNvPr>
          <p:cNvSpPr>
            <a:spLocks noGrp="1"/>
          </p:cNvSpPr>
          <p:nvPr>
            <p:ph type="subTitle" idx="1" hasCustomPrompt="1"/>
          </p:nvPr>
        </p:nvSpPr>
        <p:spPr>
          <a:xfrm>
            <a:off x="152998" y="4644072"/>
            <a:ext cx="4536000" cy="238142"/>
          </a:xfrm>
        </p:spPr>
        <p:txBody>
          <a:bodyPr wrap="square">
            <a:spAutoFit/>
          </a:bodyPr>
          <a:lstStyle>
            <a:lvl1pPr marL="0" indent="0" algn="l">
              <a:buNone/>
              <a:defRPr sz="1500" cap="all" spc="19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175577"/>
            <a:ext cx="664014" cy="182744"/>
          </a:xfrm>
          <a:prstGeom prst="roundRect">
            <a:avLst>
              <a:gd name="adj" fmla="val 50000"/>
            </a:avLst>
          </a:prstGeom>
          <a:solidFill>
            <a:schemeClr val="bg1"/>
          </a:solidFill>
        </p:spPr>
        <p:txBody>
          <a:bodyPr wrap="none" lIns="108000" tIns="7200" rIns="108000" bIns="7200" anchor="ctr" anchorCtr="0">
            <a:spAutoFit/>
          </a:bodyPr>
          <a:lstStyle>
            <a:lvl1pPr marL="0" indent="0" algn="l">
              <a:lnSpc>
                <a:spcPct val="100000"/>
              </a:lnSpc>
              <a:buNone/>
              <a:defRPr sz="750" b="1" cap="all" baseline="0">
                <a:solidFill>
                  <a:schemeClr val="accent3"/>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ivisie</a:t>
            </a:r>
          </a:p>
        </p:txBody>
      </p:sp>
      <p:sp>
        <p:nvSpPr>
          <p:cNvPr id="2" name="Tijdelijke aanduiding voor tekst 2">
            <a:extLst>
              <a:ext uri="{FF2B5EF4-FFF2-40B4-BE49-F238E27FC236}">
                <a16:creationId xmlns:a16="http://schemas.microsoft.com/office/drawing/2014/main" id="{5DCAE896-7A8F-539D-127B-7C7609C06605}"/>
              </a:ext>
            </a:extLst>
          </p:cNvPr>
          <p:cNvSpPr>
            <a:spLocks noGrp="1"/>
          </p:cNvSpPr>
          <p:nvPr>
            <p:ph type="body" idx="11" hasCustomPrompt="1"/>
          </p:nvPr>
        </p:nvSpPr>
        <p:spPr>
          <a:xfrm>
            <a:off x="152998" y="1963706"/>
            <a:ext cx="4536000" cy="119135"/>
          </a:xfrm>
        </p:spPr>
        <p:txBody>
          <a:bodyPr anchor="t" anchorCtr="0">
            <a:spAutoFit/>
          </a:bodyPr>
          <a:lstStyle>
            <a:lvl1pPr marL="0" indent="0">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3" name="Tijdelijke aanduiding voor voettekst 2">
            <a:extLst>
              <a:ext uri="{FF2B5EF4-FFF2-40B4-BE49-F238E27FC236}">
                <a16:creationId xmlns:a16="http://schemas.microsoft.com/office/drawing/2014/main" id="{344E71C6-249E-F581-2130-FC7276D3BAED}"/>
              </a:ext>
            </a:extLst>
          </p:cNvPr>
          <p:cNvSpPr>
            <a:spLocks noGrp="1"/>
          </p:cNvSpPr>
          <p:nvPr>
            <p:ph type="ftr" sz="quarter" idx="12"/>
          </p:nvPr>
        </p:nvSpPr>
        <p:spPr/>
        <p:txBody>
          <a:bodyPr/>
          <a:lstStyle/>
          <a:p>
            <a:endParaRPr lang="nl-NL" dirty="0"/>
          </a:p>
        </p:txBody>
      </p:sp>
      <p:sp>
        <p:nvSpPr>
          <p:cNvPr id="4" name="Tijdelijke aanduiding voor dianummer 3">
            <a:extLst>
              <a:ext uri="{FF2B5EF4-FFF2-40B4-BE49-F238E27FC236}">
                <a16:creationId xmlns:a16="http://schemas.microsoft.com/office/drawing/2014/main" id="{55281369-865E-81B1-F12E-A8D277C09001}"/>
              </a:ext>
            </a:extLst>
          </p:cNvPr>
          <p:cNvSpPr>
            <a:spLocks noGrp="1"/>
          </p:cNvSpPr>
          <p:nvPr>
            <p:ph type="sldNum" sz="quarter" idx="13"/>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274706076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nhoudsopgave 10 onderwerpen">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D241DC53-8932-4409-275C-920AFA434D73}"/>
              </a:ext>
            </a:extLst>
          </p:cNvPr>
          <p:cNvSpPr>
            <a:spLocks noGrp="1" noRot="1" noMove="1" noResize="1" noEditPoints="1" noAdjustHandles="1" noChangeArrowheads="1" noChangeShapeType="1"/>
          </p:cNvSpPr>
          <p:nvPr userDrawn="1"/>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AD862033-4B5D-3FBF-39C5-AFBD786F10C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1628775"/>
            <a:ext cx="5400000" cy="503984"/>
          </a:xfrm>
        </p:spPr>
        <p:txBody>
          <a:bodyPr vert="horz"/>
          <a:lstStyle>
            <a:lvl1pPr>
              <a:defRPr>
                <a:solidFill>
                  <a:schemeClr val="bg1"/>
                </a:solidFill>
              </a:defRPr>
            </a:lvl1pPr>
          </a:lstStyle>
          <a:p>
            <a:r>
              <a:rPr lang="nl-NL"/>
              <a:t>Inhoudsopgave</a:t>
            </a:r>
            <a:endParaRPr lang="nl-NL" dirty="0"/>
          </a:p>
        </p:txBody>
      </p:sp>
      <p:sp>
        <p:nvSpPr>
          <p:cNvPr id="12" name="Text Placeholder 2">
            <a:extLst>
              <a:ext uri="{FF2B5EF4-FFF2-40B4-BE49-F238E27FC236}">
                <a16:creationId xmlns:a16="http://schemas.microsoft.com/office/drawing/2014/main" id="{639D643A-A65B-AA06-B726-9E110825E89A}"/>
              </a:ext>
            </a:extLst>
          </p:cNvPr>
          <p:cNvSpPr>
            <a:spLocks noGrp="1"/>
          </p:cNvSpPr>
          <p:nvPr>
            <p:ph type="body" idx="1" hasCustomPrompt="1"/>
          </p:nvPr>
        </p:nvSpPr>
        <p:spPr>
          <a:xfrm>
            <a:off x="695325" y="283559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3" name="Text Placeholder 2">
            <a:extLst>
              <a:ext uri="{FF2B5EF4-FFF2-40B4-BE49-F238E27FC236}">
                <a16:creationId xmlns:a16="http://schemas.microsoft.com/office/drawing/2014/main" id="{10A071AC-AE91-3994-36EC-D7DB38066252}"/>
              </a:ext>
            </a:extLst>
          </p:cNvPr>
          <p:cNvSpPr>
            <a:spLocks noGrp="1"/>
          </p:cNvSpPr>
          <p:nvPr>
            <p:ph type="body" idx="16" hasCustomPrompt="1"/>
          </p:nvPr>
        </p:nvSpPr>
        <p:spPr>
          <a:xfrm>
            <a:off x="695325" y="334295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4" name="Text Placeholder 2">
            <a:extLst>
              <a:ext uri="{FF2B5EF4-FFF2-40B4-BE49-F238E27FC236}">
                <a16:creationId xmlns:a16="http://schemas.microsoft.com/office/drawing/2014/main" id="{CB0ABB0A-E7B5-0072-1CC2-8B0E8341A7AF}"/>
              </a:ext>
            </a:extLst>
          </p:cNvPr>
          <p:cNvSpPr>
            <a:spLocks noGrp="1"/>
          </p:cNvSpPr>
          <p:nvPr>
            <p:ph type="body" idx="17" hasCustomPrompt="1"/>
          </p:nvPr>
        </p:nvSpPr>
        <p:spPr>
          <a:xfrm>
            <a:off x="695325" y="385032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5" name="Text Placeholder 2">
            <a:extLst>
              <a:ext uri="{FF2B5EF4-FFF2-40B4-BE49-F238E27FC236}">
                <a16:creationId xmlns:a16="http://schemas.microsoft.com/office/drawing/2014/main" id="{CDAB40C9-E9F1-6C20-2E99-6604DE500737}"/>
              </a:ext>
            </a:extLst>
          </p:cNvPr>
          <p:cNvSpPr>
            <a:spLocks noGrp="1"/>
          </p:cNvSpPr>
          <p:nvPr>
            <p:ph type="body" idx="18" hasCustomPrompt="1"/>
          </p:nvPr>
        </p:nvSpPr>
        <p:spPr>
          <a:xfrm>
            <a:off x="695325" y="435768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6" name="Text Placeholder 2">
            <a:extLst>
              <a:ext uri="{FF2B5EF4-FFF2-40B4-BE49-F238E27FC236}">
                <a16:creationId xmlns:a16="http://schemas.microsoft.com/office/drawing/2014/main" id="{5B7916D5-B48C-BFFD-9247-1A7ABD80D017}"/>
              </a:ext>
            </a:extLst>
          </p:cNvPr>
          <p:cNvSpPr>
            <a:spLocks noGrp="1"/>
          </p:cNvSpPr>
          <p:nvPr>
            <p:ph type="body" idx="19" hasCustomPrompt="1"/>
          </p:nvPr>
        </p:nvSpPr>
        <p:spPr>
          <a:xfrm>
            <a:off x="695325" y="486505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7" name="Text Placeholder 20">
            <a:extLst>
              <a:ext uri="{FF2B5EF4-FFF2-40B4-BE49-F238E27FC236}">
                <a16:creationId xmlns:a16="http://schemas.microsoft.com/office/drawing/2014/main" id="{6B98646E-4575-FE7A-5CF7-F4F7B47FF867}"/>
              </a:ext>
            </a:extLst>
          </p:cNvPr>
          <p:cNvSpPr>
            <a:spLocks noGrp="1"/>
          </p:cNvSpPr>
          <p:nvPr>
            <p:ph type="body" sz="quarter" idx="13" hasCustomPrompt="1"/>
          </p:nvPr>
        </p:nvSpPr>
        <p:spPr>
          <a:xfrm>
            <a:off x="1278255" y="2869248"/>
            <a:ext cx="3852000" cy="2520000"/>
          </a:xfrm>
        </p:spPr>
        <p:txBody>
          <a:bodyPr/>
          <a:lstStyle>
            <a:lvl1pPr>
              <a:spcAft>
                <a:spcPts val="2500"/>
              </a:spcAft>
              <a:defRPr>
                <a:solidFill>
                  <a:schemeClr val="bg1"/>
                </a:solidFill>
              </a:defRPr>
            </a:lvl1pPr>
            <a:lvl2pPr>
              <a:spcAft>
                <a:spcPts val="2500"/>
              </a:spcAft>
              <a:defRPr>
                <a:solidFill>
                  <a:schemeClr val="bg1"/>
                </a:solidFill>
              </a:defRPr>
            </a:lvl2pPr>
            <a:lvl3pPr>
              <a:spcAft>
                <a:spcPts val="2500"/>
              </a:spcAft>
              <a:defRPr>
                <a:solidFill>
                  <a:schemeClr val="bg1"/>
                </a:solidFill>
              </a:defRPr>
            </a:lvl3pPr>
            <a:lvl4pPr>
              <a:spcAft>
                <a:spcPts val="2500"/>
              </a:spcAft>
              <a:defRPr>
                <a:solidFill>
                  <a:schemeClr val="bg1"/>
                </a:solidFill>
              </a:defRPr>
            </a:lvl4pPr>
            <a:lvl5pPr>
              <a:spcAft>
                <a:spcPts val="2500"/>
              </a:spcAft>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8" name="Text Placeholder 2">
            <a:extLst>
              <a:ext uri="{FF2B5EF4-FFF2-40B4-BE49-F238E27FC236}">
                <a16:creationId xmlns:a16="http://schemas.microsoft.com/office/drawing/2014/main" id="{310618C3-57EA-CE75-78B7-FE8F111EDBDE}"/>
              </a:ext>
            </a:extLst>
          </p:cNvPr>
          <p:cNvSpPr>
            <a:spLocks noGrp="1"/>
          </p:cNvSpPr>
          <p:nvPr>
            <p:ph type="body" idx="20" hasCustomPrompt="1"/>
          </p:nvPr>
        </p:nvSpPr>
        <p:spPr>
          <a:xfrm>
            <a:off x="6078740" y="283559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19" name="Text Placeholder 2">
            <a:extLst>
              <a:ext uri="{FF2B5EF4-FFF2-40B4-BE49-F238E27FC236}">
                <a16:creationId xmlns:a16="http://schemas.microsoft.com/office/drawing/2014/main" id="{B6C5F0D9-7DA1-6A75-CD39-93DA326684D3}"/>
              </a:ext>
            </a:extLst>
          </p:cNvPr>
          <p:cNvSpPr>
            <a:spLocks noGrp="1"/>
          </p:cNvSpPr>
          <p:nvPr>
            <p:ph type="body" idx="21" hasCustomPrompt="1"/>
          </p:nvPr>
        </p:nvSpPr>
        <p:spPr>
          <a:xfrm>
            <a:off x="6078740" y="334295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0" name="Text Placeholder 2">
            <a:extLst>
              <a:ext uri="{FF2B5EF4-FFF2-40B4-BE49-F238E27FC236}">
                <a16:creationId xmlns:a16="http://schemas.microsoft.com/office/drawing/2014/main" id="{FF125E1D-7AF6-71AC-8EC3-B31D1FFE33E4}"/>
              </a:ext>
            </a:extLst>
          </p:cNvPr>
          <p:cNvSpPr>
            <a:spLocks noGrp="1"/>
          </p:cNvSpPr>
          <p:nvPr>
            <p:ph type="body" idx="22" hasCustomPrompt="1"/>
          </p:nvPr>
        </p:nvSpPr>
        <p:spPr>
          <a:xfrm>
            <a:off x="6078740" y="385032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1" name="Text Placeholder 2">
            <a:extLst>
              <a:ext uri="{FF2B5EF4-FFF2-40B4-BE49-F238E27FC236}">
                <a16:creationId xmlns:a16="http://schemas.microsoft.com/office/drawing/2014/main" id="{9709D5EA-C8A9-9955-2323-7FD3FD82D1F4}"/>
              </a:ext>
            </a:extLst>
          </p:cNvPr>
          <p:cNvSpPr>
            <a:spLocks noGrp="1"/>
          </p:cNvSpPr>
          <p:nvPr>
            <p:ph type="body" idx="23" hasCustomPrompt="1"/>
          </p:nvPr>
        </p:nvSpPr>
        <p:spPr>
          <a:xfrm>
            <a:off x="6078740" y="4357688"/>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2" name="Text Placeholder 2">
            <a:extLst>
              <a:ext uri="{FF2B5EF4-FFF2-40B4-BE49-F238E27FC236}">
                <a16:creationId xmlns:a16="http://schemas.microsoft.com/office/drawing/2014/main" id="{5801E537-13BB-0AA2-71E0-581804C412E6}"/>
              </a:ext>
            </a:extLst>
          </p:cNvPr>
          <p:cNvSpPr>
            <a:spLocks noGrp="1"/>
          </p:cNvSpPr>
          <p:nvPr>
            <p:ph type="body" idx="24" hasCustomPrompt="1"/>
          </p:nvPr>
        </p:nvSpPr>
        <p:spPr>
          <a:xfrm>
            <a:off x="6078740" y="4865053"/>
            <a:ext cx="313251" cy="313251"/>
          </a:xfrm>
          <a:prstGeom prst="ellipse">
            <a:avLst/>
          </a:prstGeom>
          <a:solidFill>
            <a:schemeClr val="bg1"/>
          </a:solidFill>
        </p:spPr>
        <p:txBody>
          <a:bodyPr wrap="none" anchor="ctr" anchorCtr="0"/>
          <a:lstStyle>
            <a:lvl1pPr marL="0" indent="0" algn="ctr">
              <a:lnSpc>
                <a:spcPct val="75000"/>
              </a:lnSpc>
              <a:buNone/>
              <a:defRPr sz="12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GB" dirty="0"/>
          </a:p>
        </p:txBody>
      </p:sp>
      <p:sp>
        <p:nvSpPr>
          <p:cNvPr id="23" name="Text Placeholder 20">
            <a:extLst>
              <a:ext uri="{FF2B5EF4-FFF2-40B4-BE49-F238E27FC236}">
                <a16:creationId xmlns:a16="http://schemas.microsoft.com/office/drawing/2014/main" id="{2BAB7DCA-C198-F8BC-20B1-97702E15B5AB}"/>
              </a:ext>
            </a:extLst>
          </p:cNvPr>
          <p:cNvSpPr>
            <a:spLocks noGrp="1"/>
          </p:cNvSpPr>
          <p:nvPr>
            <p:ph type="body" sz="quarter" idx="25" hasCustomPrompt="1"/>
          </p:nvPr>
        </p:nvSpPr>
        <p:spPr>
          <a:xfrm>
            <a:off x="6661670" y="2869248"/>
            <a:ext cx="3852000" cy="2520000"/>
          </a:xfrm>
        </p:spPr>
        <p:txBody>
          <a:bodyPr/>
          <a:lstStyle>
            <a:lvl1pPr>
              <a:spcAft>
                <a:spcPts val="2500"/>
              </a:spcAft>
              <a:defRPr>
                <a:solidFill>
                  <a:schemeClr val="bg1"/>
                </a:solidFill>
              </a:defRPr>
            </a:lvl1pPr>
            <a:lvl2pPr>
              <a:spcAft>
                <a:spcPts val="2500"/>
              </a:spcAft>
              <a:defRPr>
                <a:solidFill>
                  <a:schemeClr val="bg1"/>
                </a:solidFill>
              </a:defRPr>
            </a:lvl2pPr>
            <a:lvl3pPr>
              <a:spcAft>
                <a:spcPts val="2500"/>
              </a:spcAft>
              <a:defRPr>
                <a:solidFill>
                  <a:schemeClr val="bg1"/>
                </a:solidFill>
              </a:defRPr>
            </a:lvl3pPr>
            <a:lvl4pPr>
              <a:spcAft>
                <a:spcPts val="2500"/>
              </a:spcAft>
              <a:defRPr>
                <a:solidFill>
                  <a:schemeClr val="bg1"/>
                </a:solidFill>
              </a:defRPr>
            </a:lvl4pPr>
            <a:lvl5pPr>
              <a:spcAft>
                <a:spcPts val="2500"/>
              </a:spcAft>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18873675"/>
      </p:ext>
    </p:extLst>
  </p:cSld>
  <p:clrMapOvr>
    <a:masterClrMapping/>
  </p:clrMapOvr>
  <p:extLst>
    <p:ext uri="{DCECCB84-F9BA-43D5-87BE-67443E8EF086}">
      <p15:sldGuideLst xmlns:p15="http://schemas.microsoft.com/office/powerpoint/2012/main">
        <p15:guide id="1" orient="horz" pos="1026">
          <p15:clr>
            <a:srgbClr val="FBAE40"/>
          </p15:clr>
        </p15:guide>
        <p15:guide id="2" pos="438">
          <p15:clr>
            <a:srgbClr val="FBAE40"/>
          </p15:clr>
        </p15:guide>
        <p15:guide id="3" pos="728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4" y="2635885"/>
            <a:ext cx="5400000" cy="503984"/>
          </a:xfrm>
        </p:spPr>
        <p:txBody>
          <a:bodyPr vert="horz"/>
          <a:lstStyle>
            <a:lvl1pPr>
              <a:defRPr/>
            </a:lvl1pPr>
          </a:lstStyle>
          <a:p>
            <a:r>
              <a:rPr lang="nl-NL" dirty="0"/>
              <a:t>Titel</a:t>
            </a:r>
          </a:p>
        </p:txBody>
      </p:sp>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6851650" y="1341438"/>
            <a:ext cx="4716463" cy="431958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2" name="Afbeelding 11">
            <a:extLst>
              <a:ext uri="{FF2B5EF4-FFF2-40B4-BE49-F238E27FC236}">
                <a16:creationId xmlns:a16="http://schemas.microsoft.com/office/drawing/2014/main" id="{236ADF54-02CF-5E15-A09D-8435106A6784}"/>
              </a:ext>
            </a:extLst>
          </p:cNvPr>
          <p:cNvPicPr>
            <a:picLocks noChangeAspect="1"/>
          </p:cNvPicPr>
          <p:nvPr userDrawn="1"/>
        </p:nvPicPr>
        <p:blipFill>
          <a:blip r:embed="rId2"/>
          <a:stretch>
            <a:fillRect/>
          </a:stretch>
        </p:blipFill>
        <p:spPr>
          <a:xfrm>
            <a:off x="12192000" y="1352172"/>
            <a:ext cx="1731414" cy="2853175"/>
          </a:xfrm>
          <a:prstGeom prst="rect">
            <a:avLst/>
          </a:prstGeom>
        </p:spPr>
      </p:pic>
    </p:spTree>
    <p:extLst>
      <p:ext uri="{BB962C8B-B14F-4D97-AF65-F5344CB8AC3E}">
        <p14:creationId xmlns:p14="http://schemas.microsoft.com/office/powerpoint/2010/main" val="1055968211"/>
      </p:ext>
    </p:extLst>
  </p:cSld>
  <p:clrMapOvr>
    <a:masterClrMapping/>
  </p:clrMapOvr>
  <p:extLst>
    <p:ext uri="{DCECCB84-F9BA-43D5-87BE-67443E8EF086}">
      <p15:sldGuideLst xmlns:p15="http://schemas.microsoft.com/office/powerpoint/2012/main">
        <p15:guide id="1" orient="horz" pos="845">
          <p15:clr>
            <a:srgbClr val="FBAE40"/>
          </p15:clr>
        </p15:guide>
        <p15:guide id="2" pos="438">
          <p15:clr>
            <a:srgbClr val="FBAE40"/>
          </p15:clr>
        </p15:guide>
        <p15:guide id="3" pos="7287">
          <p15:clr>
            <a:srgbClr val="FBAE40"/>
          </p15:clr>
        </p15:guide>
        <p15:guide id="4" pos="4316">
          <p15:clr>
            <a:srgbClr val="FBAE40"/>
          </p15:clr>
        </p15:guide>
        <p15:guide id="5" orient="horz" pos="356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 inleiding en teks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DB6239-2868-10EB-5A9F-219155FE37BA}"/>
              </a:ext>
            </a:extLst>
          </p:cNvPr>
          <p:cNvGraphicFramePr>
            <a:graphicFrameLocks noChangeAspect="1"/>
          </p:cNvGraphicFramePr>
          <p:nvPr userDrawn="1">
            <p:custDataLst>
              <p:tags r:id="rId1"/>
            </p:custDataLst>
            <p:extLst>
              <p:ext uri="{D42A27DB-BD31-4B8C-83A1-F6EECF244321}">
                <p14:modId xmlns:p14="http://schemas.microsoft.com/office/powerpoint/2010/main" val="335922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think-cell data - do not delete" hidden="1">
                        <a:extLst>
                          <a:ext uri="{FF2B5EF4-FFF2-40B4-BE49-F238E27FC236}">
                            <a16:creationId xmlns:a16="http://schemas.microsoft.com/office/drawing/2014/main" id="{F5DB6239-2868-10EB-5A9F-219155FE37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1628775"/>
            <a:ext cx="5400000"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hasCustomPrompt="1"/>
          </p:nvPr>
        </p:nvSpPr>
        <p:spPr>
          <a:xfrm>
            <a:off x="695325" y="3861119"/>
            <a:ext cx="4374515" cy="1440000"/>
          </a:xfrm>
        </p:spPr>
        <p:txBody>
          <a:bodyPr/>
          <a:lstStyle>
            <a:lvl1pPr>
              <a:defRPr>
                <a:solidFill>
                  <a:schemeClr val="tx2"/>
                </a:solidFill>
              </a:defRPr>
            </a:lvl1pPr>
          </a:lstStyle>
          <a:p>
            <a:pPr lvl="0"/>
            <a:r>
              <a:rPr lang="nl-NL" dirty="0"/>
              <a:t>Inleiding</a:t>
            </a:r>
          </a:p>
        </p:txBody>
      </p:sp>
      <p:sp>
        <p:nvSpPr>
          <p:cNvPr id="8" name="Tijdelijke aanduiding voor tekst 8">
            <a:extLst>
              <a:ext uri="{FF2B5EF4-FFF2-40B4-BE49-F238E27FC236}">
                <a16:creationId xmlns:a16="http://schemas.microsoft.com/office/drawing/2014/main" id="{9252D704-6BC8-C741-DFF5-B632B4765648}"/>
              </a:ext>
            </a:extLst>
          </p:cNvPr>
          <p:cNvSpPr>
            <a:spLocks noGrp="1"/>
          </p:cNvSpPr>
          <p:nvPr>
            <p:ph type="body" sz="quarter" idx="14"/>
          </p:nvPr>
        </p:nvSpPr>
        <p:spPr>
          <a:xfrm>
            <a:off x="5537200" y="3861119"/>
            <a:ext cx="6030913" cy="1440000"/>
          </a:xfrm>
        </p:spPr>
        <p:txBody>
          <a:bodyPr/>
          <a:lstStyle>
            <a:lvl1pPr>
              <a:lnSpc>
                <a:spcPct val="112000"/>
              </a:lnSpc>
              <a:defRPr sz="1000">
                <a:solidFill>
                  <a:schemeClr val="tx2"/>
                </a:solidFill>
              </a:defRPr>
            </a:lvl1pPr>
            <a:lvl2pPr>
              <a:lnSpc>
                <a:spcPct val="112000"/>
              </a:lnSpc>
              <a:defRPr sz="1000">
                <a:solidFill>
                  <a:schemeClr val="tx2"/>
                </a:solidFill>
              </a:defRPr>
            </a:lvl2pPr>
            <a:lvl3pPr>
              <a:lnSpc>
                <a:spcPct val="112000"/>
              </a:lnSpc>
              <a:defRPr sz="1000">
                <a:solidFill>
                  <a:schemeClr val="tx2"/>
                </a:solidFill>
              </a:defRPr>
            </a:lvl3pPr>
            <a:lvl4pPr>
              <a:lnSpc>
                <a:spcPct val="112000"/>
              </a:lnSpc>
              <a:defRPr sz="1000">
                <a:solidFill>
                  <a:schemeClr val="tx2"/>
                </a:solidFill>
              </a:defRPr>
            </a:lvl4pPr>
            <a:lvl5pPr>
              <a:lnSpc>
                <a:spcPct val="112000"/>
              </a:lnSpc>
              <a:defRPr sz="1000">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22" name="Afbeelding 21">
            <a:extLst>
              <a:ext uri="{FF2B5EF4-FFF2-40B4-BE49-F238E27FC236}">
                <a16:creationId xmlns:a16="http://schemas.microsoft.com/office/drawing/2014/main" id="{224619ED-F4FF-29CB-31C2-988E0EDE2E1F}"/>
              </a:ext>
            </a:extLst>
          </p:cNvPr>
          <p:cNvPicPr>
            <a:picLocks noChangeAspect="1"/>
          </p:cNvPicPr>
          <p:nvPr userDrawn="1"/>
        </p:nvPicPr>
        <p:blipFill>
          <a:blip r:embed="rId5"/>
          <a:stretch>
            <a:fillRect/>
          </a:stretch>
        </p:blipFill>
        <p:spPr>
          <a:xfrm>
            <a:off x="12192000" y="3546732"/>
            <a:ext cx="1731414" cy="2853175"/>
          </a:xfrm>
          <a:prstGeom prst="rect">
            <a:avLst/>
          </a:prstGeom>
        </p:spPr>
      </p:pic>
    </p:spTree>
    <p:extLst>
      <p:ext uri="{BB962C8B-B14F-4D97-AF65-F5344CB8AC3E}">
        <p14:creationId xmlns:p14="http://schemas.microsoft.com/office/powerpoint/2010/main" val="2427369594"/>
      </p:ext>
    </p:extLst>
  </p:cSld>
  <p:clrMapOvr>
    <a:masterClrMapping/>
  </p:clrMapOvr>
  <p:extLst>
    <p:ext uri="{DCECCB84-F9BA-43D5-87BE-67443E8EF086}">
      <p15:sldGuideLst xmlns:p15="http://schemas.microsoft.com/office/powerpoint/2012/main">
        <p15:guide id="1" orient="horz" pos="1026">
          <p15:clr>
            <a:srgbClr val="FBAE40"/>
          </p15:clr>
        </p15:guide>
        <p15:guide id="2" pos="438">
          <p15:clr>
            <a:srgbClr val="FBAE40"/>
          </p15:clr>
        </p15:guide>
        <p15:guide id="3" pos="728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 inleiding en tekst donker">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D241DC53-8932-4409-275C-920AFA434D73}"/>
              </a:ext>
            </a:extLst>
          </p:cNvPr>
          <p:cNvSpPr>
            <a:spLocks noGrp="1" noRot="1" noMove="1" noResize="1" noEditPoints="1" noAdjustHandles="1" noChangeArrowheads="1" noChangeShapeType="1"/>
          </p:cNvSpPr>
          <p:nvPr userDrawn="1"/>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AD862033-4B5D-3FBF-39C5-AFBD786F10C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1628775"/>
            <a:ext cx="5400000" cy="503984"/>
          </a:xfrm>
        </p:spPr>
        <p:txBody>
          <a:bodyPr vert="horz"/>
          <a:lstStyle>
            <a:lvl1pPr>
              <a:defRPr>
                <a:solidFill>
                  <a:schemeClr val="bg1"/>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hasCustomPrompt="1"/>
          </p:nvPr>
        </p:nvSpPr>
        <p:spPr>
          <a:xfrm>
            <a:off x="695325" y="3861119"/>
            <a:ext cx="4374515" cy="1345882"/>
          </a:xfrm>
        </p:spPr>
        <p:txBody>
          <a:bodyPr/>
          <a:lstStyle>
            <a:lvl1pPr>
              <a:defRPr>
                <a:solidFill>
                  <a:schemeClr val="bg1"/>
                </a:solidFill>
              </a:defRPr>
            </a:lvl1pPr>
          </a:lstStyle>
          <a:p>
            <a:pPr lvl="0"/>
            <a:r>
              <a:rPr lang="nl-NL" dirty="0"/>
              <a:t>Inleiding</a:t>
            </a:r>
          </a:p>
        </p:txBody>
      </p:sp>
      <p:sp>
        <p:nvSpPr>
          <p:cNvPr id="8" name="Tijdelijke aanduiding voor tekst 8">
            <a:extLst>
              <a:ext uri="{FF2B5EF4-FFF2-40B4-BE49-F238E27FC236}">
                <a16:creationId xmlns:a16="http://schemas.microsoft.com/office/drawing/2014/main" id="{9252D704-6BC8-C741-DFF5-B632B4765648}"/>
              </a:ext>
            </a:extLst>
          </p:cNvPr>
          <p:cNvSpPr>
            <a:spLocks noGrp="1"/>
          </p:cNvSpPr>
          <p:nvPr>
            <p:ph type="body" sz="quarter" idx="14"/>
          </p:nvPr>
        </p:nvSpPr>
        <p:spPr>
          <a:xfrm>
            <a:off x="5537200" y="3861119"/>
            <a:ext cx="6030913" cy="1345882"/>
          </a:xfrm>
        </p:spPr>
        <p:txBody>
          <a:bodyPr/>
          <a:lstStyle>
            <a:lvl1pPr>
              <a:lnSpc>
                <a:spcPct val="112000"/>
              </a:lnSpc>
              <a:defRPr sz="1000">
                <a:solidFill>
                  <a:schemeClr val="bg1"/>
                </a:solidFill>
              </a:defRPr>
            </a:lvl1pPr>
            <a:lvl2pPr>
              <a:lnSpc>
                <a:spcPct val="112000"/>
              </a:lnSpc>
              <a:defRPr sz="1000">
                <a:solidFill>
                  <a:schemeClr val="bg1"/>
                </a:solidFill>
              </a:defRPr>
            </a:lvl2pPr>
            <a:lvl3pPr>
              <a:lnSpc>
                <a:spcPct val="112000"/>
              </a:lnSpc>
              <a:defRPr sz="1000">
                <a:solidFill>
                  <a:schemeClr val="bg1"/>
                </a:solidFill>
              </a:defRPr>
            </a:lvl3pPr>
            <a:lvl4pPr>
              <a:lnSpc>
                <a:spcPct val="112000"/>
              </a:lnSpc>
              <a:defRPr sz="1000">
                <a:solidFill>
                  <a:schemeClr val="bg1"/>
                </a:solidFill>
              </a:defRPr>
            </a:lvl4pPr>
            <a:lvl5pPr>
              <a:lnSpc>
                <a:spcPct val="112000"/>
              </a:lnSpc>
              <a:defRPr sz="1000">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0" name="Afbeelding 9">
            <a:extLst>
              <a:ext uri="{FF2B5EF4-FFF2-40B4-BE49-F238E27FC236}">
                <a16:creationId xmlns:a16="http://schemas.microsoft.com/office/drawing/2014/main" id="{4A2A807A-5F57-18AC-336F-FF99A15D3A43}"/>
              </a:ext>
            </a:extLst>
          </p:cNvPr>
          <p:cNvPicPr>
            <a:picLocks noChangeAspect="1"/>
          </p:cNvPicPr>
          <p:nvPr userDrawn="1"/>
        </p:nvPicPr>
        <p:blipFill>
          <a:blip r:embed="rId4"/>
          <a:stretch>
            <a:fillRect/>
          </a:stretch>
        </p:blipFill>
        <p:spPr>
          <a:xfrm>
            <a:off x="12192000" y="3546732"/>
            <a:ext cx="1731414" cy="2853175"/>
          </a:xfrm>
          <a:prstGeom prst="rect">
            <a:avLst/>
          </a:prstGeom>
        </p:spPr>
      </p:pic>
    </p:spTree>
    <p:extLst>
      <p:ext uri="{BB962C8B-B14F-4D97-AF65-F5344CB8AC3E}">
        <p14:creationId xmlns:p14="http://schemas.microsoft.com/office/powerpoint/2010/main" val="2572802697"/>
      </p:ext>
    </p:extLst>
  </p:cSld>
  <p:clrMapOvr>
    <a:masterClrMapping/>
  </p:clrMapOvr>
  <p:extLst>
    <p:ext uri="{DCECCB84-F9BA-43D5-87BE-67443E8EF086}">
      <p15:sldGuideLst xmlns:p15="http://schemas.microsoft.com/office/powerpoint/2012/main">
        <p15:guide id="1" orient="horz" pos="1026">
          <p15:clr>
            <a:srgbClr val="FBAE40"/>
          </p15:clr>
        </p15:guide>
        <p15:guide id="2" pos="438">
          <p15:clr>
            <a:srgbClr val="FBAE40"/>
          </p15:clr>
        </p15:guide>
        <p15:guide id="3" pos="728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fbeelding en tekst">
    <p:spTree>
      <p:nvGrpSpPr>
        <p:cNvPr id="1" name=""/>
        <p:cNvGrpSpPr/>
        <p:nvPr/>
      </p:nvGrpSpPr>
      <p:grpSpPr>
        <a:xfrm>
          <a:off x="0" y="0"/>
          <a:ext cx="0" cy="0"/>
          <a:chOff x="0" y="0"/>
          <a:chExt cx="0" cy="0"/>
        </a:xfrm>
      </p:grpSpPr>
      <p:sp>
        <p:nvSpPr>
          <p:cNvPr id="16" name="Vrije vorm: vorm 15">
            <a:extLst>
              <a:ext uri="{FF2B5EF4-FFF2-40B4-BE49-F238E27FC236}">
                <a16:creationId xmlns:a16="http://schemas.microsoft.com/office/drawing/2014/main" id="{CA392DAE-485C-AC03-A923-4A0D897A17B7}"/>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sp>
        <p:nvSpPr>
          <p:cNvPr id="14" name="Afbeeldingsplaceholder">
            <a:extLst>
              <a:ext uri="{FF2B5EF4-FFF2-40B4-BE49-F238E27FC236}">
                <a16:creationId xmlns:a16="http://schemas.microsoft.com/office/drawing/2014/main" id="{9DE4F0B2-E5E3-5C4B-F951-8FECC40C2686}"/>
              </a:ext>
            </a:extLst>
          </p:cNvPr>
          <p:cNvSpPr>
            <a:spLocks noGrp="1" noRot="1" noMove="1" noResize="1" noEditPoints="1" noAdjustHandles="1" noChangeArrowheads="1" noChangeShapeType="1"/>
          </p:cNvSpPr>
          <p:nvPr>
            <p:ph type="pic" sz="quarter" idx="14"/>
          </p:nvPr>
        </p:nvSpPr>
        <p:spPr>
          <a:xfrm>
            <a:off x="127000" y="127000"/>
            <a:ext cx="4597400" cy="6604000"/>
          </a:xfrm>
          <a:custGeom>
            <a:avLst/>
            <a:gdLst>
              <a:gd name="connsiteX0" fmla="*/ 1758950 w 4597400"/>
              <a:gd name="connsiteY0" fmla="*/ 0 h 6604000"/>
              <a:gd name="connsiteX1" fmla="*/ 3876675 w 4597400"/>
              <a:gd name="connsiteY1" fmla="*/ 0 h 6604000"/>
              <a:gd name="connsiteX2" fmla="*/ 4003675 w 4597400"/>
              <a:gd name="connsiteY2" fmla="*/ 127000 h 6604000"/>
              <a:gd name="connsiteX3" fmla="*/ 4003675 w 4597400"/>
              <a:gd name="connsiteY3" fmla="*/ 441325 h 6604000"/>
              <a:gd name="connsiteX4" fmla="*/ 4130675 w 4597400"/>
              <a:gd name="connsiteY4" fmla="*/ 568325 h 6604000"/>
              <a:gd name="connsiteX5" fmla="*/ 4470400 w 4597400"/>
              <a:gd name="connsiteY5" fmla="*/ 568325 h 6604000"/>
              <a:gd name="connsiteX6" fmla="*/ 4597400 w 4597400"/>
              <a:gd name="connsiteY6" fmla="*/ 695325 h 6604000"/>
              <a:gd name="connsiteX7" fmla="*/ 4597400 w 4597400"/>
              <a:gd name="connsiteY7" fmla="*/ 6019991 h 6604000"/>
              <a:gd name="connsiteX8" fmla="*/ 4470400 w 4597400"/>
              <a:gd name="connsiteY8" fmla="*/ 6146991 h 6604000"/>
              <a:gd name="connsiteX9" fmla="*/ 3914140 w 4597400"/>
              <a:gd name="connsiteY9" fmla="*/ 6146991 h 6604000"/>
              <a:gd name="connsiteX10" fmla="*/ 3787140 w 4597400"/>
              <a:gd name="connsiteY10" fmla="*/ 6273991 h 6604000"/>
              <a:gd name="connsiteX11" fmla="*/ 3787140 w 4597400"/>
              <a:gd name="connsiteY11" fmla="*/ 6477000 h 6604000"/>
              <a:gd name="connsiteX12" fmla="*/ 3660140 w 4597400"/>
              <a:gd name="connsiteY12" fmla="*/ 6604000 h 6604000"/>
              <a:gd name="connsiteX13" fmla="*/ 127000 w 4597400"/>
              <a:gd name="connsiteY13" fmla="*/ 6604000 h 6604000"/>
              <a:gd name="connsiteX14" fmla="*/ 0 w 4597400"/>
              <a:gd name="connsiteY14" fmla="*/ 6477000 h 6604000"/>
              <a:gd name="connsiteX15" fmla="*/ 0 w 4597400"/>
              <a:gd name="connsiteY15" fmla="*/ 822325 h 6604000"/>
              <a:gd name="connsiteX16" fmla="*/ 127000 w 4597400"/>
              <a:gd name="connsiteY16" fmla="*/ 695325 h 6604000"/>
              <a:gd name="connsiteX17" fmla="*/ 1504950 w 4597400"/>
              <a:gd name="connsiteY17" fmla="*/ 695325 h 6604000"/>
              <a:gd name="connsiteX18" fmla="*/ 1631950 w 4597400"/>
              <a:gd name="connsiteY18" fmla="*/ 568325 h 6604000"/>
              <a:gd name="connsiteX19" fmla="*/ 1631950 w 4597400"/>
              <a:gd name="connsiteY19" fmla="*/ 127000 h 6604000"/>
              <a:gd name="connsiteX20" fmla="*/ 1758950 w 4597400"/>
              <a:gd name="connsiteY20"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97400" h="6604000">
                <a:moveTo>
                  <a:pt x="1758950" y="0"/>
                </a:moveTo>
                <a:lnTo>
                  <a:pt x="3876675" y="0"/>
                </a:lnTo>
                <a:cubicBezTo>
                  <a:pt x="3946525" y="0"/>
                  <a:pt x="4003675" y="56833"/>
                  <a:pt x="4003675" y="127000"/>
                </a:cubicBezTo>
                <a:lnTo>
                  <a:pt x="4003675" y="441325"/>
                </a:lnTo>
                <a:cubicBezTo>
                  <a:pt x="4003675" y="511493"/>
                  <a:pt x="4060825" y="568325"/>
                  <a:pt x="4130675" y="568325"/>
                </a:cubicBezTo>
                <a:lnTo>
                  <a:pt x="4470400" y="568325"/>
                </a:lnTo>
                <a:cubicBezTo>
                  <a:pt x="4540250" y="568325"/>
                  <a:pt x="4597400" y="625158"/>
                  <a:pt x="4597400" y="695325"/>
                </a:cubicBezTo>
                <a:lnTo>
                  <a:pt x="4597400" y="6019991"/>
                </a:lnTo>
                <a:cubicBezTo>
                  <a:pt x="4597400" y="6090095"/>
                  <a:pt x="4540250" y="6146991"/>
                  <a:pt x="4470400" y="6146991"/>
                </a:cubicBezTo>
                <a:lnTo>
                  <a:pt x="3914140" y="6146991"/>
                </a:lnTo>
                <a:cubicBezTo>
                  <a:pt x="3844290" y="6146991"/>
                  <a:pt x="3787140" y="6203823"/>
                  <a:pt x="3787140" y="6273991"/>
                </a:cubicBezTo>
                <a:lnTo>
                  <a:pt x="3787140" y="6477000"/>
                </a:lnTo>
                <a:cubicBezTo>
                  <a:pt x="3787140" y="6547168"/>
                  <a:pt x="3730625" y="6604000"/>
                  <a:pt x="3660140" y="6604000"/>
                </a:cubicBezTo>
                <a:lnTo>
                  <a:pt x="127000" y="6604000"/>
                </a:lnTo>
                <a:cubicBezTo>
                  <a:pt x="57150" y="6604000"/>
                  <a:pt x="0" y="6547168"/>
                  <a:pt x="0" y="6477000"/>
                </a:cubicBezTo>
                <a:lnTo>
                  <a:pt x="0" y="822325"/>
                </a:lnTo>
                <a:cubicBezTo>
                  <a:pt x="0" y="752158"/>
                  <a:pt x="57150" y="695325"/>
                  <a:pt x="127000" y="695325"/>
                </a:cubicBezTo>
                <a:lnTo>
                  <a:pt x="1504950" y="695325"/>
                </a:lnTo>
                <a:cubicBezTo>
                  <a:pt x="1574800" y="695325"/>
                  <a:pt x="1631950" y="638493"/>
                  <a:pt x="1631950" y="568325"/>
                </a:cubicBezTo>
                <a:lnTo>
                  <a:pt x="1631950" y="127000"/>
                </a:lnTo>
                <a:cubicBezTo>
                  <a:pt x="1631950" y="56833"/>
                  <a:pt x="1689100" y="0"/>
                  <a:pt x="175895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17" name="Logo">
            <a:extLst>
              <a:ext uri="{FF2B5EF4-FFF2-40B4-BE49-F238E27FC236}">
                <a16:creationId xmlns:a16="http://schemas.microsoft.com/office/drawing/2014/main" id="{5B31E6FF-A20F-E3F2-A345-468A383583EE}"/>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5340350" y="1457325"/>
            <a:ext cx="6227570"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5340350" y="3943350"/>
            <a:ext cx="6227763" cy="17176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Ondertitel 2">
            <a:extLst>
              <a:ext uri="{FF2B5EF4-FFF2-40B4-BE49-F238E27FC236}">
                <a16:creationId xmlns:a16="http://schemas.microsoft.com/office/drawing/2014/main" id="{E84D2E3A-ED5E-EA46-0E28-A013DA6FEFE7}"/>
              </a:ext>
            </a:extLst>
          </p:cNvPr>
          <p:cNvSpPr>
            <a:spLocks noGrp="1"/>
          </p:cNvSpPr>
          <p:nvPr>
            <p:ph type="subTitle" idx="1" hasCustomPrompt="1"/>
          </p:nvPr>
        </p:nvSpPr>
        <p:spPr>
          <a:xfrm>
            <a:off x="5340349" y="3372480"/>
            <a:ext cx="6227763"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pic>
        <p:nvPicPr>
          <p:cNvPr id="18" name="Afbeelding 17">
            <a:extLst>
              <a:ext uri="{FF2B5EF4-FFF2-40B4-BE49-F238E27FC236}">
                <a16:creationId xmlns:a16="http://schemas.microsoft.com/office/drawing/2014/main" id="{9FE87218-D5DB-2AD7-8F82-94BA7F32C655}"/>
              </a:ext>
            </a:extLst>
          </p:cNvPr>
          <p:cNvPicPr>
            <a:picLocks noChangeAspect="1"/>
          </p:cNvPicPr>
          <p:nvPr userDrawn="1"/>
        </p:nvPicPr>
        <p:blipFill>
          <a:blip r:embed="rId4"/>
          <a:stretch>
            <a:fillRect/>
          </a:stretch>
        </p:blipFill>
        <p:spPr>
          <a:xfrm>
            <a:off x="12192000" y="3546732"/>
            <a:ext cx="1731414" cy="2853175"/>
          </a:xfrm>
          <a:prstGeom prst="rect">
            <a:avLst/>
          </a:prstGeom>
        </p:spPr>
      </p:pic>
    </p:spTree>
    <p:extLst>
      <p:ext uri="{BB962C8B-B14F-4D97-AF65-F5344CB8AC3E}">
        <p14:creationId xmlns:p14="http://schemas.microsoft.com/office/powerpoint/2010/main" val="1829461609"/>
      </p:ext>
    </p:extLst>
  </p:cSld>
  <p:clrMapOvr>
    <a:masterClrMapping/>
  </p:clrMapOvr>
  <p:extLst>
    <p:ext uri="{DCECCB84-F9BA-43D5-87BE-67443E8EF086}">
      <p15:sldGuideLst xmlns:p15="http://schemas.microsoft.com/office/powerpoint/2012/main">
        <p15:guide id="1" orient="horz" pos="918">
          <p15:clr>
            <a:srgbClr val="FBAE40"/>
          </p15:clr>
        </p15:guide>
        <p15:guide id="2" pos="438">
          <p15:clr>
            <a:srgbClr val="FBAE40"/>
          </p15:clr>
        </p15:guide>
        <p15:guide id="3" pos="7287">
          <p15:clr>
            <a:srgbClr val="FBAE40"/>
          </p15:clr>
        </p15:guide>
        <p15:guide id="4" pos="336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p:spTree>
      <p:nvGrpSpPr>
        <p:cNvPr id="1" name=""/>
        <p:cNvGrpSpPr/>
        <p:nvPr/>
      </p:nvGrpSpPr>
      <p:grpSpPr>
        <a:xfrm>
          <a:off x="0" y="0"/>
          <a:ext cx="0" cy="0"/>
          <a:chOff x="0" y="0"/>
          <a:chExt cx="0" cy="0"/>
        </a:xfrm>
      </p:grpSpPr>
      <p:sp>
        <p:nvSpPr>
          <p:cNvPr id="21" name="Vrije vorm: vorm 20">
            <a:extLst>
              <a:ext uri="{FF2B5EF4-FFF2-40B4-BE49-F238E27FC236}">
                <a16:creationId xmlns:a16="http://schemas.microsoft.com/office/drawing/2014/main" id="{A4EF0114-F3C9-81BA-027F-CF2776716DE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6225CA74-4108-5489-665E-C6D77944E2A2}"/>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16" name="Afbeeldingsplaceholder">
            <a:extLst>
              <a:ext uri="{FF2B5EF4-FFF2-40B4-BE49-F238E27FC236}">
                <a16:creationId xmlns:a16="http://schemas.microsoft.com/office/drawing/2014/main" id="{97DCCFD9-DBD2-9D7B-F836-948D5FEB722F}"/>
              </a:ext>
            </a:extLst>
          </p:cNvPr>
          <p:cNvSpPr>
            <a:spLocks noGrp="1" noRot="1" noMove="1" noResize="1" noEditPoints="1" noAdjustHandles="1" noChangeArrowheads="1" noChangeShapeType="1"/>
          </p:cNvSpPr>
          <p:nvPr>
            <p:ph type="pic" sz="quarter" idx="14"/>
          </p:nvPr>
        </p:nvSpPr>
        <p:spPr>
          <a:xfrm>
            <a:off x="7467600" y="127000"/>
            <a:ext cx="4597400" cy="6604000"/>
          </a:xfrm>
          <a:custGeom>
            <a:avLst/>
            <a:gdLst>
              <a:gd name="connsiteX0" fmla="*/ 720725 w 4597400"/>
              <a:gd name="connsiteY0" fmla="*/ 0 h 6604000"/>
              <a:gd name="connsiteX1" fmla="*/ 2838450 w 4597400"/>
              <a:gd name="connsiteY1" fmla="*/ 0 h 6604000"/>
              <a:gd name="connsiteX2" fmla="*/ 2965450 w 4597400"/>
              <a:gd name="connsiteY2" fmla="*/ 127000 h 6604000"/>
              <a:gd name="connsiteX3" fmla="*/ 2965450 w 4597400"/>
              <a:gd name="connsiteY3" fmla="*/ 568325 h 6604000"/>
              <a:gd name="connsiteX4" fmla="*/ 3092450 w 4597400"/>
              <a:gd name="connsiteY4" fmla="*/ 695325 h 6604000"/>
              <a:gd name="connsiteX5" fmla="*/ 4470400 w 4597400"/>
              <a:gd name="connsiteY5" fmla="*/ 695325 h 6604000"/>
              <a:gd name="connsiteX6" fmla="*/ 4597400 w 4597400"/>
              <a:gd name="connsiteY6" fmla="*/ 822325 h 6604000"/>
              <a:gd name="connsiteX7" fmla="*/ 4597400 w 4597400"/>
              <a:gd name="connsiteY7" fmla="*/ 6477000 h 6604000"/>
              <a:gd name="connsiteX8" fmla="*/ 4470400 w 4597400"/>
              <a:gd name="connsiteY8" fmla="*/ 6604000 h 6604000"/>
              <a:gd name="connsiteX9" fmla="*/ 937260 w 4597400"/>
              <a:gd name="connsiteY9" fmla="*/ 6604000 h 6604000"/>
              <a:gd name="connsiteX10" fmla="*/ 810260 w 4597400"/>
              <a:gd name="connsiteY10" fmla="*/ 6477000 h 6604000"/>
              <a:gd name="connsiteX11" fmla="*/ 810260 w 4597400"/>
              <a:gd name="connsiteY11" fmla="*/ 6273991 h 6604000"/>
              <a:gd name="connsiteX12" fmla="*/ 683260 w 4597400"/>
              <a:gd name="connsiteY12" fmla="*/ 6146991 h 6604000"/>
              <a:gd name="connsiteX13" fmla="*/ 127000 w 4597400"/>
              <a:gd name="connsiteY13" fmla="*/ 6146991 h 6604000"/>
              <a:gd name="connsiteX14" fmla="*/ 0 w 4597400"/>
              <a:gd name="connsiteY14" fmla="*/ 6019991 h 6604000"/>
              <a:gd name="connsiteX15" fmla="*/ 0 w 4597400"/>
              <a:gd name="connsiteY15" fmla="*/ 695325 h 6604000"/>
              <a:gd name="connsiteX16" fmla="*/ 127000 w 4597400"/>
              <a:gd name="connsiteY16" fmla="*/ 568325 h 6604000"/>
              <a:gd name="connsiteX17" fmla="*/ 466725 w 4597400"/>
              <a:gd name="connsiteY17" fmla="*/ 568325 h 6604000"/>
              <a:gd name="connsiteX18" fmla="*/ 593725 w 4597400"/>
              <a:gd name="connsiteY18" fmla="*/ 441325 h 6604000"/>
              <a:gd name="connsiteX19" fmla="*/ 593725 w 4597400"/>
              <a:gd name="connsiteY19" fmla="*/ 127000 h 6604000"/>
              <a:gd name="connsiteX20" fmla="*/ 720725 w 4597400"/>
              <a:gd name="connsiteY20"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97400" h="6604000">
                <a:moveTo>
                  <a:pt x="720725" y="0"/>
                </a:moveTo>
                <a:lnTo>
                  <a:pt x="2838450" y="0"/>
                </a:lnTo>
                <a:cubicBezTo>
                  <a:pt x="2908300" y="0"/>
                  <a:pt x="2965450" y="56833"/>
                  <a:pt x="2965450" y="127000"/>
                </a:cubicBezTo>
                <a:lnTo>
                  <a:pt x="2965450" y="568325"/>
                </a:lnTo>
                <a:cubicBezTo>
                  <a:pt x="2965450" y="638493"/>
                  <a:pt x="3022600" y="695325"/>
                  <a:pt x="3092450" y="695325"/>
                </a:cubicBezTo>
                <a:lnTo>
                  <a:pt x="4470400" y="695325"/>
                </a:lnTo>
                <a:cubicBezTo>
                  <a:pt x="4540250" y="695325"/>
                  <a:pt x="4597400" y="752158"/>
                  <a:pt x="4597400" y="822325"/>
                </a:cubicBezTo>
                <a:lnTo>
                  <a:pt x="4597400" y="6477000"/>
                </a:lnTo>
                <a:cubicBezTo>
                  <a:pt x="4597400" y="6547168"/>
                  <a:pt x="4540250" y="6604000"/>
                  <a:pt x="4470400" y="6604000"/>
                </a:cubicBezTo>
                <a:lnTo>
                  <a:pt x="937260" y="6604000"/>
                </a:lnTo>
                <a:cubicBezTo>
                  <a:pt x="866775" y="6604000"/>
                  <a:pt x="810260" y="6547168"/>
                  <a:pt x="810260" y="6477000"/>
                </a:cubicBezTo>
                <a:lnTo>
                  <a:pt x="810260" y="6273991"/>
                </a:lnTo>
                <a:cubicBezTo>
                  <a:pt x="810260" y="6203823"/>
                  <a:pt x="753110" y="6146991"/>
                  <a:pt x="683260" y="6146991"/>
                </a:cubicBezTo>
                <a:lnTo>
                  <a:pt x="127000" y="6146991"/>
                </a:lnTo>
                <a:cubicBezTo>
                  <a:pt x="57150" y="6146991"/>
                  <a:pt x="0" y="6090095"/>
                  <a:pt x="0" y="6019991"/>
                </a:cubicBezTo>
                <a:lnTo>
                  <a:pt x="0" y="695325"/>
                </a:lnTo>
                <a:cubicBezTo>
                  <a:pt x="0" y="625158"/>
                  <a:pt x="57150" y="568325"/>
                  <a:pt x="127000" y="568325"/>
                </a:cubicBezTo>
                <a:lnTo>
                  <a:pt x="466725" y="568325"/>
                </a:lnTo>
                <a:cubicBezTo>
                  <a:pt x="536575" y="568325"/>
                  <a:pt x="593725" y="511493"/>
                  <a:pt x="593725" y="441325"/>
                </a:cubicBezTo>
                <a:lnTo>
                  <a:pt x="593725" y="127000"/>
                </a:lnTo>
                <a:cubicBezTo>
                  <a:pt x="593725" y="56833"/>
                  <a:pt x="650875" y="0"/>
                  <a:pt x="72072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6" y="1457325"/>
            <a:ext cx="6229156"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695326" y="3943350"/>
            <a:ext cx="6229349" cy="17176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Ondertitel 2">
            <a:extLst>
              <a:ext uri="{FF2B5EF4-FFF2-40B4-BE49-F238E27FC236}">
                <a16:creationId xmlns:a16="http://schemas.microsoft.com/office/drawing/2014/main" id="{E84D2E3A-ED5E-EA46-0E28-A013DA6FEFE7}"/>
              </a:ext>
            </a:extLst>
          </p:cNvPr>
          <p:cNvSpPr>
            <a:spLocks noGrp="1"/>
          </p:cNvSpPr>
          <p:nvPr>
            <p:ph type="subTitle" idx="1" hasCustomPrompt="1"/>
          </p:nvPr>
        </p:nvSpPr>
        <p:spPr>
          <a:xfrm>
            <a:off x="695325" y="3372480"/>
            <a:ext cx="6229349" cy="238142"/>
          </a:xfrm>
        </p:spPr>
        <p:txBody>
          <a:bodyPr wrap="square">
            <a:spAutoFit/>
          </a:bodyPr>
          <a:lstStyle>
            <a:lvl1pPr marL="0" indent="0" algn="l">
              <a:buNone/>
              <a:defRPr sz="1500" cap="all" spc="190" baseline="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pic>
        <p:nvPicPr>
          <p:cNvPr id="25" name="Afbeelding 24">
            <a:extLst>
              <a:ext uri="{FF2B5EF4-FFF2-40B4-BE49-F238E27FC236}">
                <a16:creationId xmlns:a16="http://schemas.microsoft.com/office/drawing/2014/main" id="{3ABD1C42-E518-885C-1C64-BAEC2389FC02}"/>
              </a:ext>
            </a:extLst>
          </p:cNvPr>
          <p:cNvPicPr>
            <a:picLocks noChangeAspect="1"/>
          </p:cNvPicPr>
          <p:nvPr userDrawn="1"/>
        </p:nvPicPr>
        <p:blipFill>
          <a:blip r:embed="rId4"/>
          <a:stretch>
            <a:fillRect/>
          </a:stretch>
        </p:blipFill>
        <p:spPr>
          <a:xfrm>
            <a:off x="-1731414" y="3546732"/>
            <a:ext cx="1731414" cy="2853175"/>
          </a:xfrm>
          <a:prstGeom prst="rect">
            <a:avLst/>
          </a:prstGeom>
        </p:spPr>
      </p:pic>
    </p:spTree>
    <p:extLst>
      <p:ext uri="{BB962C8B-B14F-4D97-AF65-F5344CB8AC3E}">
        <p14:creationId xmlns:p14="http://schemas.microsoft.com/office/powerpoint/2010/main" val="2754548292"/>
      </p:ext>
    </p:extLst>
  </p:cSld>
  <p:clrMapOvr>
    <a:masterClrMapping/>
  </p:clrMapOvr>
  <p:extLst>
    <p:ext uri="{DCECCB84-F9BA-43D5-87BE-67443E8EF086}">
      <p15:sldGuideLst xmlns:p15="http://schemas.microsoft.com/office/powerpoint/2012/main">
        <p15:guide id="1" orient="horz" pos="918">
          <p15:clr>
            <a:srgbClr val="FBAE40"/>
          </p15:clr>
        </p15:guide>
        <p15:guide id="2" pos="438">
          <p15:clr>
            <a:srgbClr val="FBAE40"/>
          </p15:clr>
        </p15:guide>
        <p15:guide id="3" pos="7287">
          <p15:clr>
            <a:srgbClr val="FBAE40"/>
          </p15:clr>
        </p15:guide>
        <p15:guide id="4" pos="436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cxnSp>
        <p:nvCxnSpPr>
          <p:cNvPr id="2" name="Rechte verbindingslijn 1">
            <a:extLst>
              <a:ext uri="{FF2B5EF4-FFF2-40B4-BE49-F238E27FC236}">
                <a16:creationId xmlns:a16="http://schemas.microsoft.com/office/drawing/2014/main" id="{5557CCBE-6FD0-FCDC-213C-C43E5BFF579D}"/>
              </a:ext>
            </a:extLst>
          </p:cNvPr>
          <p:cNvCxnSpPr>
            <a:cxnSpLocks/>
          </p:cNvCxnSpPr>
          <p:nvPr userDrawn="1"/>
        </p:nvCxnSpPr>
        <p:spPr>
          <a:xfrm>
            <a:off x="4896238" y="4731282"/>
            <a:ext cx="2399523"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3" name="logo.png" descr="logo.png">
            <a:extLst>
              <a:ext uri="{FF2B5EF4-FFF2-40B4-BE49-F238E27FC236}">
                <a16:creationId xmlns:a16="http://schemas.microsoft.com/office/drawing/2014/main" id="{9D093044-A069-9525-7A91-AD38FF122357}"/>
              </a:ext>
            </a:extLst>
          </p:cNvPr>
          <p:cNvPicPr>
            <a:picLocks noChangeAspect="1"/>
          </p:cNvPicPr>
          <p:nvPr userDrawn="1"/>
        </p:nvPicPr>
        <p:blipFill rotWithShape="1">
          <a:blip r:embed="rId2">
            <a:alphaModFix/>
          </a:blip>
          <a:srcRect r="39354"/>
          <a:stretch/>
        </p:blipFill>
        <p:spPr>
          <a:xfrm>
            <a:off x="7929129" y="0"/>
            <a:ext cx="4262871" cy="6308203"/>
          </a:xfrm>
          <a:prstGeom prst="rect">
            <a:avLst/>
          </a:prstGeom>
        </p:spPr>
      </p:pic>
      <p:cxnSp>
        <p:nvCxnSpPr>
          <p:cNvPr id="4" name="Rechte verbindingslijn 3">
            <a:extLst>
              <a:ext uri="{FF2B5EF4-FFF2-40B4-BE49-F238E27FC236}">
                <a16:creationId xmlns:a16="http://schemas.microsoft.com/office/drawing/2014/main" id="{CB2B0176-570F-EBA1-4819-3F07430EF14E}"/>
              </a:ext>
            </a:extLst>
          </p:cNvPr>
          <p:cNvCxnSpPr>
            <a:cxnSpLocks/>
          </p:cNvCxnSpPr>
          <p:nvPr userDrawn="1"/>
        </p:nvCxnSpPr>
        <p:spPr>
          <a:xfrm>
            <a:off x="4896238" y="2108718"/>
            <a:ext cx="2399523"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7" name="Tijdelijke aanduiding voor tekst 6">
            <a:extLst>
              <a:ext uri="{FF2B5EF4-FFF2-40B4-BE49-F238E27FC236}">
                <a16:creationId xmlns:a16="http://schemas.microsoft.com/office/drawing/2014/main" id="{F1D48088-6C5A-C7E5-1CD6-702C60743E11}"/>
              </a:ext>
            </a:extLst>
          </p:cNvPr>
          <p:cNvSpPr>
            <a:spLocks noGrp="1"/>
          </p:cNvSpPr>
          <p:nvPr>
            <p:ph type="body" sz="quarter" idx="10" hasCustomPrompt="1"/>
          </p:nvPr>
        </p:nvSpPr>
        <p:spPr>
          <a:xfrm>
            <a:off x="1852776" y="2776537"/>
            <a:ext cx="8486443" cy="1304925"/>
          </a:xfrm>
          <a:prstGeom prst="rect">
            <a:avLst/>
          </a:prstGeom>
        </p:spPr>
        <p:txBody>
          <a:bodyPr anchor="ctr"/>
          <a:lstStyle>
            <a:lvl1pPr marL="0" indent="0" algn="ctr">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nl-NL"/>
              <a:t>Klik hier om een vraag toe te voegen</a:t>
            </a:r>
          </a:p>
        </p:txBody>
      </p:sp>
    </p:spTree>
    <p:extLst>
      <p:ext uri="{BB962C8B-B14F-4D97-AF65-F5344CB8AC3E}">
        <p14:creationId xmlns:p14="http://schemas.microsoft.com/office/powerpoint/2010/main" val="28480812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D241DC53-8932-4409-275C-920AFA434D73}"/>
              </a:ext>
            </a:extLst>
          </p:cNvPr>
          <p:cNvSpPr>
            <a:spLocks noGrp="1" noRot="1" noMove="1" noResize="1" noEditPoints="1" noAdjustHandles="1" noChangeArrowheads="1" noChangeShapeType="1"/>
          </p:cNvSpPr>
          <p:nvPr userDrawn="1"/>
        </p:nvSpPr>
        <p:spPr>
          <a:xfrm>
            <a:off x="63627"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2362073 w 12064873"/>
              <a:gd name="connsiteY14" fmla="*/ 6223000 h 6731000"/>
              <a:gd name="connsiteX15" fmla="*/ 2235073 w 12064873"/>
              <a:gd name="connsiteY15" fmla="*/ 6350000 h 6731000"/>
              <a:gd name="connsiteX16" fmla="*/ 2235073 w 12064873"/>
              <a:gd name="connsiteY16" fmla="*/ 6604000 h 6731000"/>
              <a:gd name="connsiteX17" fmla="*/ 2108073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2362073" y="6223000"/>
                </a:lnTo>
                <a:cubicBezTo>
                  <a:pt x="2291906" y="6223000"/>
                  <a:pt x="2235073" y="6279833"/>
                  <a:pt x="2235073" y="6350000"/>
                </a:cubicBezTo>
                <a:lnTo>
                  <a:pt x="2235073" y="6604000"/>
                </a:lnTo>
                <a:cubicBezTo>
                  <a:pt x="2235073" y="6674168"/>
                  <a:pt x="2178241" y="6731000"/>
                  <a:pt x="2108073" y="6731000"/>
                </a:cubicBezTo>
                <a:lnTo>
                  <a:pt x="133096" y="6731000"/>
                </a:lnTo>
                <a:cubicBezTo>
                  <a:pt x="62992" y="6731000"/>
                  <a:pt x="6160" y="6674232"/>
                  <a:pt x="6096" y="6604127"/>
                </a:cubicBezTo>
                <a:lnTo>
                  <a:pt x="0" y="806577"/>
                </a:lnTo>
                <a:close/>
              </a:path>
            </a:pathLst>
          </a:custGeom>
          <a:solidFill>
            <a:schemeClr val="accent1"/>
          </a:solidFill>
          <a:ln w="0" cap="flat">
            <a:noFill/>
            <a:prstDash val="solid"/>
            <a:miter/>
          </a:ln>
        </p:spPr>
        <p:txBody>
          <a:bodyPr rtlCol="0" anchor="ctr"/>
          <a:lstStyle/>
          <a:p>
            <a:endParaRPr lang="nl-NL" dirty="0"/>
          </a:p>
        </p:txBody>
      </p:sp>
      <p:pic>
        <p:nvPicPr>
          <p:cNvPr id="4" name="Logo">
            <a:extLst>
              <a:ext uri="{FF2B5EF4-FFF2-40B4-BE49-F238E27FC236}">
                <a16:creationId xmlns:a16="http://schemas.microsoft.com/office/drawing/2014/main" id="{AD862033-4B5D-3FBF-39C5-AFBD786F10C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pic>
        <p:nvPicPr>
          <p:cNvPr id="11" name="Aanhalingstekens">
            <a:extLst>
              <a:ext uri="{FF2B5EF4-FFF2-40B4-BE49-F238E27FC236}">
                <a16:creationId xmlns:a16="http://schemas.microsoft.com/office/drawing/2014/main" id="{9B334726-8E89-028F-F777-94435E73826E}"/>
              </a:ext>
            </a:extLst>
          </p:cNvPr>
          <p:cNvPicPr/>
          <p:nvPr userDrawn="1"/>
        </p:nvPicPr>
        <p:blipFill>
          <a:blip r:embed="rId4">
            <a:extLst>
              <a:ext uri="{96DAC541-7B7A-43D3-8B79-37D633B846F1}">
                <asvg:svgBlip xmlns:asvg="http://schemas.microsoft.com/office/drawing/2016/SVG/main" r:embed="rId5"/>
              </a:ext>
            </a:extLst>
          </a:blip>
          <a:stretch>
            <a:fillRect/>
          </a:stretch>
        </p:blipFill>
        <p:spPr>
          <a:xfrm>
            <a:off x="2387600" y="919128"/>
            <a:ext cx="419035" cy="351508"/>
          </a:xfrm>
          <a:prstGeom prst="rect">
            <a:avLst/>
          </a:prstGeom>
        </p:spPr>
      </p:pic>
      <p:sp>
        <p:nvSpPr>
          <p:cNvPr id="12" name="Tijdelijke aanduiding voor tekst 8">
            <a:extLst>
              <a:ext uri="{FF2B5EF4-FFF2-40B4-BE49-F238E27FC236}">
                <a16:creationId xmlns:a16="http://schemas.microsoft.com/office/drawing/2014/main" id="{49A361D6-0B37-035B-9441-2C55319B22ED}"/>
              </a:ext>
            </a:extLst>
          </p:cNvPr>
          <p:cNvSpPr>
            <a:spLocks noGrp="1"/>
          </p:cNvSpPr>
          <p:nvPr>
            <p:ph type="body" sz="quarter" idx="13"/>
          </p:nvPr>
        </p:nvSpPr>
        <p:spPr>
          <a:xfrm>
            <a:off x="2387600" y="1736725"/>
            <a:ext cx="5437188" cy="27214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3" name="Tijdelijke aanduiding voor tekst 2">
            <a:extLst>
              <a:ext uri="{FF2B5EF4-FFF2-40B4-BE49-F238E27FC236}">
                <a16:creationId xmlns:a16="http://schemas.microsoft.com/office/drawing/2014/main" id="{C5BDFA2B-8B9E-9092-91A6-8C061FB59B16}"/>
              </a:ext>
            </a:extLst>
          </p:cNvPr>
          <p:cNvSpPr>
            <a:spLocks noGrp="1"/>
          </p:cNvSpPr>
          <p:nvPr>
            <p:ph type="body" idx="1" hasCustomPrompt="1"/>
          </p:nvPr>
        </p:nvSpPr>
        <p:spPr>
          <a:xfrm>
            <a:off x="2387600" y="4768821"/>
            <a:ext cx="5437188" cy="222305"/>
          </a:xfrm>
        </p:spPr>
        <p:txBody>
          <a:bodyPr wrap="square" anchor="t" anchorCtr="0">
            <a:spAutoFit/>
          </a:bodyPr>
          <a:lstStyle>
            <a:lvl1pPr marL="0" indent="0">
              <a:buNone/>
              <a:defRPr sz="1400" b="0" spc="2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Voornaam Achternaam</a:t>
            </a:r>
          </a:p>
        </p:txBody>
      </p:sp>
      <p:sp>
        <p:nvSpPr>
          <p:cNvPr id="14" name="Tijdelijke aanduiding voor tekst 2">
            <a:extLst>
              <a:ext uri="{FF2B5EF4-FFF2-40B4-BE49-F238E27FC236}">
                <a16:creationId xmlns:a16="http://schemas.microsoft.com/office/drawing/2014/main" id="{74C8D0DA-10FC-9CC9-7BE2-B312A18AD3F0}"/>
              </a:ext>
            </a:extLst>
          </p:cNvPr>
          <p:cNvSpPr>
            <a:spLocks noGrp="1"/>
          </p:cNvSpPr>
          <p:nvPr>
            <p:ph type="body" idx="15" hasCustomPrompt="1"/>
          </p:nvPr>
        </p:nvSpPr>
        <p:spPr>
          <a:xfrm>
            <a:off x="2387600" y="4972656"/>
            <a:ext cx="5437188" cy="127022"/>
          </a:xfrm>
        </p:spPr>
        <p:txBody>
          <a:bodyPr wrap="square" anchor="t" anchorCtr="0">
            <a:spAutoFit/>
          </a:bodyPr>
          <a:lstStyle>
            <a:lvl1pPr marL="0" indent="0">
              <a:buNone/>
              <a:defRPr sz="800" b="0" cap="all" spc="2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Firma</a:t>
            </a:r>
          </a:p>
        </p:txBody>
      </p:sp>
      <p:pic>
        <p:nvPicPr>
          <p:cNvPr id="15" name="Afbeelding 14">
            <a:extLst>
              <a:ext uri="{FF2B5EF4-FFF2-40B4-BE49-F238E27FC236}">
                <a16:creationId xmlns:a16="http://schemas.microsoft.com/office/drawing/2014/main" id="{7427E0B3-6728-F4AA-EC8E-6145347030DA}"/>
              </a:ext>
            </a:extLst>
          </p:cNvPr>
          <p:cNvPicPr>
            <a:picLocks noChangeAspect="1"/>
          </p:cNvPicPr>
          <p:nvPr userDrawn="1"/>
        </p:nvPicPr>
        <p:blipFill>
          <a:blip r:embed="rId6"/>
          <a:stretch>
            <a:fillRect/>
          </a:stretch>
        </p:blipFill>
        <p:spPr>
          <a:xfrm>
            <a:off x="-1731414" y="1736725"/>
            <a:ext cx="1731414" cy="2853175"/>
          </a:xfrm>
          <a:prstGeom prst="rect">
            <a:avLst/>
          </a:prstGeom>
        </p:spPr>
      </p:pic>
    </p:spTree>
    <p:extLst>
      <p:ext uri="{BB962C8B-B14F-4D97-AF65-F5344CB8AC3E}">
        <p14:creationId xmlns:p14="http://schemas.microsoft.com/office/powerpoint/2010/main" val="1005634819"/>
      </p:ext>
    </p:extLst>
  </p:cSld>
  <p:clrMapOvr>
    <a:masterClrMapping/>
  </p:clrMapOvr>
  <p:extLst>
    <p:ext uri="{DCECCB84-F9BA-43D5-87BE-67443E8EF086}">
      <p15:sldGuideLst xmlns:p15="http://schemas.microsoft.com/office/powerpoint/2012/main">
        <p15:guide id="1" orient="horz" pos="1094">
          <p15:clr>
            <a:srgbClr val="FBAE40"/>
          </p15:clr>
        </p15:guide>
        <p15:guide id="2" pos="1504">
          <p15:clr>
            <a:srgbClr val="FBAE40"/>
          </p15:clr>
        </p15:guide>
        <p15:guide id="3" pos="7287">
          <p15:clr>
            <a:srgbClr val="FBAE40"/>
          </p15:clr>
        </p15:guide>
        <p15:guide id="4" pos="492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Quote met afbeelding">
    <p:spTree>
      <p:nvGrpSpPr>
        <p:cNvPr id="1" name=""/>
        <p:cNvGrpSpPr/>
        <p:nvPr/>
      </p:nvGrpSpPr>
      <p:grpSpPr>
        <a:xfrm>
          <a:off x="0" y="0"/>
          <a:ext cx="0" cy="0"/>
          <a:chOff x="0" y="0"/>
          <a:chExt cx="0" cy="0"/>
        </a:xfrm>
      </p:grpSpPr>
      <p:sp>
        <p:nvSpPr>
          <p:cNvPr id="21" name="Vrije vorm: vorm 20">
            <a:extLst>
              <a:ext uri="{FF2B5EF4-FFF2-40B4-BE49-F238E27FC236}">
                <a16:creationId xmlns:a16="http://schemas.microsoft.com/office/drawing/2014/main" id="{A4EF0114-F3C9-81BA-027F-CF2776716DE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sp>
        <p:nvSpPr>
          <p:cNvPr id="20" name="Afbeeldingsplaceholder">
            <a:extLst>
              <a:ext uri="{FF2B5EF4-FFF2-40B4-BE49-F238E27FC236}">
                <a16:creationId xmlns:a16="http://schemas.microsoft.com/office/drawing/2014/main" id="{B022DF69-47FE-BC9C-58AB-528F68E9629B}"/>
              </a:ext>
            </a:extLst>
          </p:cNvPr>
          <p:cNvSpPr>
            <a:spLocks noGrp="1" noRot="1" noMove="1" noResize="1" noEditPoints="1" noAdjustHandles="1" noChangeArrowheads="1" noChangeShapeType="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pic>
        <p:nvPicPr>
          <p:cNvPr id="4" name="Logo">
            <a:extLst>
              <a:ext uri="{FF2B5EF4-FFF2-40B4-BE49-F238E27FC236}">
                <a16:creationId xmlns:a16="http://schemas.microsoft.com/office/drawing/2014/main" id="{6225CA74-4108-5489-665E-C6D77944E2A2}"/>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pic>
        <p:nvPicPr>
          <p:cNvPr id="10" name="Aanhalingstekens">
            <a:extLst>
              <a:ext uri="{FF2B5EF4-FFF2-40B4-BE49-F238E27FC236}">
                <a16:creationId xmlns:a16="http://schemas.microsoft.com/office/drawing/2014/main" id="{B2FD5A21-1C10-7E5B-A129-E1BE936ACD86}"/>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276289" y="919128"/>
            <a:ext cx="419035" cy="351508"/>
          </a:xfrm>
          <a:prstGeom prst="rect">
            <a:avLst/>
          </a:prstGeom>
        </p:spPr>
      </p:pic>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947739" y="1736725"/>
            <a:ext cx="5400674" cy="272147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tekst 2">
            <a:extLst>
              <a:ext uri="{FF2B5EF4-FFF2-40B4-BE49-F238E27FC236}">
                <a16:creationId xmlns:a16="http://schemas.microsoft.com/office/drawing/2014/main" id="{962FF85C-7A22-1228-2E0C-00BB41B0A0B6}"/>
              </a:ext>
            </a:extLst>
          </p:cNvPr>
          <p:cNvSpPr>
            <a:spLocks noGrp="1"/>
          </p:cNvSpPr>
          <p:nvPr>
            <p:ph type="body" idx="1" hasCustomPrompt="1"/>
          </p:nvPr>
        </p:nvSpPr>
        <p:spPr>
          <a:xfrm>
            <a:off x="947737" y="4768821"/>
            <a:ext cx="5400674" cy="222305"/>
          </a:xfrm>
        </p:spPr>
        <p:txBody>
          <a:bodyPr wrap="square" anchor="t" anchorCtr="0">
            <a:spAutoFit/>
          </a:bodyPr>
          <a:lstStyle>
            <a:lvl1pPr marL="0" indent="0">
              <a:buNone/>
              <a:defRPr sz="1400" b="0" spc="2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Voornaam Achternaam</a:t>
            </a:r>
          </a:p>
        </p:txBody>
      </p:sp>
      <p:sp>
        <p:nvSpPr>
          <p:cNvPr id="12" name="Tijdelijke aanduiding voor tekst 2">
            <a:extLst>
              <a:ext uri="{FF2B5EF4-FFF2-40B4-BE49-F238E27FC236}">
                <a16:creationId xmlns:a16="http://schemas.microsoft.com/office/drawing/2014/main" id="{68C3F983-8477-F6F4-9BE7-30751B392F8C}"/>
              </a:ext>
            </a:extLst>
          </p:cNvPr>
          <p:cNvSpPr>
            <a:spLocks noGrp="1"/>
          </p:cNvSpPr>
          <p:nvPr>
            <p:ph type="body" idx="15" hasCustomPrompt="1"/>
          </p:nvPr>
        </p:nvSpPr>
        <p:spPr>
          <a:xfrm>
            <a:off x="947737" y="4972656"/>
            <a:ext cx="5400674" cy="127022"/>
          </a:xfrm>
        </p:spPr>
        <p:txBody>
          <a:bodyPr wrap="square" anchor="t" anchorCtr="0">
            <a:spAutoFit/>
          </a:bodyPr>
          <a:lstStyle>
            <a:lvl1pPr marL="0" indent="0">
              <a:buNone/>
              <a:defRPr sz="800" b="0" cap="all" spc="2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Firma</a:t>
            </a:r>
          </a:p>
        </p:txBody>
      </p:sp>
      <p:pic>
        <p:nvPicPr>
          <p:cNvPr id="22" name="Afbeelding 21">
            <a:extLst>
              <a:ext uri="{FF2B5EF4-FFF2-40B4-BE49-F238E27FC236}">
                <a16:creationId xmlns:a16="http://schemas.microsoft.com/office/drawing/2014/main" id="{24483FB6-67E9-1BF9-150C-93B83C169214}"/>
              </a:ext>
            </a:extLst>
          </p:cNvPr>
          <p:cNvPicPr>
            <a:picLocks noChangeAspect="1"/>
          </p:cNvPicPr>
          <p:nvPr userDrawn="1"/>
        </p:nvPicPr>
        <p:blipFill>
          <a:blip r:embed="rId6"/>
          <a:stretch>
            <a:fillRect/>
          </a:stretch>
        </p:blipFill>
        <p:spPr>
          <a:xfrm>
            <a:off x="-1731414" y="1736725"/>
            <a:ext cx="1731414" cy="2853175"/>
          </a:xfrm>
          <a:prstGeom prst="rect">
            <a:avLst/>
          </a:prstGeom>
        </p:spPr>
      </p:pic>
    </p:spTree>
    <p:extLst>
      <p:ext uri="{BB962C8B-B14F-4D97-AF65-F5344CB8AC3E}">
        <p14:creationId xmlns:p14="http://schemas.microsoft.com/office/powerpoint/2010/main" val="1959347731"/>
      </p:ext>
    </p:extLst>
  </p:cSld>
  <p:clrMapOvr>
    <a:masterClrMapping/>
  </p:clrMapOvr>
  <p:extLst>
    <p:ext uri="{DCECCB84-F9BA-43D5-87BE-67443E8EF086}">
      <p15:sldGuideLst xmlns:p15="http://schemas.microsoft.com/office/powerpoint/2012/main">
        <p15:guide id="1" orient="horz" pos="1094">
          <p15:clr>
            <a:srgbClr val="FBAE40"/>
          </p15:clr>
        </p15:guide>
        <p15:guide id="2" pos="438">
          <p15:clr>
            <a:srgbClr val="FBAE40"/>
          </p15:clr>
        </p15:guide>
        <p15:guide id="3" pos="7287">
          <p15:clr>
            <a:srgbClr val="FBAE40"/>
          </p15:clr>
        </p15:guide>
        <p15:guide id="4" pos="597">
          <p15:clr>
            <a:srgbClr val="FBAE40"/>
          </p15:clr>
        </p15:guide>
        <p15:guide id="5" pos="399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llage en tekst">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BF79B721-6AF2-FC9A-CE5A-CD67C174D1FE}"/>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18" name="Afbeelding 17">
            <a:extLst>
              <a:ext uri="{FF2B5EF4-FFF2-40B4-BE49-F238E27FC236}">
                <a16:creationId xmlns:a16="http://schemas.microsoft.com/office/drawing/2014/main" id="{37ADCB20-CB29-20CD-9553-B37DD321F81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152400" y="0"/>
            <a:ext cx="4788000" cy="379561"/>
          </a:xfrm>
          <a:prstGeom prst="rect">
            <a:avLst/>
          </a:prstGeom>
        </p:spPr>
      </p:pic>
      <p:pic>
        <p:nvPicPr>
          <p:cNvPr id="23" name="Afbeelding 22">
            <a:extLst>
              <a:ext uri="{FF2B5EF4-FFF2-40B4-BE49-F238E27FC236}">
                <a16:creationId xmlns:a16="http://schemas.microsoft.com/office/drawing/2014/main" id="{7E06D818-FD18-9B63-1425-EA566F5D8388}"/>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152400" y="6535769"/>
            <a:ext cx="4788000" cy="322231"/>
          </a:xfrm>
          <a:prstGeom prst="rect">
            <a:avLst/>
          </a:prstGeom>
        </p:spPr>
      </p:pic>
      <p:sp>
        <p:nvSpPr>
          <p:cNvPr id="27" name="Tijdelijke aanduiding voor afbeelding 26">
            <a:extLst>
              <a:ext uri="{FF2B5EF4-FFF2-40B4-BE49-F238E27FC236}">
                <a16:creationId xmlns:a16="http://schemas.microsoft.com/office/drawing/2014/main" id="{F7AA211A-CFD7-4979-4F88-2D7F1ED78B96}"/>
              </a:ext>
            </a:extLst>
          </p:cNvPr>
          <p:cNvSpPr>
            <a:spLocks noGrp="1" noRot="1" noMove="1" noResize="1" noEditPoints="1" noAdjustHandles="1" noChangeArrowheads="1" noChangeShapeType="1"/>
          </p:cNvSpPr>
          <p:nvPr>
            <p:ph type="pic" sz="quarter" idx="11"/>
          </p:nvPr>
        </p:nvSpPr>
        <p:spPr>
          <a:xfrm>
            <a:off x="152400" y="381184"/>
            <a:ext cx="4788000" cy="2895236"/>
          </a:xfrm>
          <a:custGeom>
            <a:avLst/>
            <a:gdLst>
              <a:gd name="connsiteX0" fmla="*/ 126829 w 4788000"/>
              <a:gd name="connsiteY0" fmla="*/ 0 h 2895236"/>
              <a:gd name="connsiteX1" fmla="*/ 779762 w 4788000"/>
              <a:gd name="connsiteY1" fmla="*/ 0 h 2895236"/>
              <a:gd name="connsiteX2" fmla="*/ 868027 w 4788000"/>
              <a:gd name="connsiteY2" fmla="*/ 88265 h 2895236"/>
              <a:gd name="connsiteX3" fmla="*/ 956291 w 4788000"/>
              <a:gd name="connsiteY3" fmla="*/ 176528 h 2895236"/>
              <a:gd name="connsiteX4" fmla="*/ 3836041 w 4788000"/>
              <a:gd name="connsiteY4" fmla="*/ 176528 h 2895236"/>
              <a:gd name="connsiteX5" fmla="*/ 3922149 w 4788000"/>
              <a:gd name="connsiteY5" fmla="*/ 88265 h 2895236"/>
              <a:gd name="connsiteX6" fmla="*/ 4008258 w 4788000"/>
              <a:gd name="connsiteY6" fmla="*/ 0 h 2895236"/>
              <a:gd name="connsiteX7" fmla="*/ 4661171 w 4788000"/>
              <a:gd name="connsiteY7" fmla="*/ 0 h 2895236"/>
              <a:gd name="connsiteX8" fmla="*/ 4788000 w 4788000"/>
              <a:gd name="connsiteY8" fmla="*/ 126829 h 2895236"/>
              <a:gd name="connsiteX9" fmla="*/ 4788000 w 4788000"/>
              <a:gd name="connsiteY9" fmla="*/ 2768387 h 2895236"/>
              <a:gd name="connsiteX10" fmla="*/ 4661171 w 4788000"/>
              <a:gd name="connsiteY10" fmla="*/ 2895216 h 2895236"/>
              <a:gd name="connsiteX11" fmla="*/ 4006082 w 4788000"/>
              <a:gd name="connsiteY11" fmla="*/ 2895216 h 2895236"/>
              <a:gd name="connsiteX12" fmla="*/ 3919954 w 4788000"/>
              <a:gd name="connsiteY12" fmla="*/ 2809088 h 2895236"/>
              <a:gd name="connsiteX13" fmla="*/ 3833944 w 4788000"/>
              <a:gd name="connsiteY13" fmla="*/ 2722959 h 2895236"/>
              <a:gd name="connsiteX14" fmla="*/ 956350 w 4788000"/>
              <a:gd name="connsiteY14" fmla="*/ 2718806 h 2895236"/>
              <a:gd name="connsiteX15" fmla="*/ 868027 w 4788000"/>
              <a:gd name="connsiteY15" fmla="*/ 2807011 h 2895236"/>
              <a:gd name="connsiteX16" fmla="*/ 779822 w 4788000"/>
              <a:gd name="connsiteY16" fmla="*/ 2895216 h 2895236"/>
              <a:gd name="connsiteX17" fmla="*/ 126829 w 4788000"/>
              <a:gd name="connsiteY17" fmla="*/ 2895216 h 2895236"/>
              <a:gd name="connsiteX18" fmla="*/ 126829 w 4788000"/>
              <a:gd name="connsiteY18" fmla="*/ 2895236 h 2895236"/>
              <a:gd name="connsiteX19" fmla="*/ 0 w 4788000"/>
              <a:gd name="connsiteY19" fmla="*/ 2768407 h 2895236"/>
              <a:gd name="connsiteX20" fmla="*/ 0 w 4788000"/>
              <a:gd name="connsiteY20" fmla="*/ 126829 h 2895236"/>
              <a:gd name="connsiteX21" fmla="*/ 126829 w 4788000"/>
              <a:gd name="connsiteY21" fmla="*/ 0 h 289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88000" h="2895236">
                <a:moveTo>
                  <a:pt x="126829" y="0"/>
                </a:moveTo>
                <a:lnTo>
                  <a:pt x="779762" y="0"/>
                </a:lnTo>
                <a:cubicBezTo>
                  <a:pt x="828513" y="0"/>
                  <a:pt x="868027" y="39514"/>
                  <a:pt x="868027" y="88265"/>
                </a:cubicBezTo>
                <a:cubicBezTo>
                  <a:pt x="868027" y="137014"/>
                  <a:pt x="907541" y="176528"/>
                  <a:pt x="956291" y="176528"/>
                </a:cubicBezTo>
                <a:lnTo>
                  <a:pt x="3836041" y="176528"/>
                </a:lnTo>
                <a:cubicBezTo>
                  <a:pt x="3884455" y="176528"/>
                  <a:pt x="3923356" y="136659"/>
                  <a:pt x="3922149" y="88265"/>
                </a:cubicBezTo>
                <a:cubicBezTo>
                  <a:pt x="3920943" y="39871"/>
                  <a:pt x="3959844" y="0"/>
                  <a:pt x="4008258" y="0"/>
                </a:cubicBezTo>
                <a:lnTo>
                  <a:pt x="4661171" y="0"/>
                </a:lnTo>
                <a:cubicBezTo>
                  <a:pt x="4731221" y="0"/>
                  <a:pt x="4788000" y="56780"/>
                  <a:pt x="4788000" y="126829"/>
                </a:cubicBezTo>
                <a:lnTo>
                  <a:pt x="4788000" y="2768387"/>
                </a:lnTo>
                <a:cubicBezTo>
                  <a:pt x="4788000" y="2838437"/>
                  <a:pt x="4731221" y="2895216"/>
                  <a:pt x="4661171" y="2895216"/>
                </a:cubicBezTo>
                <a:lnTo>
                  <a:pt x="4006082" y="2895216"/>
                </a:lnTo>
                <a:cubicBezTo>
                  <a:pt x="3958518" y="2895216"/>
                  <a:pt x="3919954" y="2856651"/>
                  <a:pt x="3919954" y="2809088"/>
                </a:cubicBezTo>
                <a:cubicBezTo>
                  <a:pt x="3919954" y="2761524"/>
                  <a:pt x="3881468" y="2723039"/>
                  <a:pt x="3833944" y="2722959"/>
                </a:cubicBezTo>
                <a:lnTo>
                  <a:pt x="956350" y="2718806"/>
                </a:lnTo>
                <a:cubicBezTo>
                  <a:pt x="907581" y="2718727"/>
                  <a:pt x="868027" y="2758241"/>
                  <a:pt x="868027" y="2807011"/>
                </a:cubicBezTo>
                <a:cubicBezTo>
                  <a:pt x="868027" y="2855781"/>
                  <a:pt x="828532" y="2895216"/>
                  <a:pt x="779822" y="2895216"/>
                </a:cubicBezTo>
                <a:lnTo>
                  <a:pt x="126829" y="2895216"/>
                </a:lnTo>
                <a:lnTo>
                  <a:pt x="126829" y="2895236"/>
                </a:lnTo>
                <a:cubicBezTo>
                  <a:pt x="56780" y="2895236"/>
                  <a:pt x="0" y="2838456"/>
                  <a:pt x="0" y="2768407"/>
                </a:cubicBezTo>
                <a:lnTo>
                  <a:pt x="0" y="126829"/>
                </a:lnTo>
                <a:cubicBezTo>
                  <a:pt x="0" y="56780"/>
                  <a:pt x="56780" y="0"/>
                  <a:pt x="126829"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8" name="Tijdelijke aanduiding voor afbeelding 27">
            <a:extLst>
              <a:ext uri="{FF2B5EF4-FFF2-40B4-BE49-F238E27FC236}">
                <a16:creationId xmlns:a16="http://schemas.microsoft.com/office/drawing/2014/main" id="{008BA8EB-E7E4-FFC6-0B78-1A787B619207}"/>
              </a:ext>
            </a:extLst>
          </p:cNvPr>
          <p:cNvSpPr>
            <a:spLocks noGrp="1" noRot="1" noMove="1" noResize="1" noEditPoints="1" noAdjustHandles="1" noChangeArrowheads="1" noChangeShapeType="1"/>
          </p:cNvSpPr>
          <p:nvPr>
            <p:ph type="pic" sz="quarter" idx="12"/>
          </p:nvPr>
        </p:nvSpPr>
        <p:spPr>
          <a:xfrm>
            <a:off x="152400" y="3278042"/>
            <a:ext cx="4788000" cy="3256104"/>
          </a:xfrm>
          <a:custGeom>
            <a:avLst/>
            <a:gdLst>
              <a:gd name="connsiteX0" fmla="*/ 1055314 w 4788000"/>
              <a:gd name="connsiteY0" fmla="*/ 0 h 3256104"/>
              <a:gd name="connsiteX1" fmla="*/ 3737018 w 4788000"/>
              <a:gd name="connsiteY1" fmla="*/ 0 h 3256104"/>
              <a:gd name="connsiteX2" fmla="*/ 3823226 w 4788000"/>
              <a:gd name="connsiteY2" fmla="*/ 88363 h 3256104"/>
              <a:gd name="connsiteX3" fmla="*/ 3909433 w 4788000"/>
              <a:gd name="connsiteY3" fmla="*/ 176727 h 3256104"/>
              <a:gd name="connsiteX4" fmla="*/ 4661171 w 4788000"/>
              <a:gd name="connsiteY4" fmla="*/ 176727 h 3256104"/>
              <a:gd name="connsiteX5" fmla="*/ 4788000 w 4788000"/>
              <a:gd name="connsiteY5" fmla="*/ 303556 h 3256104"/>
              <a:gd name="connsiteX6" fmla="*/ 4788000 w 4788000"/>
              <a:gd name="connsiteY6" fmla="*/ 2948277 h 3256104"/>
              <a:gd name="connsiteX7" fmla="*/ 4661171 w 4788000"/>
              <a:gd name="connsiteY7" fmla="*/ 3075106 h 3256104"/>
              <a:gd name="connsiteX8" fmla="*/ 3911548 w 4788000"/>
              <a:gd name="connsiteY8" fmla="*/ 3075106 h 3256104"/>
              <a:gd name="connsiteX9" fmla="*/ 3821050 w 4788000"/>
              <a:gd name="connsiteY9" fmla="*/ 3165605 h 3256104"/>
              <a:gd name="connsiteX10" fmla="*/ 3730412 w 4788000"/>
              <a:gd name="connsiteY10" fmla="*/ 3256104 h 3256104"/>
              <a:gd name="connsiteX11" fmla="*/ 1055274 w 4788000"/>
              <a:gd name="connsiteY11" fmla="*/ 3251970 h 3256104"/>
              <a:gd name="connsiteX12" fmla="*/ 966970 w 4788000"/>
              <a:gd name="connsiteY12" fmla="*/ 3163528 h 3256104"/>
              <a:gd name="connsiteX13" fmla="*/ 878528 w 4788000"/>
              <a:gd name="connsiteY13" fmla="*/ 3075086 h 3256104"/>
              <a:gd name="connsiteX14" fmla="*/ 126829 w 4788000"/>
              <a:gd name="connsiteY14" fmla="*/ 3075086 h 3256104"/>
              <a:gd name="connsiteX15" fmla="*/ 126829 w 4788000"/>
              <a:gd name="connsiteY15" fmla="*/ 3075106 h 3256104"/>
              <a:gd name="connsiteX16" fmla="*/ 0 w 4788000"/>
              <a:gd name="connsiteY16" fmla="*/ 2948277 h 3256104"/>
              <a:gd name="connsiteX17" fmla="*/ 0 w 4788000"/>
              <a:gd name="connsiteY17" fmla="*/ 303556 h 3256104"/>
              <a:gd name="connsiteX18" fmla="*/ 126829 w 4788000"/>
              <a:gd name="connsiteY18" fmla="*/ 176727 h 3256104"/>
              <a:gd name="connsiteX19" fmla="*/ 878588 w 4788000"/>
              <a:gd name="connsiteY19" fmla="*/ 176727 h 3256104"/>
              <a:gd name="connsiteX20" fmla="*/ 966951 w 4788000"/>
              <a:gd name="connsiteY20" fmla="*/ 88363 h 3256104"/>
              <a:gd name="connsiteX21" fmla="*/ 1055314 w 4788000"/>
              <a:gd name="connsiteY21" fmla="*/ 0 h 325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88000" h="3256104">
                <a:moveTo>
                  <a:pt x="1055314" y="0"/>
                </a:moveTo>
                <a:lnTo>
                  <a:pt x="3737018" y="0"/>
                </a:lnTo>
                <a:cubicBezTo>
                  <a:pt x="3785471" y="0"/>
                  <a:pt x="3824412" y="39930"/>
                  <a:pt x="3823226" y="88363"/>
                </a:cubicBezTo>
                <a:cubicBezTo>
                  <a:pt x="3822019" y="136817"/>
                  <a:pt x="3860960" y="176727"/>
                  <a:pt x="3909433" y="176727"/>
                </a:cubicBezTo>
                <a:lnTo>
                  <a:pt x="4661171" y="176727"/>
                </a:lnTo>
                <a:cubicBezTo>
                  <a:pt x="4731221" y="176727"/>
                  <a:pt x="4788000" y="233506"/>
                  <a:pt x="4788000" y="303556"/>
                </a:cubicBezTo>
                <a:lnTo>
                  <a:pt x="4788000" y="2948277"/>
                </a:lnTo>
                <a:cubicBezTo>
                  <a:pt x="4788000" y="3018326"/>
                  <a:pt x="4731221" y="3075106"/>
                  <a:pt x="4661171" y="3075106"/>
                </a:cubicBezTo>
                <a:lnTo>
                  <a:pt x="3911548" y="3075106"/>
                </a:lnTo>
                <a:cubicBezTo>
                  <a:pt x="3861572" y="3075106"/>
                  <a:pt x="3821050" y="3115628"/>
                  <a:pt x="3821050" y="3165605"/>
                </a:cubicBezTo>
                <a:cubicBezTo>
                  <a:pt x="3821050" y="3215581"/>
                  <a:pt x="3780448" y="3256183"/>
                  <a:pt x="3730412" y="3256104"/>
                </a:cubicBezTo>
                <a:lnTo>
                  <a:pt x="1055274" y="3251970"/>
                </a:lnTo>
                <a:cubicBezTo>
                  <a:pt x="1006484" y="3251892"/>
                  <a:pt x="966970" y="3212318"/>
                  <a:pt x="966970" y="3163528"/>
                </a:cubicBezTo>
                <a:cubicBezTo>
                  <a:pt x="966970" y="3114739"/>
                  <a:pt x="927377" y="3075086"/>
                  <a:pt x="878528" y="3075086"/>
                </a:cubicBezTo>
                <a:lnTo>
                  <a:pt x="126829" y="3075086"/>
                </a:lnTo>
                <a:lnTo>
                  <a:pt x="126829" y="3075106"/>
                </a:lnTo>
                <a:cubicBezTo>
                  <a:pt x="56780" y="3075106"/>
                  <a:pt x="0" y="3018326"/>
                  <a:pt x="0" y="2948277"/>
                </a:cubicBezTo>
                <a:lnTo>
                  <a:pt x="0" y="303556"/>
                </a:lnTo>
                <a:cubicBezTo>
                  <a:pt x="0" y="233506"/>
                  <a:pt x="56780" y="176727"/>
                  <a:pt x="126829" y="176727"/>
                </a:cubicBezTo>
                <a:lnTo>
                  <a:pt x="878588" y="176727"/>
                </a:lnTo>
                <a:cubicBezTo>
                  <a:pt x="927397" y="176727"/>
                  <a:pt x="966951" y="137173"/>
                  <a:pt x="966951" y="88363"/>
                </a:cubicBezTo>
                <a:cubicBezTo>
                  <a:pt x="966951" y="39554"/>
                  <a:pt x="1006504" y="0"/>
                  <a:pt x="105531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6" name="Logo">
            <a:extLst>
              <a:ext uri="{FF2B5EF4-FFF2-40B4-BE49-F238E27FC236}">
                <a16:creationId xmlns:a16="http://schemas.microsoft.com/office/drawing/2014/main" id="{DF61AB94-5DB7-76CF-C18D-64DF49210414}"/>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10572966" y="286902"/>
            <a:ext cx="1302321" cy="268243"/>
          </a:xfrm>
          <a:prstGeom prst="rect">
            <a:avLst/>
          </a:prstGeom>
        </p:spPr>
      </p:pic>
      <p:sp>
        <p:nvSpPr>
          <p:cNvPr id="30" name="Titel 1">
            <a:extLst>
              <a:ext uri="{FF2B5EF4-FFF2-40B4-BE49-F238E27FC236}">
                <a16:creationId xmlns:a16="http://schemas.microsoft.com/office/drawing/2014/main" id="{A3E69ABE-5343-D865-72C7-F4678109D57B}"/>
              </a:ext>
            </a:extLst>
          </p:cNvPr>
          <p:cNvSpPr>
            <a:spLocks noGrp="1"/>
          </p:cNvSpPr>
          <p:nvPr>
            <p:ph type="title" hasCustomPrompt="1"/>
          </p:nvPr>
        </p:nvSpPr>
        <p:spPr>
          <a:xfrm>
            <a:off x="5591175" y="1975485"/>
            <a:ext cx="5976938" cy="503984"/>
          </a:xfrm>
        </p:spPr>
        <p:txBody>
          <a:bodyPr vert="horz"/>
          <a:lstStyle>
            <a:lvl1pPr>
              <a:defRPr>
                <a:solidFill>
                  <a:schemeClr val="tx2"/>
                </a:solidFill>
              </a:defRPr>
            </a:lvl1pPr>
          </a:lstStyle>
          <a:p>
            <a:r>
              <a:rPr lang="nl-NL" dirty="0"/>
              <a:t>Titel</a:t>
            </a:r>
          </a:p>
        </p:txBody>
      </p:sp>
      <p:sp>
        <p:nvSpPr>
          <p:cNvPr id="31" name="Tijdelijke aanduiding voor tekst 8">
            <a:extLst>
              <a:ext uri="{FF2B5EF4-FFF2-40B4-BE49-F238E27FC236}">
                <a16:creationId xmlns:a16="http://schemas.microsoft.com/office/drawing/2014/main" id="{8CF1220C-B392-DD0C-8ADA-E722B69FE446}"/>
              </a:ext>
            </a:extLst>
          </p:cNvPr>
          <p:cNvSpPr>
            <a:spLocks noGrp="1"/>
          </p:cNvSpPr>
          <p:nvPr>
            <p:ph type="body" sz="quarter" idx="13"/>
          </p:nvPr>
        </p:nvSpPr>
        <p:spPr>
          <a:xfrm>
            <a:off x="5591175" y="3862070"/>
            <a:ext cx="5976938" cy="17176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32" name="Afbeelding 31">
            <a:extLst>
              <a:ext uri="{FF2B5EF4-FFF2-40B4-BE49-F238E27FC236}">
                <a16:creationId xmlns:a16="http://schemas.microsoft.com/office/drawing/2014/main" id="{7CE779CE-2376-351D-20E6-C13C0E1031D1}"/>
              </a:ext>
            </a:extLst>
          </p:cNvPr>
          <p:cNvPicPr>
            <a:picLocks noChangeAspect="1"/>
          </p:cNvPicPr>
          <p:nvPr userDrawn="1"/>
        </p:nvPicPr>
        <p:blipFill>
          <a:blip r:embed="rId6"/>
          <a:stretch>
            <a:fillRect/>
          </a:stretch>
        </p:blipFill>
        <p:spPr>
          <a:xfrm>
            <a:off x="12192000" y="3862070"/>
            <a:ext cx="1731414" cy="2853175"/>
          </a:xfrm>
          <a:prstGeom prst="rect">
            <a:avLst/>
          </a:prstGeom>
        </p:spPr>
      </p:pic>
      <p:sp>
        <p:nvSpPr>
          <p:cNvPr id="33" name="Tijdelijke aanduiding voor voettekst 32">
            <a:extLst>
              <a:ext uri="{FF2B5EF4-FFF2-40B4-BE49-F238E27FC236}">
                <a16:creationId xmlns:a16="http://schemas.microsoft.com/office/drawing/2014/main" id="{A391D564-9B95-05E1-6535-7C969129D7CF}"/>
              </a:ext>
            </a:extLst>
          </p:cNvPr>
          <p:cNvSpPr>
            <a:spLocks noGrp="1"/>
          </p:cNvSpPr>
          <p:nvPr>
            <p:ph type="ftr" sz="quarter" idx="14"/>
          </p:nvPr>
        </p:nvSpPr>
        <p:spPr/>
        <p:txBody>
          <a:bodyPr/>
          <a:lstStyle/>
          <a:p>
            <a:endParaRPr lang="nl-NL" dirty="0"/>
          </a:p>
        </p:txBody>
      </p:sp>
      <p:sp>
        <p:nvSpPr>
          <p:cNvPr id="34" name="Tijdelijke aanduiding voor dianummer 33">
            <a:extLst>
              <a:ext uri="{FF2B5EF4-FFF2-40B4-BE49-F238E27FC236}">
                <a16:creationId xmlns:a16="http://schemas.microsoft.com/office/drawing/2014/main" id="{C3C270E5-E9B1-4E68-AB5C-ED619E100A91}"/>
              </a:ext>
            </a:extLst>
          </p:cNvPr>
          <p:cNvSpPr>
            <a:spLocks noGrp="1"/>
          </p:cNvSpPr>
          <p:nvPr>
            <p:ph type="sldNum" sz="quarter" idx="15"/>
          </p:nvPr>
        </p:nvSpPr>
        <p:spPr/>
        <p:txBody>
          <a:body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1718165867"/>
      </p:ext>
    </p:extLst>
  </p:cSld>
  <p:clrMapOvr>
    <a:masterClrMapping/>
  </p:clrMapOvr>
  <p:extLst>
    <p:ext uri="{DCECCB84-F9BA-43D5-87BE-67443E8EF086}">
      <p15:sldGuideLst xmlns:p15="http://schemas.microsoft.com/office/powerpoint/2012/main">
        <p15:guide id="1" pos="3522">
          <p15:clr>
            <a:srgbClr val="FBAE40"/>
          </p15:clr>
        </p15:guide>
        <p15:guide id="2" pos="728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en collage">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7E5EA276-9834-1521-B4B2-982D347E62CD}"/>
              </a:ext>
            </a:extLst>
          </p:cNvPr>
          <p:cNvSpPr>
            <a:spLocks noGrp="1" noRot="1" noMove="1" noResize="1" noEditPoints="1" noAdjustHandles="1" noChangeArrowheads="1" noChangeShapeType="1"/>
          </p:cNvSpPr>
          <p:nvPr>
            <p:ph type="pic" sz="quarter" idx="16"/>
          </p:nvPr>
        </p:nvSpPr>
        <p:spPr>
          <a:xfrm>
            <a:off x="4149700" y="4521200"/>
            <a:ext cx="3715876" cy="2203200"/>
          </a:xfrm>
          <a:custGeom>
            <a:avLst/>
            <a:gdLst>
              <a:gd name="connsiteX0" fmla="*/ 332888 w 3715876"/>
              <a:gd name="connsiteY0" fmla="*/ 0 h 2203200"/>
              <a:gd name="connsiteX1" fmla="*/ 3387548 w 3715876"/>
              <a:gd name="connsiteY1" fmla="*/ 0 h 2203200"/>
              <a:gd name="connsiteX2" fmla="*/ 3514169 w 3715876"/>
              <a:gd name="connsiteY2" fmla="*/ 126621 h 2203200"/>
              <a:gd name="connsiteX3" fmla="*/ 3514169 w 3715876"/>
              <a:gd name="connsiteY3" fmla="*/ 512750 h 2203200"/>
              <a:gd name="connsiteX4" fmla="*/ 3615022 w 3715876"/>
              <a:gd name="connsiteY4" fmla="*/ 613604 h 2203200"/>
              <a:gd name="connsiteX5" fmla="*/ 3715876 w 3715876"/>
              <a:gd name="connsiteY5" fmla="*/ 714457 h 2203200"/>
              <a:gd name="connsiteX6" fmla="*/ 3715876 w 3715876"/>
              <a:gd name="connsiteY6" fmla="*/ 1491592 h 2203200"/>
              <a:gd name="connsiteX7" fmla="*/ 3615022 w 3715876"/>
              <a:gd name="connsiteY7" fmla="*/ 1591052 h 2203200"/>
              <a:gd name="connsiteX8" fmla="*/ 3514169 w 3715876"/>
              <a:gd name="connsiteY8" fmla="*/ 1690513 h 2203200"/>
              <a:gd name="connsiteX9" fmla="*/ 3514169 w 3715876"/>
              <a:gd name="connsiteY9" fmla="*/ 2076579 h 2203200"/>
              <a:gd name="connsiteX10" fmla="*/ 3387548 w 3715876"/>
              <a:gd name="connsiteY10" fmla="*/ 2203200 h 2203200"/>
              <a:gd name="connsiteX11" fmla="*/ 332888 w 3715876"/>
              <a:gd name="connsiteY11" fmla="*/ 2203200 h 2203200"/>
              <a:gd name="connsiteX12" fmla="*/ 206267 w 3715876"/>
              <a:gd name="connsiteY12" fmla="*/ 2076579 h 2203200"/>
              <a:gd name="connsiteX13" fmla="*/ 206267 w 3715876"/>
              <a:gd name="connsiteY13" fmla="*/ 1692729 h 2203200"/>
              <a:gd name="connsiteX14" fmla="*/ 103134 w 3715876"/>
              <a:gd name="connsiteY14" fmla="*/ 1589596 h 2203200"/>
              <a:gd name="connsiteX15" fmla="*/ 2 w 3715876"/>
              <a:gd name="connsiteY15" fmla="*/ 1485957 h 2203200"/>
              <a:gd name="connsiteX16" fmla="*/ 3991 w 3715876"/>
              <a:gd name="connsiteY16" fmla="*/ 714141 h 2203200"/>
              <a:gd name="connsiteX17" fmla="*/ 105097 w 3715876"/>
              <a:gd name="connsiteY17" fmla="*/ 613541 h 2203200"/>
              <a:gd name="connsiteX18" fmla="*/ 206204 w 3715876"/>
              <a:gd name="connsiteY18" fmla="*/ 512434 h 2203200"/>
              <a:gd name="connsiteX19" fmla="*/ 206204 w 3715876"/>
              <a:gd name="connsiteY19" fmla="*/ 126621 h 2203200"/>
              <a:gd name="connsiteX20" fmla="*/ 206267 w 3715876"/>
              <a:gd name="connsiteY20" fmla="*/ 126621 h 2203200"/>
              <a:gd name="connsiteX21" fmla="*/ 332888 w 3715876"/>
              <a:gd name="connsiteY21" fmla="*/ 0 h 2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5876" h="2203200">
                <a:moveTo>
                  <a:pt x="332888" y="0"/>
                </a:moveTo>
                <a:lnTo>
                  <a:pt x="3387548" y="0"/>
                </a:lnTo>
                <a:cubicBezTo>
                  <a:pt x="3457506" y="0"/>
                  <a:pt x="3514169" y="56663"/>
                  <a:pt x="3514169" y="126621"/>
                </a:cubicBezTo>
                <a:lnTo>
                  <a:pt x="3514169" y="512750"/>
                </a:lnTo>
                <a:cubicBezTo>
                  <a:pt x="3514169" y="568464"/>
                  <a:pt x="3559309" y="613604"/>
                  <a:pt x="3615022" y="613604"/>
                </a:cubicBezTo>
                <a:cubicBezTo>
                  <a:pt x="3670735" y="613604"/>
                  <a:pt x="3715876" y="658744"/>
                  <a:pt x="3715876" y="714457"/>
                </a:cubicBezTo>
                <a:lnTo>
                  <a:pt x="3715876" y="1491592"/>
                </a:lnTo>
                <a:cubicBezTo>
                  <a:pt x="3715876" y="1547052"/>
                  <a:pt x="3670482" y="1591812"/>
                  <a:pt x="3615022" y="1591052"/>
                </a:cubicBezTo>
                <a:cubicBezTo>
                  <a:pt x="3559562" y="1590293"/>
                  <a:pt x="3514169" y="1635053"/>
                  <a:pt x="3514169" y="1690513"/>
                </a:cubicBezTo>
                <a:lnTo>
                  <a:pt x="3514169" y="2076579"/>
                </a:lnTo>
                <a:cubicBezTo>
                  <a:pt x="3514169" y="2146537"/>
                  <a:pt x="3457506" y="2203200"/>
                  <a:pt x="3387548" y="2203200"/>
                </a:cubicBezTo>
                <a:lnTo>
                  <a:pt x="332888" y="2203200"/>
                </a:lnTo>
                <a:cubicBezTo>
                  <a:pt x="262930" y="2203200"/>
                  <a:pt x="206267" y="2146537"/>
                  <a:pt x="206267" y="2076579"/>
                </a:cubicBezTo>
                <a:lnTo>
                  <a:pt x="206267" y="1692729"/>
                </a:lnTo>
                <a:cubicBezTo>
                  <a:pt x="206267" y="1635813"/>
                  <a:pt x="160114" y="1589596"/>
                  <a:pt x="103134" y="1589596"/>
                </a:cubicBezTo>
                <a:cubicBezTo>
                  <a:pt x="46155" y="1589596"/>
                  <a:pt x="-251" y="1543126"/>
                  <a:pt x="2" y="1485957"/>
                </a:cubicBezTo>
                <a:lnTo>
                  <a:pt x="3991" y="714141"/>
                </a:lnTo>
                <a:cubicBezTo>
                  <a:pt x="4307" y="658491"/>
                  <a:pt x="49447" y="613541"/>
                  <a:pt x="105097" y="613541"/>
                </a:cubicBezTo>
                <a:cubicBezTo>
                  <a:pt x="160747" y="613541"/>
                  <a:pt x="206204" y="568274"/>
                  <a:pt x="206204" y="512434"/>
                </a:cubicBezTo>
                <a:lnTo>
                  <a:pt x="206204" y="126621"/>
                </a:lnTo>
                <a:lnTo>
                  <a:pt x="206267" y="126621"/>
                </a:lnTo>
                <a:cubicBezTo>
                  <a:pt x="206267" y="56663"/>
                  <a:pt x="262930" y="0"/>
                  <a:pt x="332888"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3" name="Tijdelijke aanduiding voor afbeelding 22">
            <a:extLst>
              <a:ext uri="{FF2B5EF4-FFF2-40B4-BE49-F238E27FC236}">
                <a16:creationId xmlns:a16="http://schemas.microsoft.com/office/drawing/2014/main" id="{BFE3AB00-24F7-6659-41FD-06110DDC0D99}"/>
              </a:ext>
            </a:extLst>
          </p:cNvPr>
          <p:cNvSpPr>
            <a:spLocks noGrp="1" noRot="1" noMove="1" noResize="1" noEditPoints="1" noAdjustHandles="1" noChangeArrowheads="1" noChangeShapeType="1"/>
          </p:cNvSpPr>
          <p:nvPr>
            <p:ph type="pic" sz="quarter" idx="17"/>
          </p:nvPr>
        </p:nvSpPr>
        <p:spPr>
          <a:xfrm>
            <a:off x="876053" y="4521200"/>
            <a:ext cx="3417745" cy="2203200"/>
          </a:xfrm>
          <a:custGeom>
            <a:avLst/>
            <a:gdLst>
              <a:gd name="connsiteX0" fmla="*/ 126621 w 3417745"/>
              <a:gd name="connsiteY0" fmla="*/ 0 h 2203200"/>
              <a:gd name="connsiteX1" fmla="*/ 3291125 w 3417745"/>
              <a:gd name="connsiteY1" fmla="*/ 0 h 2203200"/>
              <a:gd name="connsiteX2" fmla="*/ 3417745 w 3417745"/>
              <a:gd name="connsiteY2" fmla="*/ 126621 h 2203200"/>
              <a:gd name="connsiteX3" fmla="*/ 3417745 w 3417745"/>
              <a:gd name="connsiteY3" fmla="*/ 446591 h 2203200"/>
              <a:gd name="connsiteX4" fmla="*/ 3313536 w 3417745"/>
              <a:gd name="connsiteY4" fmla="*/ 550800 h 2203200"/>
              <a:gd name="connsiteX5" fmla="*/ 3209328 w 3417745"/>
              <a:gd name="connsiteY5" fmla="*/ 655009 h 2203200"/>
              <a:gd name="connsiteX6" fmla="*/ 3209328 w 3417745"/>
              <a:gd name="connsiteY6" fmla="*/ 1550977 h 2203200"/>
              <a:gd name="connsiteX7" fmla="*/ 3313536 w 3417745"/>
              <a:gd name="connsiteY7" fmla="*/ 1653793 h 2203200"/>
              <a:gd name="connsiteX8" fmla="*/ 3417745 w 3417745"/>
              <a:gd name="connsiteY8" fmla="*/ 1756609 h 2203200"/>
              <a:gd name="connsiteX9" fmla="*/ 3417745 w 3417745"/>
              <a:gd name="connsiteY9" fmla="*/ 2076579 h 2203200"/>
              <a:gd name="connsiteX10" fmla="*/ 3291125 w 3417745"/>
              <a:gd name="connsiteY10" fmla="*/ 2203200 h 2203200"/>
              <a:gd name="connsiteX11" fmla="*/ 126621 w 3417745"/>
              <a:gd name="connsiteY11" fmla="*/ 2203200 h 2203200"/>
              <a:gd name="connsiteX12" fmla="*/ 0 w 3417745"/>
              <a:gd name="connsiteY12" fmla="*/ 2076579 h 2203200"/>
              <a:gd name="connsiteX13" fmla="*/ 0 w 3417745"/>
              <a:gd name="connsiteY13" fmla="*/ 1754266 h 2203200"/>
              <a:gd name="connsiteX14" fmla="*/ 101866 w 3417745"/>
              <a:gd name="connsiteY14" fmla="*/ 1652400 h 2203200"/>
              <a:gd name="connsiteX15" fmla="*/ 203669 w 3417745"/>
              <a:gd name="connsiteY15" fmla="*/ 1551040 h 2203200"/>
              <a:gd name="connsiteX16" fmla="*/ 207911 w 3417745"/>
              <a:gd name="connsiteY16" fmla="*/ 655262 h 2203200"/>
              <a:gd name="connsiteX17" fmla="*/ 103956 w 3417745"/>
              <a:gd name="connsiteY17" fmla="*/ 550800 h 2203200"/>
              <a:gd name="connsiteX18" fmla="*/ 0 w 3417745"/>
              <a:gd name="connsiteY18" fmla="*/ 446844 h 2203200"/>
              <a:gd name="connsiteX19" fmla="*/ 0 w 3417745"/>
              <a:gd name="connsiteY19" fmla="*/ 126621 h 2203200"/>
              <a:gd name="connsiteX20" fmla="*/ 126621 w 3417745"/>
              <a:gd name="connsiteY20" fmla="*/ 0 h 2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17745" h="2203200">
                <a:moveTo>
                  <a:pt x="126621" y="0"/>
                </a:moveTo>
                <a:lnTo>
                  <a:pt x="3291125" y="0"/>
                </a:lnTo>
                <a:cubicBezTo>
                  <a:pt x="3361083" y="0"/>
                  <a:pt x="3417745" y="56663"/>
                  <a:pt x="3417745" y="126621"/>
                </a:cubicBezTo>
                <a:lnTo>
                  <a:pt x="3417745" y="446591"/>
                </a:lnTo>
                <a:cubicBezTo>
                  <a:pt x="3417745" y="504140"/>
                  <a:pt x="3371085" y="550800"/>
                  <a:pt x="3313536" y="550800"/>
                </a:cubicBezTo>
                <a:cubicBezTo>
                  <a:pt x="3255987" y="550800"/>
                  <a:pt x="3209328" y="597460"/>
                  <a:pt x="3209328" y="655009"/>
                </a:cubicBezTo>
                <a:lnTo>
                  <a:pt x="3209328" y="1550977"/>
                </a:lnTo>
                <a:cubicBezTo>
                  <a:pt x="3209328" y="1608273"/>
                  <a:pt x="3256177" y="1654553"/>
                  <a:pt x="3313536" y="1653793"/>
                </a:cubicBezTo>
                <a:cubicBezTo>
                  <a:pt x="3370832" y="1653033"/>
                  <a:pt x="3417745" y="1699313"/>
                  <a:pt x="3417745" y="1756609"/>
                </a:cubicBezTo>
                <a:lnTo>
                  <a:pt x="3417745" y="2076579"/>
                </a:lnTo>
                <a:cubicBezTo>
                  <a:pt x="3417745" y="2146537"/>
                  <a:pt x="3361083" y="2203200"/>
                  <a:pt x="3291125" y="2203200"/>
                </a:cubicBezTo>
                <a:lnTo>
                  <a:pt x="126621" y="2203200"/>
                </a:lnTo>
                <a:cubicBezTo>
                  <a:pt x="56663" y="2203200"/>
                  <a:pt x="0" y="2146537"/>
                  <a:pt x="0" y="2076579"/>
                </a:cubicBezTo>
                <a:lnTo>
                  <a:pt x="0" y="1754266"/>
                </a:lnTo>
                <a:cubicBezTo>
                  <a:pt x="0" y="1698047"/>
                  <a:pt x="45583" y="1652400"/>
                  <a:pt x="101866" y="1652400"/>
                </a:cubicBezTo>
                <a:cubicBezTo>
                  <a:pt x="158149" y="1652400"/>
                  <a:pt x="203416" y="1607070"/>
                  <a:pt x="203669" y="1551040"/>
                </a:cubicBezTo>
                <a:lnTo>
                  <a:pt x="207911" y="655262"/>
                </a:lnTo>
                <a:cubicBezTo>
                  <a:pt x="208164" y="597650"/>
                  <a:pt x="161568" y="550800"/>
                  <a:pt x="103956" y="550800"/>
                </a:cubicBezTo>
                <a:cubicBezTo>
                  <a:pt x="46343" y="550800"/>
                  <a:pt x="0" y="504267"/>
                  <a:pt x="0" y="446844"/>
                </a:cubicBezTo>
                <a:lnTo>
                  <a:pt x="0" y="126621"/>
                </a:lnTo>
                <a:cubicBezTo>
                  <a:pt x="0" y="56663"/>
                  <a:pt x="56663" y="0"/>
                  <a:pt x="126621"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6" name="Tijdelijke aanduiding voor afbeelding 25">
            <a:extLst>
              <a:ext uri="{FF2B5EF4-FFF2-40B4-BE49-F238E27FC236}">
                <a16:creationId xmlns:a16="http://schemas.microsoft.com/office/drawing/2014/main" id="{889AA860-1DB3-8B97-18D5-996BE42608C2}"/>
              </a:ext>
            </a:extLst>
          </p:cNvPr>
          <p:cNvSpPr>
            <a:spLocks noGrp="1" noRot="1" noMove="1" noResize="1" noEditPoints="1" noAdjustHandles="1" noChangeArrowheads="1" noChangeShapeType="1"/>
          </p:cNvSpPr>
          <p:nvPr>
            <p:ph type="pic" sz="quarter" idx="15"/>
          </p:nvPr>
        </p:nvSpPr>
        <p:spPr>
          <a:xfrm>
            <a:off x="7726166" y="4521201"/>
            <a:ext cx="3716380" cy="2203263"/>
          </a:xfrm>
          <a:custGeom>
            <a:avLst/>
            <a:gdLst>
              <a:gd name="connsiteX0" fmla="*/ 126684 w 3716380"/>
              <a:gd name="connsiteY0" fmla="*/ 0 h 2203263"/>
              <a:gd name="connsiteX1" fmla="*/ 3589760 w 3716380"/>
              <a:gd name="connsiteY1" fmla="*/ 0 h 2203263"/>
              <a:gd name="connsiteX2" fmla="*/ 3716380 w 3716380"/>
              <a:gd name="connsiteY2" fmla="*/ 126621 h 2203263"/>
              <a:gd name="connsiteX3" fmla="*/ 3716380 w 3716380"/>
              <a:gd name="connsiteY3" fmla="*/ 437474 h 2203263"/>
              <a:gd name="connsiteX4" fmla="*/ 3603055 w 3716380"/>
              <a:gd name="connsiteY4" fmla="*/ 550800 h 2203263"/>
              <a:gd name="connsiteX5" fmla="*/ 3489729 w 3716380"/>
              <a:gd name="connsiteY5" fmla="*/ 664126 h 2203263"/>
              <a:gd name="connsiteX6" fmla="*/ 3489729 w 3716380"/>
              <a:gd name="connsiteY6" fmla="*/ 1541924 h 2203263"/>
              <a:gd name="connsiteX7" fmla="*/ 3603055 w 3716380"/>
              <a:gd name="connsiteY7" fmla="*/ 1653856 h 2203263"/>
              <a:gd name="connsiteX8" fmla="*/ 3716380 w 3716380"/>
              <a:gd name="connsiteY8" fmla="*/ 1765789 h 2203263"/>
              <a:gd name="connsiteX9" fmla="*/ 3716380 w 3716380"/>
              <a:gd name="connsiteY9" fmla="*/ 2076643 h 2203263"/>
              <a:gd name="connsiteX10" fmla="*/ 3589760 w 3716380"/>
              <a:gd name="connsiteY10" fmla="*/ 2203263 h 2203263"/>
              <a:gd name="connsiteX11" fmla="*/ 126684 w 3716380"/>
              <a:gd name="connsiteY11" fmla="*/ 2203263 h 2203263"/>
              <a:gd name="connsiteX12" fmla="*/ 63 w 3716380"/>
              <a:gd name="connsiteY12" fmla="*/ 2076643 h 2203263"/>
              <a:gd name="connsiteX13" fmla="*/ 63 w 3716380"/>
              <a:gd name="connsiteY13" fmla="*/ 1763193 h 2203263"/>
              <a:gd name="connsiteX14" fmla="*/ 110793 w 3716380"/>
              <a:gd name="connsiteY14" fmla="*/ 1652463 h 2203263"/>
              <a:gd name="connsiteX15" fmla="*/ 221523 w 3716380"/>
              <a:gd name="connsiteY15" fmla="*/ 1542303 h 2203263"/>
              <a:gd name="connsiteX16" fmla="*/ 226018 w 3716380"/>
              <a:gd name="connsiteY16" fmla="*/ 664505 h 2203263"/>
              <a:gd name="connsiteX17" fmla="*/ 113009 w 3716380"/>
              <a:gd name="connsiteY17" fmla="*/ 550927 h 2203263"/>
              <a:gd name="connsiteX18" fmla="*/ 0 w 3716380"/>
              <a:gd name="connsiteY18" fmla="*/ 437918 h 2203263"/>
              <a:gd name="connsiteX19" fmla="*/ 0 w 3716380"/>
              <a:gd name="connsiteY19" fmla="*/ 126621 h 2203263"/>
              <a:gd name="connsiteX20" fmla="*/ 63 w 3716380"/>
              <a:gd name="connsiteY20" fmla="*/ 126621 h 2203263"/>
              <a:gd name="connsiteX21" fmla="*/ 126684 w 3716380"/>
              <a:gd name="connsiteY21" fmla="*/ 0 h 220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6380" h="2203263">
                <a:moveTo>
                  <a:pt x="126684" y="0"/>
                </a:moveTo>
                <a:lnTo>
                  <a:pt x="3589760" y="0"/>
                </a:lnTo>
                <a:cubicBezTo>
                  <a:pt x="3659718" y="0"/>
                  <a:pt x="3716380" y="56663"/>
                  <a:pt x="3716380" y="126621"/>
                </a:cubicBezTo>
                <a:lnTo>
                  <a:pt x="3716380" y="437474"/>
                </a:lnTo>
                <a:cubicBezTo>
                  <a:pt x="3716380" y="500025"/>
                  <a:pt x="3665669" y="550800"/>
                  <a:pt x="3603055" y="550800"/>
                </a:cubicBezTo>
                <a:cubicBezTo>
                  <a:pt x="3540441" y="550800"/>
                  <a:pt x="3489729" y="601512"/>
                  <a:pt x="3489729" y="664126"/>
                </a:cubicBezTo>
                <a:lnTo>
                  <a:pt x="3489729" y="1541924"/>
                </a:lnTo>
                <a:cubicBezTo>
                  <a:pt x="3489729" y="1604284"/>
                  <a:pt x="3540694" y="1654616"/>
                  <a:pt x="3603055" y="1653856"/>
                </a:cubicBezTo>
                <a:cubicBezTo>
                  <a:pt x="3665415" y="1653096"/>
                  <a:pt x="3716380" y="1703428"/>
                  <a:pt x="3716380" y="1765789"/>
                </a:cubicBezTo>
                <a:lnTo>
                  <a:pt x="3716380" y="2076643"/>
                </a:lnTo>
                <a:cubicBezTo>
                  <a:pt x="3716380" y="2146601"/>
                  <a:pt x="3659718" y="2203263"/>
                  <a:pt x="3589760" y="2203263"/>
                </a:cubicBezTo>
                <a:lnTo>
                  <a:pt x="126684" y="2203263"/>
                </a:lnTo>
                <a:cubicBezTo>
                  <a:pt x="56726" y="2203263"/>
                  <a:pt x="63" y="2146601"/>
                  <a:pt x="63" y="2076643"/>
                </a:cubicBezTo>
                <a:lnTo>
                  <a:pt x="63" y="1763193"/>
                </a:lnTo>
                <a:cubicBezTo>
                  <a:pt x="63" y="1702035"/>
                  <a:pt x="49635" y="1652463"/>
                  <a:pt x="110793" y="1652463"/>
                </a:cubicBezTo>
                <a:cubicBezTo>
                  <a:pt x="171951" y="1652463"/>
                  <a:pt x="221207" y="1603208"/>
                  <a:pt x="221523" y="1542303"/>
                </a:cubicBezTo>
                <a:lnTo>
                  <a:pt x="226018" y="664505"/>
                </a:lnTo>
                <a:cubicBezTo>
                  <a:pt x="226334" y="601891"/>
                  <a:pt x="175623" y="550927"/>
                  <a:pt x="113009" y="550927"/>
                </a:cubicBezTo>
                <a:cubicBezTo>
                  <a:pt x="50395" y="550927"/>
                  <a:pt x="0" y="500342"/>
                  <a:pt x="0" y="437918"/>
                </a:cubicBezTo>
                <a:lnTo>
                  <a:pt x="0" y="126621"/>
                </a:lnTo>
                <a:lnTo>
                  <a:pt x="63" y="126621"/>
                </a:lnTo>
                <a:cubicBezTo>
                  <a:pt x="63" y="56663"/>
                  <a:pt x="56726" y="0"/>
                  <a:pt x="12668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11" name="Afbeelding 10">
            <a:extLst>
              <a:ext uri="{FF2B5EF4-FFF2-40B4-BE49-F238E27FC236}">
                <a16:creationId xmlns:a16="http://schemas.microsoft.com/office/drawing/2014/main" id="{B4DDC55A-C58D-78F7-8263-1549F297E7D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4521200"/>
            <a:ext cx="1006462" cy="2202823"/>
          </a:xfrm>
          <a:prstGeom prst="rect">
            <a:avLst/>
          </a:prstGeom>
        </p:spPr>
      </p:pic>
      <p:pic>
        <p:nvPicPr>
          <p:cNvPr id="13" name="Afbeelding 12">
            <a:extLst>
              <a:ext uri="{FF2B5EF4-FFF2-40B4-BE49-F238E27FC236}">
                <a16:creationId xmlns:a16="http://schemas.microsoft.com/office/drawing/2014/main" id="{59213F1A-D2F2-8D70-1F69-4FCE1CDF0FD5}"/>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11312136" y="4521200"/>
            <a:ext cx="879863" cy="2202823"/>
          </a:xfrm>
          <a:prstGeom prst="rect">
            <a:avLst/>
          </a:prstGeom>
        </p:spPr>
      </p:pic>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695325" y="908050"/>
            <a:ext cx="5400000" cy="503984"/>
          </a:xfrm>
        </p:spPr>
        <p:txBody>
          <a:bodyPr vert="horz"/>
          <a:lstStyle>
            <a:lvl1pPr>
              <a:defRPr>
                <a:solidFill>
                  <a:schemeClr val="tx2"/>
                </a:solidFill>
              </a:defRPr>
            </a:lvl1pPr>
          </a:lstStyle>
          <a:p>
            <a:r>
              <a:rPr lang="nl-NL" dirty="0"/>
              <a:t>Titel</a:t>
            </a:r>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hasCustomPrompt="1"/>
          </p:nvPr>
        </p:nvSpPr>
        <p:spPr>
          <a:xfrm>
            <a:off x="695325" y="2753679"/>
            <a:ext cx="4374515" cy="1440000"/>
          </a:xfrm>
        </p:spPr>
        <p:txBody>
          <a:bodyPr/>
          <a:lstStyle>
            <a:lvl1pPr>
              <a:defRPr>
                <a:solidFill>
                  <a:schemeClr val="tx2"/>
                </a:solidFill>
              </a:defRPr>
            </a:lvl1pPr>
          </a:lstStyle>
          <a:p>
            <a:pPr lvl="0"/>
            <a:r>
              <a:rPr lang="nl-NL" dirty="0"/>
              <a:t>Inleiding</a:t>
            </a:r>
          </a:p>
        </p:txBody>
      </p:sp>
      <p:sp>
        <p:nvSpPr>
          <p:cNvPr id="8" name="Tijdelijke aanduiding voor tekst 8">
            <a:extLst>
              <a:ext uri="{FF2B5EF4-FFF2-40B4-BE49-F238E27FC236}">
                <a16:creationId xmlns:a16="http://schemas.microsoft.com/office/drawing/2014/main" id="{9252D704-6BC8-C741-DFF5-B632B4765648}"/>
              </a:ext>
            </a:extLst>
          </p:cNvPr>
          <p:cNvSpPr>
            <a:spLocks noGrp="1"/>
          </p:cNvSpPr>
          <p:nvPr>
            <p:ph type="body" sz="quarter" idx="14"/>
          </p:nvPr>
        </p:nvSpPr>
        <p:spPr>
          <a:xfrm>
            <a:off x="5537200" y="2753679"/>
            <a:ext cx="6030913" cy="1440000"/>
          </a:xfrm>
        </p:spPr>
        <p:txBody>
          <a:bodyPr/>
          <a:lstStyle>
            <a:lvl1pPr>
              <a:lnSpc>
                <a:spcPct val="112000"/>
              </a:lnSpc>
              <a:defRPr sz="1000">
                <a:solidFill>
                  <a:schemeClr val="tx2"/>
                </a:solidFill>
              </a:defRPr>
            </a:lvl1pPr>
            <a:lvl2pPr>
              <a:lnSpc>
                <a:spcPct val="112000"/>
              </a:lnSpc>
              <a:defRPr sz="1000">
                <a:solidFill>
                  <a:schemeClr val="tx2"/>
                </a:solidFill>
              </a:defRPr>
            </a:lvl2pPr>
            <a:lvl3pPr>
              <a:lnSpc>
                <a:spcPct val="112000"/>
              </a:lnSpc>
              <a:defRPr sz="1000">
                <a:solidFill>
                  <a:schemeClr val="tx2"/>
                </a:solidFill>
              </a:defRPr>
            </a:lvl3pPr>
            <a:lvl4pPr>
              <a:lnSpc>
                <a:spcPct val="112000"/>
              </a:lnSpc>
              <a:defRPr sz="1000">
                <a:solidFill>
                  <a:schemeClr val="tx2"/>
                </a:solidFill>
              </a:defRPr>
            </a:lvl4pPr>
            <a:lvl5pPr>
              <a:lnSpc>
                <a:spcPct val="112000"/>
              </a:lnSpc>
              <a:defRPr sz="1000">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22" name="Afbeelding 21">
            <a:extLst>
              <a:ext uri="{FF2B5EF4-FFF2-40B4-BE49-F238E27FC236}">
                <a16:creationId xmlns:a16="http://schemas.microsoft.com/office/drawing/2014/main" id="{224619ED-F4FF-29CB-31C2-988E0EDE2E1F}"/>
              </a:ext>
            </a:extLst>
          </p:cNvPr>
          <p:cNvPicPr>
            <a:picLocks noChangeAspect="1"/>
          </p:cNvPicPr>
          <p:nvPr userDrawn="1"/>
        </p:nvPicPr>
        <p:blipFill>
          <a:blip r:embed="rId4"/>
          <a:stretch>
            <a:fillRect/>
          </a:stretch>
        </p:blipFill>
        <p:spPr>
          <a:xfrm>
            <a:off x="12192000" y="2753679"/>
            <a:ext cx="1731414" cy="2853175"/>
          </a:xfrm>
          <a:prstGeom prst="rect">
            <a:avLst/>
          </a:prstGeom>
        </p:spPr>
      </p:pic>
    </p:spTree>
    <p:extLst>
      <p:ext uri="{BB962C8B-B14F-4D97-AF65-F5344CB8AC3E}">
        <p14:creationId xmlns:p14="http://schemas.microsoft.com/office/powerpoint/2010/main" val="1849290809"/>
      </p:ext>
    </p:extLst>
  </p:cSld>
  <p:clrMapOvr>
    <a:masterClrMapping/>
  </p:clrMapOvr>
  <p:extLst>
    <p:ext uri="{DCECCB84-F9BA-43D5-87BE-67443E8EF086}">
      <p15:sldGuideLst xmlns:p15="http://schemas.microsoft.com/office/powerpoint/2012/main">
        <p15:guide id="1" orient="horz" pos="572">
          <p15:clr>
            <a:srgbClr val="FBAE40"/>
          </p15:clr>
        </p15:guide>
        <p15:guide id="2" pos="438">
          <p15:clr>
            <a:srgbClr val="FBAE40"/>
          </p15:clr>
        </p15:guide>
        <p15:guide id="3" pos="72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509C51-8388-2214-6668-0EDC679918DC}"/>
              </a:ext>
            </a:extLst>
          </p:cNvPr>
          <p:cNvSpPr>
            <a:spLocks noGrp="1"/>
          </p:cNvSpPr>
          <p:nvPr>
            <p:ph type="title" hasCustomPrompt="1"/>
          </p:nvPr>
        </p:nvSpPr>
        <p:spPr>
          <a:xfrm>
            <a:off x="1922144" y="250825"/>
            <a:ext cx="5400000" cy="302390"/>
          </a:xfrm>
        </p:spPr>
        <p:txBody>
          <a:bodyPr vert="horz"/>
          <a:lstStyle>
            <a:lvl1pPr>
              <a:defRPr sz="1800"/>
            </a:lvl1pPr>
          </a:lstStyle>
          <a:p>
            <a:r>
              <a:rPr lang="nl-NL" dirty="0"/>
              <a:t>Titel</a:t>
            </a:r>
          </a:p>
        </p:txBody>
      </p:sp>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4" name="Tijdelijke aanduiding voor media 3">
            <a:extLst>
              <a:ext uri="{FF2B5EF4-FFF2-40B4-BE49-F238E27FC236}">
                <a16:creationId xmlns:a16="http://schemas.microsoft.com/office/drawing/2014/main" id="{095BB2CE-3382-7FF1-05B8-B9A31B524EC7}"/>
              </a:ext>
            </a:extLst>
          </p:cNvPr>
          <p:cNvSpPr>
            <a:spLocks noGrp="1"/>
          </p:cNvSpPr>
          <p:nvPr>
            <p:ph type="media" sz="quarter" idx="13"/>
          </p:nvPr>
        </p:nvSpPr>
        <p:spPr>
          <a:xfrm>
            <a:off x="156210" y="830579"/>
            <a:ext cx="11879580" cy="5875022"/>
          </a:xfrm>
          <a:prstGeom prst="roundRect">
            <a:avLst>
              <a:gd name="adj" fmla="val 1519"/>
            </a:avLst>
          </a:prstGeom>
          <a:solidFill>
            <a:schemeClr val="accent5">
              <a:lumMod val="20000"/>
              <a:lumOff val="80000"/>
            </a:schemeClr>
          </a:solidFill>
        </p:spPr>
        <p:txBody>
          <a:bodyPr bIns="504000" anchor="ctr" anchorCtr="0"/>
          <a:lstStyle>
            <a:lvl1pPr algn="ctr">
              <a:defRPr/>
            </a:lvl1pPr>
          </a:lstStyle>
          <a:p>
            <a:r>
              <a:rPr lang="nl-NL"/>
              <a:t>Klik op het pictogram als u media wilt toevoegen</a:t>
            </a:r>
            <a:endParaRPr lang="nl-NL" dirty="0"/>
          </a:p>
        </p:txBody>
      </p:sp>
    </p:spTree>
    <p:extLst>
      <p:ext uri="{BB962C8B-B14F-4D97-AF65-F5344CB8AC3E}">
        <p14:creationId xmlns:p14="http://schemas.microsoft.com/office/powerpoint/2010/main" val="403820765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Video - 2">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FB786439-DFFE-0860-45E4-80461ABAAE82}"/>
              </a:ext>
            </a:extLst>
          </p:cNvPr>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11" name="Afbeelding 10">
            <a:extLst>
              <a:ext uri="{FF2B5EF4-FFF2-40B4-BE49-F238E27FC236}">
                <a16:creationId xmlns:a16="http://schemas.microsoft.com/office/drawing/2014/main" id="{8257275C-53D8-EF90-0B3A-7972D0BC3F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223491" y="197893"/>
            <a:ext cx="1968509" cy="6462213"/>
          </a:xfrm>
          <a:prstGeom prst="rect">
            <a:avLst/>
          </a:prstGeom>
        </p:spPr>
      </p:pic>
      <p:pic>
        <p:nvPicPr>
          <p:cNvPr id="7" name="Logo">
            <a:extLst>
              <a:ext uri="{FF2B5EF4-FFF2-40B4-BE49-F238E27FC236}">
                <a16:creationId xmlns:a16="http://schemas.microsoft.com/office/drawing/2014/main" id="{D75BC523-8B22-6DB0-0861-5993A2BCA8C3}"/>
              </a:ext>
            </a:extLst>
          </p:cNvPr>
          <p:cNvPicPr/>
          <p:nvPr userDrawn="1"/>
        </p:nvPicPr>
        <p:blipFill>
          <a:blip r:embed="rId3">
            <a:extLst>
              <a:ext uri="{96DAC541-7B7A-43D3-8B79-37D633B846F1}">
                <asvg:svgBlip xmlns:asvg="http://schemas.microsoft.com/office/drawing/2016/SVG/main" r:embed="rId4"/>
              </a:ext>
            </a:extLst>
          </a:blip>
          <a:stretch>
            <a:fillRect/>
          </a:stretch>
        </p:blipFill>
        <p:spPr>
          <a:xfrm>
            <a:off x="10572966" y="286902"/>
            <a:ext cx="1302321" cy="268243"/>
          </a:xfrm>
          <a:prstGeom prst="rect">
            <a:avLst/>
          </a:prstGeom>
        </p:spPr>
      </p:pic>
      <p:sp>
        <p:nvSpPr>
          <p:cNvPr id="16" name="Tijdelijke aanduiding voor media 15">
            <a:extLst>
              <a:ext uri="{FF2B5EF4-FFF2-40B4-BE49-F238E27FC236}">
                <a16:creationId xmlns:a16="http://schemas.microsoft.com/office/drawing/2014/main" id="{E399BFDB-02AC-1DEF-4165-8A252CC42991}"/>
              </a:ext>
            </a:extLst>
          </p:cNvPr>
          <p:cNvSpPr>
            <a:spLocks noGrp="1"/>
          </p:cNvSpPr>
          <p:nvPr>
            <p:ph type="media" sz="quarter" idx="13"/>
          </p:nvPr>
        </p:nvSpPr>
        <p:spPr>
          <a:xfrm>
            <a:off x="1099244" y="198106"/>
            <a:ext cx="9496665" cy="6462953"/>
          </a:xfrm>
          <a:custGeom>
            <a:avLst/>
            <a:gdLst>
              <a:gd name="connsiteX0" fmla="*/ 654989 w 9496665"/>
              <a:gd name="connsiteY0" fmla="*/ 0 h 6462953"/>
              <a:gd name="connsiteX1" fmla="*/ 8853980 w 9496665"/>
              <a:gd name="connsiteY1" fmla="*/ 0 h 6462953"/>
              <a:gd name="connsiteX2" fmla="*/ 8981208 w 9496665"/>
              <a:gd name="connsiteY2" fmla="*/ 127229 h 6462953"/>
              <a:gd name="connsiteX3" fmla="*/ 8981208 w 9496665"/>
              <a:gd name="connsiteY3" fmla="*/ 1672646 h 6462953"/>
              <a:gd name="connsiteX4" fmla="*/ 9108437 w 9496665"/>
              <a:gd name="connsiteY4" fmla="*/ 1799875 h 6462953"/>
              <a:gd name="connsiteX5" fmla="*/ 9369437 w 9496665"/>
              <a:gd name="connsiteY5" fmla="*/ 1799875 h 6462953"/>
              <a:gd name="connsiteX6" fmla="*/ 9496665 w 9496665"/>
              <a:gd name="connsiteY6" fmla="*/ 1927103 h 6462953"/>
              <a:gd name="connsiteX7" fmla="*/ 9496665 w 9496665"/>
              <a:gd name="connsiteY7" fmla="*/ 4541990 h 6462953"/>
              <a:gd name="connsiteX8" fmla="*/ 9367425 w 9496665"/>
              <a:gd name="connsiteY8" fmla="*/ 4669198 h 6462953"/>
              <a:gd name="connsiteX9" fmla="*/ 9110448 w 9496665"/>
              <a:gd name="connsiteY9" fmla="*/ 4665133 h 6462953"/>
              <a:gd name="connsiteX10" fmla="*/ 8981208 w 9496665"/>
              <a:gd name="connsiteY10" fmla="*/ 4792340 h 6462953"/>
              <a:gd name="connsiteX11" fmla="*/ 8981208 w 9496665"/>
              <a:gd name="connsiteY11" fmla="*/ 6335725 h 6462953"/>
              <a:gd name="connsiteX12" fmla="*/ 8853980 w 9496665"/>
              <a:gd name="connsiteY12" fmla="*/ 6462953 h 6462953"/>
              <a:gd name="connsiteX13" fmla="*/ 654989 w 9496665"/>
              <a:gd name="connsiteY13" fmla="*/ 6462953 h 6462953"/>
              <a:gd name="connsiteX14" fmla="*/ 527761 w 9496665"/>
              <a:gd name="connsiteY14" fmla="*/ 6335725 h 6462953"/>
              <a:gd name="connsiteX15" fmla="*/ 527761 w 9496665"/>
              <a:gd name="connsiteY15" fmla="*/ 4790307 h 6462953"/>
              <a:gd name="connsiteX16" fmla="*/ 400532 w 9496665"/>
              <a:gd name="connsiteY16" fmla="*/ 4663079 h 6462953"/>
              <a:gd name="connsiteX17" fmla="*/ 127231 w 9496665"/>
              <a:gd name="connsiteY17" fmla="*/ 4663079 h 6462953"/>
              <a:gd name="connsiteX18" fmla="*/ 2 w 9496665"/>
              <a:gd name="connsiteY18" fmla="*/ 4535278 h 6462953"/>
              <a:gd name="connsiteX19" fmla="*/ 11753 w 9496665"/>
              <a:gd name="connsiteY19" fmla="*/ 1926510 h 6462953"/>
              <a:gd name="connsiteX20" fmla="*/ 138982 w 9496665"/>
              <a:gd name="connsiteY20" fmla="*/ 1799853 h 6462953"/>
              <a:gd name="connsiteX21" fmla="*/ 400553 w 9496665"/>
              <a:gd name="connsiteY21" fmla="*/ 1799853 h 6462953"/>
              <a:gd name="connsiteX22" fmla="*/ 527782 w 9496665"/>
              <a:gd name="connsiteY22" fmla="*/ 1672625 h 6462953"/>
              <a:gd name="connsiteX23" fmla="*/ 527782 w 9496665"/>
              <a:gd name="connsiteY23" fmla="*/ 127229 h 6462953"/>
              <a:gd name="connsiteX24" fmla="*/ 527761 w 9496665"/>
              <a:gd name="connsiteY24" fmla="*/ 127229 h 6462953"/>
              <a:gd name="connsiteX25" fmla="*/ 654989 w 9496665"/>
              <a:gd name="connsiteY25" fmla="*/ 0 h 646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496665" h="6462953">
                <a:moveTo>
                  <a:pt x="654989" y="0"/>
                </a:moveTo>
                <a:lnTo>
                  <a:pt x="8853980" y="0"/>
                </a:lnTo>
                <a:cubicBezTo>
                  <a:pt x="8924253" y="0"/>
                  <a:pt x="8981208" y="56955"/>
                  <a:pt x="8981208" y="127229"/>
                </a:cubicBezTo>
                <a:lnTo>
                  <a:pt x="8981208" y="1672646"/>
                </a:lnTo>
                <a:cubicBezTo>
                  <a:pt x="8981208" y="1742919"/>
                  <a:pt x="9038164" y="1799875"/>
                  <a:pt x="9108437" y="1799875"/>
                </a:cubicBezTo>
                <a:lnTo>
                  <a:pt x="9369437" y="1799875"/>
                </a:lnTo>
                <a:cubicBezTo>
                  <a:pt x="9439710" y="1799875"/>
                  <a:pt x="9496665" y="1856830"/>
                  <a:pt x="9496665" y="1927103"/>
                </a:cubicBezTo>
                <a:lnTo>
                  <a:pt x="9496665" y="4541990"/>
                </a:lnTo>
                <a:cubicBezTo>
                  <a:pt x="9496665" y="4613047"/>
                  <a:pt x="9438460" y="4670320"/>
                  <a:pt x="9367425" y="4669198"/>
                </a:cubicBezTo>
                <a:lnTo>
                  <a:pt x="9110448" y="4665133"/>
                </a:lnTo>
                <a:cubicBezTo>
                  <a:pt x="9039413" y="4664010"/>
                  <a:pt x="8981208" y="4721283"/>
                  <a:pt x="8981208" y="4792340"/>
                </a:cubicBezTo>
                <a:lnTo>
                  <a:pt x="8981208" y="6335725"/>
                </a:lnTo>
                <a:cubicBezTo>
                  <a:pt x="8981208" y="6405998"/>
                  <a:pt x="8924253" y="6462953"/>
                  <a:pt x="8853980" y="6462953"/>
                </a:cubicBezTo>
                <a:lnTo>
                  <a:pt x="654989" y="6462953"/>
                </a:lnTo>
                <a:cubicBezTo>
                  <a:pt x="584716" y="6462953"/>
                  <a:pt x="527761" y="6405998"/>
                  <a:pt x="527761" y="6335725"/>
                </a:cubicBezTo>
                <a:lnTo>
                  <a:pt x="527761" y="4790307"/>
                </a:lnTo>
                <a:cubicBezTo>
                  <a:pt x="527761" y="4720034"/>
                  <a:pt x="470805" y="4663079"/>
                  <a:pt x="400532" y="4663079"/>
                </a:cubicBezTo>
                <a:lnTo>
                  <a:pt x="127231" y="4663079"/>
                </a:lnTo>
                <a:cubicBezTo>
                  <a:pt x="56746" y="4663079"/>
                  <a:pt x="-315" y="4605763"/>
                  <a:pt x="2" y="4535278"/>
                </a:cubicBezTo>
                <a:lnTo>
                  <a:pt x="11753" y="1926510"/>
                </a:lnTo>
                <a:cubicBezTo>
                  <a:pt x="12071" y="1856470"/>
                  <a:pt x="68942" y="1799853"/>
                  <a:pt x="138982" y="1799853"/>
                </a:cubicBezTo>
                <a:lnTo>
                  <a:pt x="400553" y="1799853"/>
                </a:lnTo>
                <a:cubicBezTo>
                  <a:pt x="470826" y="1799853"/>
                  <a:pt x="527782" y="1742898"/>
                  <a:pt x="527782" y="1672625"/>
                </a:cubicBezTo>
                <a:lnTo>
                  <a:pt x="527782" y="127229"/>
                </a:lnTo>
                <a:lnTo>
                  <a:pt x="527761" y="127229"/>
                </a:lnTo>
                <a:cubicBezTo>
                  <a:pt x="527761" y="56955"/>
                  <a:pt x="584716" y="0"/>
                  <a:pt x="654989" y="0"/>
                </a:cubicBezTo>
                <a:close/>
              </a:path>
            </a:pathLst>
          </a:custGeom>
          <a:solidFill>
            <a:schemeClr val="accent5">
              <a:lumMod val="20000"/>
              <a:lumOff val="80000"/>
            </a:schemeClr>
          </a:solidFill>
        </p:spPr>
        <p:txBody>
          <a:bodyPr wrap="square" bIns="504000" anchor="ctr" anchorCtr="0">
            <a:noAutofit/>
          </a:bodyPr>
          <a:lstStyle>
            <a:lvl1pPr algn="ctr">
              <a:defRPr/>
            </a:lvl1pPr>
          </a:lstStyle>
          <a:p>
            <a:r>
              <a:rPr lang="nl-NL"/>
              <a:t>Klik op het pictogram als u media wilt toevoegen</a:t>
            </a:r>
            <a:endParaRPr lang="nl-NL" dirty="0"/>
          </a:p>
        </p:txBody>
      </p:sp>
      <p:pic>
        <p:nvPicPr>
          <p:cNvPr id="13" name="Afbeelding 12">
            <a:extLst>
              <a:ext uri="{FF2B5EF4-FFF2-40B4-BE49-F238E27FC236}">
                <a16:creationId xmlns:a16="http://schemas.microsoft.com/office/drawing/2014/main" id="{30737E0C-1E5E-44F1-4898-204C9D57341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 y="197893"/>
            <a:ext cx="1471090" cy="6462212"/>
          </a:xfrm>
          <a:prstGeom prst="rect">
            <a:avLst/>
          </a:prstGeom>
        </p:spPr>
      </p:pic>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Tree>
    <p:extLst>
      <p:ext uri="{BB962C8B-B14F-4D97-AF65-F5344CB8AC3E}">
        <p14:creationId xmlns:p14="http://schemas.microsoft.com/office/powerpoint/2010/main" val="374418577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llage 6">
    <p:spTree>
      <p:nvGrpSpPr>
        <p:cNvPr id="1" name=""/>
        <p:cNvGrpSpPr/>
        <p:nvPr/>
      </p:nvGrpSpPr>
      <p:grpSpPr>
        <a:xfrm>
          <a:off x="0" y="0"/>
          <a:ext cx="0" cy="0"/>
          <a:chOff x="0" y="0"/>
          <a:chExt cx="0" cy="0"/>
        </a:xfrm>
      </p:grpSpPr>
      <p:sp>
        <p:nvSpPr>
          <p:cNvPr id="57" name="Tijdelijke aanduiding voor afbeelding 56">
            <a:extLst>
              <a:ext uri="{FF2B5EF4-FFF2-40B4-BE49-F238E27FC236}">
                <a16:creationId xmlns:a16="http://schemas.microsoft.com/office/drawing/2014/main" id="{9731D780-F88C-CB69-B185-0A263C1F5B0F}"/>
              </a:ext>
            </a:extLst>
          </p:cNvPr>
          <p:cNvSpPr>
            <a:spLocks noGrp="1" noRot="1" noMove="1" noResize="1" noEditPoints="1" noAdjustHandles="1" noChangeArrowheads="1" noChangeShapeType="1"/>
          </p:cNvSpPr>
          <p:nvPr>
            <p:ph type="pic" sz="quarter" idx="14"/>
          </p:nvPr>
        </p:nvSpPr>
        <p:spPr>
          <a:xfrm>
            <a:off x="0" y="130792"/>
            <a:ext cx="4003760" cy="3290008"/>
          </a:xfrm>
          <a:custGeom>
            <a:avLst/>
            <a:gdLst>
              <a:gd name="connsiteX0" fmla="*/ 1931524 w 4003760"/>
              <a:gd name="connsiteY0" fmla="*/ 0 h 3290008"/>
              <a:gd name="connsiteX1" fmla="*/ 3642224 w 4003760"/>
              <a:gd name="connsiteY1" fmla="*/ 0 h 3290008"/>
              <a:gd name="connsiteX2" fmla="*/ 3769238 w 4003760"/>
              <a:gd name="connsiteY2" fmla="*/ 127014 h 3290008"/>
              <a:gd name="connsiteX3" fmla="*/ 3769238 w 4003760"/>
              <a:gd name="connsiteY3" fmla="*/ 705241 h 3290008"/>
              <a:gd name="connsiteX4" fmla="*/ 3886499 w 4003760"/>
              <a:gd name="connsiteY4" fmla="*/ 822502 h 3290008"/>
              <a:gd name="connsiteX5" fmla="*/ 4003760 w 4003760"/>
              <a:gd name="connsiteY5" fmla="*/ 939763 h 3290008"/>
              <a:gd name="connsiteX6" fmla="*/ 4003760 w 4003760"/>
              <a:gd name="connsiteY6" fmla="*/ 2354376 h 3290008"/>
              <a:gd name="connsiteX7" fmla="*/ 3886499 w 4003760"/>
              <a:gd name="connsiteY7" fmla="*/ 2469587 h 3290008"/>
              <a:gd name="connsiteX8" fmla="*/ 3769238 w 4003760"/>
              <a:gd name="connsiteY8" fmla="*/ 2584797 h 3290008"/>
              <a:gd name="connsiteX9" fmla="*/ 3769238 w 4003760"/>
              <a:gd name="connsiteY9" fmla="*/ 3162993 h 3290008"/>
              <a:gd name="connsiteX10" fmla="*/ 3642224 w 4003760"/>
              <a:gd name="connsiteY10" fmla="*/ 3290008 h 3290008"/>
              <a:gd name="connsiteX11" fmla="*/ 49886 w 4003760"/>
              <a:gd name="connsiteY11" fmla="*/ 3290008 h 3290008"/>
              <a:gd name="connsiteX12" fmla="*/ 0 w 4003760"/>
              <a:gd name="connsiteY12" fmla="*/ 3279819 h 3290008"/>
              <a:gd name="connsiteX13" fmla="*/ 0 w 4003760"/>
              <a:gd name="connsiteY13" fmla="*/ 722419 h 3290008"/>
              <a:gd name="connsiteX14" fmla="*/ 1677495 w 4003760"/>
              <a:gd name="connsiteY14" fmla="*/ 722419 h 3290008"/>
              <a:gd name="connsiteX15" fmla="*/ 1804509 w 4003760"/>
              <a:gd name="connsiteY15" fmla="*/ 595405 h 3290008"/>
              <a:gd name="connsiteX16" fmla="*/ 1804509 w 4003760"/>
              <a:gd name="connsiteY16" fmla="*/ 127014 h 3290008"/>
              <a:gd name="connsiteX17" fmla="*/ 1931524 w 4003760"/>
              <a:gd name="connsiteY17" fmla="*/ 0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03760" h="3290008">
                <a:moveTo>
                  <a:pt x="1931524" y="0"/>
                </a:moveTo>
                <a:lnTo>
                  <a:pt x="3642224" y="0"/>
                </a:lnTo>
                <a:cubicBezTo>
                  <a:pt x="3712363" y="0"/>
                  <a:pt x="3769238" y="56875"/>
                  <a:pt x="3769238" y="127014"/>
                </a:cubicBezTo>
                <a:lnTo>
                  <a:pt x="3769238" y="705241"/>
                </a:lnTo>
                <a:cubicBezTo>
                  <a:pt x="3769238" y="770006"/>
                  <a:pt x="3821734" y="822502"/>
                  <a:pt x="3886499" y="822502"/>
                </a:cubicBezTo>
                <a:cubicBezTo>
                  <a:pt x="3951264" y="822502"/>
                  <a:pt x="4003760" y="874997"/>
                  <a:pt x="4003760" y="939763"/>
                </a:cubicBezTo>
                <a:lnTo>
                  <a:pt x="4003760" y="2354376"/>
                </a:lnTo>
                <a:cubicBezTo>
                  <a:pt x="4003760" y="2418800"/>
                  <a:pt x="3950923" y="2470736"/>
                  <a:pt x="3886499" y="2469587"/>
                </a:cubicBezTo>
                <a:cubicBezTo>
                  <a:pt x="3822075" y="2468438"/>
                  <a:pt x="3769238" y="2520374"/>
                  <a:pt x="3769238" y="2584797"/>
                </a:cubicBezTo>
                <a:lnTo>
                  <a:pt x="3769238" y="3162993"/>
                </a:lnTo>
                <a:cubicBezTo>
                  <a:pt x="3769238" y="3233132"/>
                  <a:pt x="3712363" y="3290008"/>
                  <a:pt x="3642224" y="3290008"/>
                </a:cubicBezTo>
                <a:lnTo>
                  <a:pt x="49886" y="3290008"/>
                </a:lnTo>
                <a:cubicBezTo>
                  <a:pt x="32181" y="3290008"/>
                  <a:pt x="15314" y="3286373"/>
                  <a:pt x="0" y="3279819"/>
                </a:cubicBezTo>
                <a:lnTo>
                  <a:pt x="0" y="722419"/>
                </a:lnTo>
                <a:lnTo>
                  <a:pt x="1677495" y="722419"/>
                </a:lnTo>
                <a:cubicBezTo>
                  <a:pt x="1747634" y="722419"/>
                  <a:pt x="1804509" y="665543"/>
                  <a:pt x="1804509" y="595405"/>
                </a:cubicBezTo>
                <a:lnTo>
                  <a:pt x="1804509" y="127014"/>
                </a:lnTo>
                <a:cubicBezTo>
                  <a:pt x="1804509" y="56875"/>
                  <a:pt x="1861385" y="0"/>
                  <a:pt x="193152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8" name="Tijdelijke aanduiding voor afbeelding 57">
            <a:extLst>
              <a:ext uri="{FF2B5EF4-FFF2-40B4-BE49-F238E27FC236}">
                <a16:creationId xmlns:a16="http://schemas.microsoft.com/office/drawing/2014/main" id="{11C5C435-77DB-84CF-5DDF-6504FCF40F58}"/>
              </a:ext>
            </a:extLst>
          </p:cNvPr>
          <p:cNvSpPr>
            <a:spLocks noGrp="1" noRot="1" noMove="1" noResize="1" noEditPoints="1" noAdjustHandles="1" noChangeArrowheads="1" noChangeShapeType="1"/>
          </p:cNvSpPr>
          <p:nvPr>
            <p:ph type="pic" sz="quarter" idx="15"/>
          </p:nvPr>
        </p:nvSpPr>
        <p:spPr>
          <a:xfrm>
            <a:off x="3842577" y="130793"/>
            <a:ext cx="3845559" cy="3289977"/>
          </a:xfrm>
          <a:custGeom>
            <a:avLst/>
            <a:gdLst>
              <a:gd name="connsiteX0" fmla="*/ 127014 w 3845559"/>
              <a:gd name="connsiteY0" fmla="*/ 0 h 3289977"/>
              <a:gd name="connsiteX1" fmla="*/ 3718544 w 3845559"/>
              <a:gd name="connsiteY1" fmla="*/ 0 h 3289977"/>
              <a:gd name="connsiteX2" fmla="*/ 3845559 w 3845559"/>
              <a:gd name="connsiteY2" fmla="*/ 127014 h 3289977"/>
              <a:gd name="connsiteX3" fmla="*/ 3845559 w 3845559"/>
              <a:gd name="connsiteY3" fmla="*/ 705272 h 3289977"/>
              <a:gd name="connsiteX4" fmla="*/ 3728329 w 3845559"/>
              <a:gd name="connsiteY4" fmla="*/ 822502 h 3289977"/>
              <a:gd name="connsiteX5" fmla="*/ 3611100 w 3845559"/>
              <a:gd name="connsiteY5" fmla="*/ 939731 h 3289977"/>
              <a:gd name="connsiteX6" fmla="*/ 3611100 w 3845559"/>
              <a:gd name="connsiteY6" fmla="*/ 2354376 h 3289977"/>
              <a:gd name="connsiteX7" fmla="*/ 3728329 w 3845559"/>
              <a:gd name="connsiteY7" fmla="*/ 2469556 h 3289977"/>
              <a:gd name="connsiteX8" fmla="*/ 3845559 w 3845559"/>
              <a:gd name="connsiteY8" fmla="*/ 2584735 h 3289977"/>
              <a:gd name="connsiteX9" fmla="*/ 3845559 w 3845559"/>
              <a:gd name="connsiteY9" fmla="*/ 3162962 h 3289977"/>
              <a:gd name="connsiteX10" fmla="*/ 3718544 w 3845559"/>
              <a:gd name="connsiteY10" fmla="*/ 3289977 h 3289977"/>
              <a:gd name="connsiteX11" fmla="*/ 127014 w 3845559"/>
              <a:gd name="connsiteY11" fmla="*/ 3289977 h 3289977"/>
              <a:gd name="connsiteX12" fmla="*/ 0 w 3845559"/>
              <a:gd name="connsiteY12" fmla="*/ 3162962 h 3289977"/>
              <a:gd name="connsiteX13" fmla="*/ 0 w 3845559"/>
              <a:gd name="connsiteY13" fmla="*/ 2581971 h 3289977"/>
              <a:gd name="connsiteX14" fmla="*/ 114527 w 3845559"/>
              <a:gd name="connsiteY14" fmla="*/ 2467444 h 3289977"/>
              <a:gd name="connsiteX15" fmla="*/ 229054 w 3845559"/>
              <a:gd name="connsiteY15" fmla="*/ 2353351 h 3289977"/>
              <a:gd name="connsiteX16" fmla="*/ 234086 w 3845559"/>
              <a:gd name="connsiteY16" fmla="*/ 939918 h 3289977"/>
              <a:gd name="connsiteX17" fmla="*/ 117043 w 3845559"/>
              <a:gd name="connsiteY17" fmla="*/ 822471 h 3289977"/>
              <a:gd name="connsiteX18" fmla="*/ 0 w 3845559"/>
              <a:gd name="connsiteY18" fmla="*/ 705428 h 3289977"/>
              <a:gd name="connsiteX19" fmla="*/ 0 w 3845559"/>
              <a:gd name="connsiteY19" fmla="*/ 127014 h 3289977"/>
              <a:gd name="connsiteX20" fmla="*/ 127014 w 3845559"/>
              <a:gd name="connsiteY20" fmla="*/ 0 h 328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45559" h="3289977">
                <a:moveTo>
                  <a:pt x="127014" y="0"/>
                </a:moveTo>
                <a:lnTo>
                  <a:pt x="3718544" y="0"/>
                </a:lnTo>
                <a:cubicBezTo>
                  <a:pt x="3788683" y="0"/>
                  <a:pt x="3845559" y="56875"/>
                  <a:pt x="3845559" y="127014"/>
                </a:cubicBezTo>
                <a:lnTo>
                  <a:pt x="3845559" y="705272"/>
                </a:lnTo>
                <a:cubicBezTo>
                  <a:pt x="3845559" y="770037"/>
                  <a:pt x="3793063" y="822502"/>
                  <a:pt x="3728329" y="822502"/>
                </a:cubicBezTo>
                <a:cubicBezTo>
                  <a:pt x="3663595" y="822502"/>
                  <a:pt x="3611100" y="874997"/>
                  <a:pt x="3611100" y="939731"/>
                </a:cubicBezTo>
                <a:lnTo>
                  <a:pt x="3611100" y="2354376"/>
                </a:lnTo>
                <a:cubicBezTo>
                  <a:pt x="3611100" y="2418800"/>
                  <a:pt x="3663937" y="2470705"/>
                  <a:pt x="3728329" y="2469556"/>
                </a:cubicBezTo>
                <a:cubicBezTo>
                  <a:pt x="3792753" y="2468406"/>
                  <a:pt x="3845559" y="2520312"/>
                  <a:pt x="3845559" y="2584735"/>
                </a:cubicBezTo>
                <a:lnTo>
                  <a:pt x="3845559" y="3162962"/>
                </a:lnTo>
                <a:cubicBezTo>
                  <a:pt x="3845559" y="3233101"/>
                  <a:pt x="3788683" y="3289977"/>
                  <a:pt x="3718544" y="3289977"/>
                </a:cubicBezTo>
                <a:lnTo>
                  <a:pt x="127014" y="3289977"/>
                </a:lnTo>
                <a:cubicBezTo>
                  <a:pt x="56875" y="3289977"/>
                  <a:pt x="0" y="3233101"/>
                  <a:pt x="0" y="3162962"/>
                </a:cubicBezTo>
                <a:lnTo>
                  <a:pt x="0" y="2581971"/>
                </a:lnTo>
                <a:cubicBezTo>
                  <a:pt x="0" y="2518728"/>
                  <a:pt x="51284" y="2467444"/>
                  <a:pt x="114527" y="2467444"/>
                </a:cubicBezTo>
                <a:cubicBezTo>
                  <a:pt x="177770" y="2467444"/>
                  <a:pt x="228806" y="2416408"/>
                  <a:pt x="229054" y="2353351"/>
                </a:cubicBezTo>
                <a:lnTo>
                  <a:pt x="234086" y="939918"/>
                </a:lnTo>
                <a:cubicBezTo>
                  <a:pt x="234304" y="875122"/>
                  <a:pt x="181839" y="822471"/>
                  <a:pt x="117043" y="822471"/>
                </a:cubicBezTo>
                <a:cubicBezTo>
                  <a:pt x="52247" y="822471"/>
                  <a:pt x="0" y="770069"/>
                  <a:pt x="0" y="705428"/>
                </a:cubicBezTo>
                <a:lnTo>
                  <a:pt x="0" y="127014"/>
                </a:lnTo>
                <a:cubicBezTo>
                  <a:pt x="0" y="56875"/>
                  <a:pt x="56875" y="0"/>
                  <a:pt x="12701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59" name="Tijdelijke aanduiding voor afbeelding 58">
            <a:extLst>
              <a:ext uri="{FF2B5EF4-FFF2-40B4-BE49-F238E27FC236}">
                <a16:creationId xmlns:a16="http://schemas.microsoft.com/office/drawing/2014/main" id="{64F873DE-46EF-C2EC-6E8E-A8A1B73E7BEE}"/>
              </a:ext>
            </a:extLst>
          </p:cNvPr>
          <p:cNvSpPr>
            <a:spLocks noGrp="1" noRot="1" noMove="1" noResize="1" noEditPoints="1" noAdjustHandles="1" noChangeArrowheads="1" noChangeShapeType="1"/>
          </p:cNvSpPr>
          <p:nvPr>
            <p:ph type="pic" sz="quarter" idx="16"/>
          </p:nvPr>
        </p:nvSpPr>
        <p:spPr>
          <a:xfrm>
            <a:off x="7525895" y="130793"/>
            <a:ext cx="4181034" cy="3290039"/>
          </a:xfrm>
          <a:custGeom>
            <a:avLst/>
            <a:gdLst>
              <a:gd name="connsiteX0" fmla="*/ 359175 w 4181034"/>
              <a:gd name="connsiteY0" fmla="*/ 0 h 3290039"/>
              <a:gd name="connsiteX1" fmla="*/ 3827077 w 4181034"/>
              <a:gd name="connsiteY1" fmla="*/ 0 h 3290039"/>
              <a:gd name="connsiteX2" fmla="*/ 3954092 w 4181034"/>
              <a:gd name="connsiteY2" fmla="*/ 127014 h 3290039"/>
              <a:gd name="connsiteX3" fmla="*/ 3954092 w 4181034"/>
              <a:gd name="connsiteY3" fmla="*/ 802777 h 3290039"/>
              <a:gd name="connsiteX4" fmla="*/ 4067563 w 4181034"/>
              <a:gd name="connsiteY4" fmla="*/ 916248 h 3290039"/>
              <a:gd name="connsiteX5" fmla="*/ 4181034 w 4181034"/>
              <a:gd name="connsiteY5" fmla="*/ 1029719 h 3290039"/>
              <a:gd name="connsiteX6" fmla="*/ 4181034 w 4181034"/>
              <a:gd name="connsiteY6" fmla="*/ 2264451 h 3290039"/>
              <a:gd name="connsiteX7" fmla="*/ 4067563 w 4181034"/>
              <a:gd name="connsiteY7" fmla="*/ 2375872 h 3290039"/>
              <a:gd name="connsiteX8" fmla="*/ 3954092 w 4181034"/>
              <a:gd name="connsiteY8" fmla="*/ 2487292 h 3290039"/>
              <a:gd name="connsiteX9" fmla="*/ 3954092 w 4181034"/>
              <a:gd name="connsiteY9" fmla="*/ 3163025 h 3290039"/>
              <a:gd name="connsiteX10" fmla="*/ 3827077 w 4181034"/>
              <a:gd name="connsiteY10" fmla="*/ 3290039 h 3290039"/>
              <a:gd name="connsiteX11" fmla="*/ 359175 w 4181034"/>
              <a:gd name="connsiteY11" fmla="*/ 3290039 h 3290039"/>
              <a:gd name="connsiteX12" fmla="*/ 232161 w 4181034"/>
              <a:gd name="connsiteY12" fmla="*/ 3163025 h 3290039"/>
              <a:gd name="connsiteX13" fmla="*/ 232161 w 4181034"/>
              <a:gd name="connsiteY13" fmla="*/ 2489871 h 3290039"/>
              <a:gd name="connsiteX14" fmla="*/ 116081 w 4181034"/>
              <a:gd name="connsiteY14" fmla="*/ 2373790 h 3290039"/>
              <a:gd name="connsiteX15" fmla="*/ 1 w 4181034"/>
              <a:gd name="connsiteY15" fmla="*/ 2257244 h 3290039"/>
              <a:gd name="connsiteX16" fmla="*/ 4785 w 4181034"/>
              <a:gd name="connsiteY16" fmla="*/ 1029502 h 3290039"/>
              <a:gd name="connsiteX17" fmla="*/ 118473 w 4181034"/>
              <a:gd name="connsiteY17" fmla="*/ 916248 h 3290039"/>
              <a:gd name="connsiteX18" fmla="*/ 232161 w 4181034"/>
              <a:gd name="connsiteY18" fmla="*/ 802560 h 3290039"/>
              <a:gd name="connsiteX19" fmla="*/ 232161 w 4181034"/>
              <a:gd name="connsiteY19" fmla="*/ 127014 h 3290039"/>
              <a:gd name="connsiteX20" fmla="*/ 359175 w 4181034"/>
              <a:gd name="connsiteY20" fmla="*/ 0 h 329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1034" h="3290039">
                <a:moveTo>
                  <a:pt x="359175" y="0"/>
                </a:moveTo>
                <a:lnTo>
                  <a:pt x="3827077" y="0"/>
                </a:lnTo>
                <a:cubicBezTo>
                  <a:pt x="3897216" y="0"/>
                  <a:pt x="3954092" y="56875"/>
                  <a:pt x="3954092" y="127014"/>
                </a:cubicBezTo>
                <a:lnTo>
                  <a:pt x="3954092" y="802777"/>
                </a:lnTo>
                <a:cubicBezTo>
                  <a:pt x="3954092" y="865461"/>
                  <a:pt x="4004909" y="916248"/>
                  <a:pt x="4067563" y="916248"/>
                </a:cubicBezTo>
                <a:cubicBezTo>
                  <a:pt x="4130215" y="916248"/>
                  <a:pt x="4181034" y="967066"/>
                  <a:pt x="4181034" y="1029719"/>
                </a:cubicBezTo>
                <a:lnTo>
                  <a:pt x="4181034" y="2264451"/>
                </a:lnTo>
                <a:cubicBezTo>
                  <a:pt x="4181034" y="2326793"/>
                  <a:pt x="4129905" y="2377021"/>
                  <a:pt x="4067563" y="2375872"/>
                </a:cubicBezTo>
                <a:cubicBezTo>
                  <a:pt x="4005220" y="2374722"/>
                  <a:pt x="3954092" y="2424950"/>
                  <a:pt x="3954092" y="2487292"/>
                </a:cubicBezTo>
                <a:lnTo>
                  <a:pt x="3954092" y="3163025"/>
                </a:lnTo>
                <a:cubicBezTo>
                  <a:pt x="3954092" y="3233163"/>
                  <a:pt x="3897216" y="3290039"/>
                  <a:pt x="3827077" y="3290039"/>
                </a:cubicBezTo>
                <a:lnTo>
                  <a:pt x="359175" y="3290039"/>
                </a:lnTo>
                <a:cubicBezTo>
                  <a:pt x="289036" y="3290039"/>
                  <a:pt x="232161" y="3233163"/>
                  <a:pt x="232161" y="3163025"/>
                </a:cubicBezTo>
                <a:lnTo>
                  <a:pt x="232161" y="2489871"/>
                </a:lnTo>
                <a:cubicBezTo>
                  <a:pt x="232161" y="2425758"/>
                  <a:pt x="180194" y="2373790"/>
                  <a:pt x="116081" y="2373790"/>
                </a:cubicBezTo>
                <a:cubicBezTo>
                  <a:pt x="51968" y="2373790"/>
                  <a:pt x="-248" y="2321543"/>
                  <a:pt x="1" y="2257244"/>
                </a:cubicBezTo>
                <a:lnTo>
                  <a:pt x="4785" y="1029502"/>
                </a:lnTo>
                <a:cubicBezTo>
                  <a:pt x="5033" y="966880"/>
                  <a:pt x="55851" y="916248"/>
                  <a:pt x="118473" y="916248"/>
                </a:cubicBezTo>
                <a:cubicBezTo>
                  <a:pt x="181094" y="916248"/>
                  <a:pt x="232161" y="865337"/>
                  <a:pt x="232161" y="802560"/>
                </a:cubicBezTo>
                <a:lnTo>
                  <a:pt x="232161" y="127014"/>
                </a:lnTo>
                <a:cubicBezTo>
                  <a:pt x="232161" y="56875"/>
                  <a:pt x="289036" y="0"/>
                  <a:pt x="35917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60" name="Tijdelijke aanduiding voor afbeelding 59">
            <a:extLst>
              <a:ext uri="{FF2B5EF4-FFF2-40B4-BE49-F238E27FC236}">
                <a16:creationId xmlns:a16="http://schemas.microsoft.com/office/drawing/2014/main" id="{6CE72364-5CC2-F2A4-A8D3-D4CBEC1EAD50}"/>
              </a:ext>
            </a:extLst>
          </p:cNvPr>
          <p:cNvSpPr>
            <a:spLocks noGrp="1" noRot="1" noMove="1" noResize="1" noEditPoints="1" noAdjustHandles="1" noChangeArrowheads="1" noChangeShapeType="1"/>
          </p:cNvSpPr>
          <p:nvPr>
            <p:ph type="pic" sz="quarter" idx="17" hasCustomPrompt="1"/>
          </p:nvPr>
        </p:nvSpPr>
        <p:spPr>
          <a:xfrm>
            <a:off x="11550188" y="130793"/>
            <a:ext cx="642837" cy="3290039"/>
          </a:xfrm>
          <a:custGeom>
            <a:avLst/>
            <a:gdLst>
              <a:gd name="connsiteX0" fmla="*/ 127015 w 642837"/>
              <a:gd name="connsiteY0" fmla="*/ 0 h 3290039"/>
              <a:gd name="connsiteX1" fmla="*/ 642837 w 642837"/>
              <a:gd name="connsiteY1" fmla="*/ 0 h 3290039"/>
              <a:gd name="connsiteX2" fmla="*/ 642837 w 642837"/>
              <a:gd name="connsiteY2" fmla="*/ 3290039 h 3290039"/>
              <a:gd name="connsiteX3" fmla="*/ 127015 w 642837"/>
              <a:gd name="connsiteY3" fmla="*/ 3290039 h 3290039"/>
              <a:gd name="connsiteX4" fmla="*/ 0 w 642837"/>
              <a:gd name="connsiteY4" fmla="*/ 3163025 h 3290039"/>
              <a:gd name="connsiteX5" fmla="*/ 0 w 642837"/>
              <a:gd name="connsiteY5" fmla="*/ 2592066 h 3290039"/>
              <a:gd name="connsiteX6" fmla="*/ 124530 w 642837"/>
              <a:gd name="connsiteY6" fmla="*/ 2467537 h 3290039"/>
              <a:gd name="connsiteX7" fmla="*/ 249059 w 642837"/>
              <a:gd name="connsiteY7" fmla="*/ 2343474 h 3290039"/>
              <a:gd name="connsiteX8" fmla="*/ 254464 w 642837"/>
              <a:gd name="connsiteY8" fmla="*/ 950013 h 3290039"/>
              <a:gd name="connsiteX9" fmla="*/ 127232 w 642837"/>
              <a:gd name="connsiteY9" fmla="*/ 822502 h 3290039"/>
              <a:gd name="connsiteX10" fmla="*/ 0 w 642837"/>
              <a:gd name="connsiteY10" fmla="*/ 695488 h 3290039"/>
              <a:gd name="connsiteX11" fmla="*/ 0 w 642837"/>
              <a:gd name="connsiteY11" fmla="*/ 127014 h 3290039"/>
              <a:gd name="connsiteX12" fmla="*/ 127015 w 642837"/>
              <a:gd name="connsiteY12" fmla="*/ 0 h 329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2837" h="3290039">
                <a:moveTo>
                  <a:pt x="127015" y="0"/>
                </a:moveTo>
                <a:lnTo>
                  <a:pt x="642837" y="0"/>
                </a:lnTo>
                <a:lnTo>
                  <a:pt x="642837" y="3290039"/>
                </a:lnTo>
                <a:lnTo>
                  <a:pt x="127015" y="3290039"/>
                </a:lnTo>
                <a:cubicBezTo>
                  <a:pt x="56875" y="3290039"/>
                  <a:pt x="0" y="3233163"/>
                  <a:pt x="0" y="3163025"/>
                </a:cubicBezTo>
                <a:lnTo>
                  <a:pt x="0" y="2592066"/>
                </a:lnTo>
                <a:cubicBezTo>
                  <a:pt x="0" y="2523294"/>
                  <a:pt x="55943" y="2467537"/>
                  <a:pt x="124530" y="2467537"/>
                </a:cubicBezTo>
                <a:cubicBezTo>
                  <a:pt x="193116" y="2467537"/>
                  <a:pt x="248779" y="2412059"/>
                  <a:pt x="249059" y="2343474"/>
                </a:cubicBezTo>
                <a:lnTo>
                  <a:pt x="254464" y="950013"/>
                </a:lnTo>
                <a:cubicBezTo>
                  <a:pt x="254743" y="879657"/>
                  <a:pt x="197371" y="822502"/>
                  <a:pt x="127232" y="822502"/>
                </a:cubicBezTo>
                <a:cubicBezTo>
                  <a:pt x="57093" y="822502"/>
                  <a:pt x="0" y="765627"/>
                  <a:pt x="0" y="695488"/>
                </a:cubicBezTo>
                <a:lnTo>
                  <a:pt x="0" y="127014"/>
                </a:lnTo>
                <a:cubicBezTo>
                  <a:pt x="0" y="56875"/>
                  <a:pt x="56875" y="0"/>
                  <a:pt x="127015" y="0"/>
                </a:cubicBez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
        <p:nvSpPr>
          <p:cNvPr id="61" name="Tijdelijke aanduiding voor afbeelding 60">
            <a:extLst>
              <a:ext uri="{FF2B5EF4-FFF2-40B4-BE49-F238E27FC236}">
                <a16:creationId xmlns:a16="http://schemas.microsoft.com/office/drawing/2014/main" id="{CCF2569C-5F47-F0BA-2370-A572BB6B73A5}"/>
              </a:ext>
            </a:extLst>
          </p:cNvPr>
          <p:cNvSpPr>
            <a:spLocks noGrp="1" noRot="1" noMove="1" noResize="1" noEditPoints="1" noAdjustHandles="1" noChangeArrowheads="1" noChangeShapeType="1"/>
          </p:cNvSpPr>
          <p:nvPr>
            <p:ph type="pic" sz="quarter" idx="18" hasCustomPrompt="1"/>
          </p:nvPr>
        </p:nvSpPr>
        <p:spPr>
          <a:xfrm>
            <a:off x="0" y="3534239"/>
            <a:ext cx="864840" cy="3290008"/>
          </a:xfrm>
          <a:custGeom>
            <a:avLst/>
            <a:gdLst>
              <a:gd name="connsiteX0" fmla="*/ 0 w 864840"/>
              <a:gd name="connsiteY0" fmla="*/ 0 h 3290008"/>
              <a:gd name="connsiteX1" fmla="*/ 504423 w 864840"/>
              <a:gd name="connsiteY1" fmla="*/ 0 h 3290008"/>
              <a:gd name="connsiteX2" fmla="*/ 631437 w 864840"/>
              <a:gd name="connsiteY2" fmla="*/ 127014 h 3290008"/>
              <a:gd name="connsiteX3" fmla="*/ 631437 w 864840"/>
              <a:gd name="connsiteY3" fmla="*/ 705800 h 3290008"/>
              <a:gd name="connsiteX4" fmla="*/ 748138 w 864840"/>
              <a:gd name="connsiteY4" fmla="*/ 822502 h 3290008"/>
              <a:gd name="connsiteX5" fmla="*/ 748138 w 864840"/>
              <a:gd name="connsiteY5" fmla="*/ 822471 h 3290008"/>
              <a:gd name="connsiteX6" fmla="*/ 864840 w 864840"/>
              <a:gd name="connsiteY6" fmla="*/ 939172 h 3290008"/>
              <a:gd name="connsiteX7" fmla="*/ 864840 w 864840"/>
              <a:gd name="connsiteY7" fmla="*/ 2354904 h 3290008"/>
              <a:gd name="connsiteX8" fmla="*/ 748138 w 864840"/>
              <a:gd name="connsiteY8" fmla="*/ 2469556 h 3290008"/>
              <a:gd name="connsiteX9" fmla="*/ 631437 w 864840"/>
              <a:gd name="connsiteY9" fmla="*/ 2584207 h 3290008"/>
              <a:gd name="connsiteX10" fmla="*/ 631437 w 864840"/>
              <a:gd name="connsiteY10" fmla="*/ 3162993 h 3290008"/>
              <a:gd name="connsiteX11" fmla="*/ 504423 w 864840"/>
              <a:gd name="connsiteY11" fmla="*/ 3290008 h 3290008"/>
              <a:gd name="connsiteX12" fmla="*/ 0 w 864840"/>
              <a:gd name="connsiteY12" fmla="*/ 3290008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4840" h="3290008">
                <a:moveTo>
                  <a:pt x="0" y="0"/>
                </a:moveTo>
                <a:lnTo>
                  <a:pt x="504423" y="0"/>
                </a:lnTo>
                <a:cubicBezTo>
                  <a:pt x="574562" y="0"/>
                  <a:pt x="631437" y="56875"/>
                  <a:pt x="631437" y="127014"/>
                </a:cubicBezTo>
                <a:lnTo>
                  <a:pt x="631437" y="705800"/>
                </a:lnTo>
                <a:cubicBezTo>
                  <a:pt x="631437" y="770255"/>
                  <a:pt x="683684" y="822502"/>
                  <a:pt x="748138" y="822502"/>
                </a:cubicBezTo>
                <a:lnTo>
                  <a:pt x="748138" y="822471"/>
                </a:lnTo>
                <a:cubicBezTo>
                  <a:pt x="812593" y="822471"/>
                  <a:pt x="864840" y="874718"/>
                  <a:pt x="864840" y="939172"/>
                </a:cubicBezTo>
                <a:lnTo>
                  <a:pt x="864840" y="2354904"/>
                </a:lnTo>
                <a:cubicBezTo>
                  <a:pt x="864840" y="2419048"/>
                  <a:pt x="812251" y="2470705"/>
                  <a:pt x="748138" y="2469556"/>
                </a:cubicBezTo>
                <a:cubicBezTo>
                  <a:pt x="684026" y="2468437"/>
                  <a:pt x="631437" y="2520094"/>
                  <a:pt x="631437" y="2584207"/>
                </a:cubicBezTo>
                <a:lnTo>
                  <a:pt x="631437" y="3162993"/>
                </a:lnTo>
                <a:cubicBezTo>
                  <a:pt x="631437" y="3233132"/>
                  <a:pt x="574562" y="3290008"/>
                  <a:pt x="504423" y="3290008"/>
                </a:cubicBezTo>
                <a:lnTo>
                  <a:pt x="0" y="3290008"/>
                </a:ln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
        <p:nvSpPr>
          <p:cNvPr id="62" name="Tijdelijke aanduiding voor afbeelding 61">
            <a:extLst>
              <a:ext uri="{FF2B5EF4-FFF2-40B4-BE49-F238E27FC236}">
                <a16:creationId xmlns:a16="http://schemas.microsoft.com/office/drawing/2014/main" id="{F816D805-2908-A7A3-EA63-97A255479F0C}"/>
              </a:ext>
            </a:extLst>
          </p:cNvPr>
          <p:cNvSpPr>
            <a:spLocks noGrp="1" noRot="1" noMove="1" noResize="1" noEditPoints="1" noAdjustHandles="1" noChangeArrowheads="1" noChangeShapeType="1"/>
          </p:cNvSpPr>
          <p:nvPr>
            <p:ph type="pic" sz="quarter" idx="19"/>
          </p:nvPr>
        </p:nvSpPr>
        <p:spPr>
          <a:xfrm>
            <a:off x="704403" y="3534239"/>
            <a:ext cx="3827045" cy="3290008"/>
          </a:xfrm>
          <a:custGeom>
            <a:avLst/>
            <a:gdLst>
              <a:gd name="connsiteX0" fmla="*/ 127045 w 3827045"/>
              <a:gd name="connsiteY0" fmla="*/ 0 h 3290008"/>
              <a:gd name="connsiteX1" fmla="*/ 3700032 w 3827045"/>
              <a:gd name="connsiteY1" fmla="*/ 0 h 3290008"/>
              <a:gd name="connsiteX2" fmla="*/ 3827045 w 3827045"/>
              <a:gd name="connsiteY2" fmla="*/ 127014 h 3290008"/>
              <a:gd name="connsiteX3" fmla="*/ 3827045 w 3827045"/>
              <a:gd name="connsiteY3" fmla="*/ 705831 h 3290008"/>
              <a:gd name="connsiteX4" fmla="*/ 3710375 w 3827045"/>
              <a:gd name="connsiteY4" fmla="*/ 822502 h 3290008"/>
              <a:gd name="connsiteX5" fmla="*/ 3593705 w 3827045"/>
              <a:gd name="connsiteY5" fmla="*/ 939172 h 3290008"/>
              <a:gd name="connsiteX6" fmla="*/ 3593705 w 3827045"/>
              <a:gd name="connsiteY6" fmla="*/ 2354966 h 3290008"/>
              <a:gd name="connsiteX7" fmla="*/ 3710375 w 3827045"/>
              <a:gd name="connsiteY7" fmla="*/ 2469587 h 3290008"/>
              <a:gd name="connsiteX8" fmla="*/ 3827045 w 3827045"/>
              <a:gd name="connsiteY8" fmla="*/ 2584207 h 3290008"/>
              <a:gd name="connsiteX9" fmla="*/ 3827045 w 3827045"/>
              <a:gd name="connsiteY9" fmla="*/ 3162993 h 3290008"/>
              <a:gd name="connsiteX10" fmla="*/ 3700032 w 3827045"/>
              <a:gd name="connsiteY10" fmla="*/ 3290008 h 3290008"/>
              <a:gd name="connsiteX11" fmla="*/ 127014 w 3827045"/>
              <a:gd name="connsiteY11" fmla="*/ 3290008 h 3290008"/>
              <a:gd name="connsiteX12" fmla="*/ 0 w 3827045"/>
              <a:gd name="connsiteY12" fmla="*/ 3162993 h 3290008"/>
              <a:gd name="connsiteX13" fmla="*/ 0 w 3827045"/>
              <a:gd name="connsiteY13" fmla="*/ 2581474 h 3290008"/>
              <a:gd name="connsiteX14" fmla="*/ 113968 w 3827045"/>
              <a:gd name="connsiteY14" fmla="*/ 2467506 h 3290008"/>
              <a:gd name="connsiteX15" fmla="*/ 227936 w 3827045"/>
              <a:gd name="connsiteY15" fmla="*/ 2353941 h 3290008"/>
              <a:gd name="connsiteX16" fmla="*/ 232968 w 3827045"/>
              <a:gd name="connsiteY16" fmla="*/ 939390 h 3290008"/>
              <a:gd name="connsiteX17" fmla="*/ 116484 w 3827045"/>
              <a:gd name="connsiteY17" fmla="*/ 822502 h 3290008"/>
              <a:gd name="connsiteX18" fmla="*/ 0 w 3827045"/>
              <a:gd name="connsiteY18" fmla="*/ 706018 h 3290008"/>
              <a:gd name="connsiteX19" fmla="*/ 0 w 3827045"/>
              <a:gd name="connsiteY19" fmla="*/ 126983 h 3290008"/>
              <a:gd name="connsiteX20" fmla="*/ 31 w 3827045"/>
              <a:gd name="connsiteY20" fmla="*/ 127014 h 3290008"/>
              <a:gd name="connsiteX21" fmla="*/ 127045 w 3827045"/>
              <a:gd name="connsiteY21" fmla="*/ 0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27045" h="3290008">
                <a:moveTo>
                  <a:pt x="127045" y="0"/>
                </a:moveTo>
                <a:lnTo>
                  <a:pt x="3700032" y="0"/>
                </a:lnTo>
                <a:cubicBezTo>
                  <a:pt x="3770170" y="0"/>
                  <a:pt x="3827045" y="56875"/>
                  <a:pt x="3827045" y="127014"/>
                </a:cubicBezTo>
                <a:lnTo>
                  <a:pt x="3827045" y="705831"/>
                </a:lnTo>
                <a:cubicBezTo>
                  <a:pt x="3827045" y="770286"/>
                  <a:pt x="3774799" y="822502"/>
                  <a:pt x="3710375" y="822502"/>
                </a:cubicBezTo>
                <a:cubicBezTo>
                  <a:pt x="3645952" y="822502"/>
                  <a:pt x="3593705" y="874749"/>
                  <a:pt x="3593705" y="939172"/>
                </a:cubicBezTo>
                <a:lnTo>
                  <a:pt x="3593705" y="2354966"/>
                </a:lnTo>
                <a:cubicBezTo>
                  <a:pt x="3593705" y="2419079"/>
                  <a:pt x="3646293" y="2470736"/>
                  <a:pt x="3710375" y="2469587"/>
                </a:cubicBezTo>
                <a:cubicBezTo>
                  <a:pt x="3774488" y="2468437"/>
                  <a:pt x="3827045" y="2520094"/>
                  <a:pt x="3827045" y="2584207"/>
                </a:cubicBezTo>
                <a:lnTo>
                  <a:pt x="3827045" y="3162993"/>
                </a:lnTo>
                <a:cubicBezTo>
                  <a:pt x="3827045" y="3233132"/>
                  <a:pt x="3770170" y="3290008"/>
                  <a:pt x="3700032" y="3290008"/>
                </a:cubicBezTo>
                <a:lnTo>
                  <a:pt x="127014" y="3290008"/>
                </a:lnTo>
                <a:cubicBezTo>
                  <a:pt x="56875" y="3290008"/>
                  <a:pt x="0" y="3233132"/>
                  <a:pt x="0" y="3162993"/>
                </a:cubicBezTo>
                <a:lnTo>
                  <a:pt x="0" y="2581474"/>
                </a:lnTo>
                <a:cubicBezTo>
                  <a:pt x="0" y="2518541"/>
                  <a:pt x="51036" y="2467506"/>
                  <a:pt x="113968" y="2467506"/>
                </a:cubicBezTo>
                <a:cubicBezTo>
                  <a:pt x="176900" y="2467506"/>
                  <a:pt x="227719" y="2416718"/>
                  <a:pt x="227936" y="2353941"/>
                </a:cubicBezTo>
                <a:lnTo>
                  <a:pt x="232968" y="939390"/>
                </a:lnTo>
                <a:cubicBezTo>
                  <a:pt x="233186" y="874904"/>
                  <a:pt x="180970" y="822502"/>
                  <a:pt x="116484" y="822502"/>
                </a:cubicBezTo>
                <a:cubicBezTo>
                  <a:pt x="51998" y="822502"/>
                  <a:pt x="0" y="770348"/>
                  <a:pt x="0" y="706018"/>
                </a:cubicBezTo>
                <a:lnTo>
                  <a:pt x="0" y="126983"/>
                </a:lnTo>
                <a:lnTo>
                  <a:pt x="31" y="127014"/>
                </a:lnTo>
                <a:cubicBezTo>
                  <a:pt x="31" y="56875"/>
                  <a:pt x="56906" y="0"/>
                  <a:pt x="12704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63" name="Tijdelijke aanduiding voor afbeelding 62">
            <a:extLst>
              <a:ext uri="{FF2B5EF4-FFF2-40B4-BE49-F238E27FC236}">
                <a16:creationId xmlns:a16="http://schemas.microsoft.com/office/drawing/2014/main" id="{386B8893-B9E2-6FB6-EFBA-996C11F8907A}"/>
              </a:ext>
            </a:extLst>
          </p:cNvPr>
          <p:cNvSpPr>
            <a:spLocks noGrp="1" noRot="1" noMove="1" noResize="1" noEditPoints="1" noAdjustHandles="1" noChangeArrowheads="1" noChangeShapeType="1"/>
          </p:cNvSpPr>
          <p:nvPr>
            <p:ph type="pic" sz="quarter" idx="20"/>
          </p:nvPr>
        </p:nvSpPr>
        <p:spPr>
          <a:xfrm>
            <a:off x="4369953" y="3534240"/>
            <a:ext cx="4160844" cy="3289977"/>
          </a:xfrm>
          <a:custGeom>
            <a:avLst/>
            <a:gdLst>
              <a:gd name="connsiteX0" fmla="*/ 358057 w 4160844"/>
              <a:gd name="connsiteY0" fmla="*/ 0 h 3289977"/>
              <a:gd name="connsiteX1" fmla="*/ 3808005 w 4160844"/>
              <a:gd name="connsiteY1" fmla="*/ 0 h 3289977"/>
              <a:gd name="connsiteX2" fmla="*/ 3935019 w 4160844"/>
              <a:gd name="connsiteY2" fmla="*/ 127014 h 3289977"/>
              <a:gd name="connsiteX3" fmla="*/ 3935019 w 4160844"/>
              <a:gd name="connsiteY3" fmla="*/ 803305 h 3289977"/>
              <a:gd name="connsiteX4" fmla="*/ 4047931 w 4160844"/>
              <a:gd name="connsiteY4" fmla="*/ 916217 h 3289977"/>
              <a:gd name="connsiteX5" fmla="*/ 4160844 w 4160844"/>
              <a:gd name="connsiteY5" fmla="*/ 1029129 h 3289977"/>
              <a:gd name="connsiteX6" fmla="*/ 4160844 w 4160844"/>
              <a:gd name="connsiteY6" fmla="*/ 2264947 h 3289977"/>
              <a:gd name="connsiteX7" fmla="*/ 4047931 w 4160844"/>
              <a:gd name="connsiteY7" fmla="*/ 2375809 h 3289977"/>
              <a:gd name="connsiteX8" fmla="*/ 3935019 w 4160844"/>
              <a:gd name="connsiteY8" fmla="*/ 2486671 h 3289977"/>
              <a:gd name="connsiteX9" fmla="*/ 3935019 w 4160844"/>
              <a:gd name="connsiteY9" fmla="*/ 3162962 h 3289977"/>
              <a:gd name="connsiteX10" fmla="*/ 3808005 w 4160844"/>
              <a:gd name="connsiteY10" fmla="*/ 3289977 h 3289977"/>
              <a:gd name="connsiteX11" fmla="*/ 358057 w 4160844"/>
              <a:gd name="connsiteY11" fmla="*/ 3289977 h 3289977"/>
              <a:gd name="connsiteX12" fmla="*/ 231043 w 4160844"/>
              <a:gd name="connsiteY12" fmla="*/ 3162962 h 3289977"/>
              <a:gd name="connsiteX13" fmla="*/ 231043 w 4160844"/>
              <a:gd name="connsiteY13" fmla="*/ 2489249 h 3289977"/>
              <a:gd name="connsiteX14" fmla="*/ 115522 w 4160844"/>
              <a:gd name="connsiteY14" fmla="*/ 2373728 h 3289977"/>
              <a:gd name="connsiteX15" fmla="*/ 1 w 4160844"/>
              <a:gd name="connsiteY15" fmla="*/ 2257741 h 3289977"/>
              <a:gd name="connsiteX16" fmla="*/ 4754 w 4160844"/>
              <a:gd name="connsiteY16" fmla="*/ 1028881 h 3289977"/>
              <a:gd name="connsiteX17" fmla="*/ 117883 w 4160844"/>
              <a:gd name="connsiteY17" fmla="*/ 916186 h 3289977"/>
              <a:gd name="connsiteX18" fmla="*/ 231043 w 4160844"/>
              <a:gd name="connsiteY18" fmla="*/ 803025 h 3289977"/>
              <a:gd name="connsiteX19" fmla="*/ 231043 w 4160844"/>
              <a:gd name="connsiteY19" fmla="*/ 127014 h 3289977"/>
              <a:gd name="connsiteX20" fmla="*/ 358057 w 4160844"/>
              <a:gd name="connsiteY20" fmla="*/ 0 h 328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60844" h="3289977">
                <a:moveTo>
                  <a:pt x="358057" y="0"/>
                </a:moveTo>
                <a:lnTo>
                  <a:pt x="3808005" y="0"/>
                </a:lnTo>
                <a:cubicBezTo>
                  <a:pt x="3878145" y="0"/>
                  <a:pt x="3935019" y="56875"/>
                  <a:pt x="3935019" y="127014"/>
                </a:cubicBezTo>
                <a:lnTo>
                  <a:pt x="3935019" y="803305"/>
                </a:lnTo>
                <a:cubicBezTo>
                  <a:pt x="3935019" y="865678"/>
                  <a:pt x="3985589" y="916217"/>
                  <a:pt x="4047931" y="916217"/>
                </a:cubicBezTo>
                <a:cubicBezTo>
                  <a:pt x="4110274" y="916217"/>
                  <a:pt x="4160844" y="966787"/>
                  <a:pt x="4160844" y="1029129"/>
                </a:cubicBezTo>
                <a:lnTo>
                  <a:pt x="4160844" y="2264947"/>
                </a:lnTo>
                <a:cubicBezTo>
                  <a:pt x="4160844" y="2326979"/>
                  <a:pt x="4109932" y="2376959"/>
                  <a:pt x="4047931" y="2375809"/>
                </a:cubicBezTo>
                <a:cubicBezTo>
                  <a:pt x="3985900" y="2374660"/>
                  <a:pt x="3935019" y="2424639"/>
                  <a:pt x="3935019" y="2486671"/>
                </a:cubicBezTo>
                <a:lnTo>
                  <a:pt x="3935019" y="3162962"/>
                </a:lnTo>
                <a:cubicBezTo>
                  <a:pt x="3935019" y="3233101"/>
                  <a:pt x="3878145" y="3289977"/>
                  <a:pt x="3808005" y="3289977"/>
                </a:cubicBezTo>
                <a:lnTo>
                  <a:pt x="358057" y="3289977"/>
                </a:lnTo>
                <a:cubicBezTo>
                  <a:pt x="287919" y="3289977"/>
                  <a:pt x="231043" y="3233101"/>
                  <a:pt x="231043" y="3162962"/>
                </a:cubicBezTo>
                <a:lnTo>
                  <a:pt x="231043" y="2489249"/>
                </a:lnTo>
                <a:cubicBezTo>
                  <a:pt x="231043" y="2425447"/>
                  <a:pt x="179325" y="2373728"/>
                  <a:pt x="115522" y="2373728"/>
                </a:cubicBezTo>
                <a:cubicBezTo>
                  <a:pt x="51720" y="2373728"/>
                  <a:pt x="-247" y="2321730"/>
                  <a:pt x="1" y="2257741"/>
                </a:cubicBezTo>
                <a:lnTo>
                  <a:pt x="4754" y="1028881"/>
                </a:lnTo>
                <a:cubicBezTo>
                  <a:pt x="5002" y="966569"/>
                  <a:pt x="55572" y="916186"/>
                  <a:pt x="117883" y="916186"/>
                </a:cubicBezTo>
                <a:cubicBezTo>
                  <a:pt x="180194" y="916186"/>
                  <a:pt x="231043" y="865523"/>
                  <a:pt x="231043" y="803025"/>
                </a:cubicBezTo>
                <a:lnTo>
                  <a:pt x="231043" y="127014"/>
                </a:lnTo>
                <a:cubicBezTo>
                  <a:pt x="231043" y="56875"/>
                  <a:pt x="287919" y="0"/>
                  <a:pt x="358057"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64" name="Tijdelijke aanduiding voor afbeelding 63">
            <a:extLst>
              <a:ext uri="{FF2B5EF4-FFF2-40B4-BE49-F238E27FC236}">
                <a16:creationId xmlns:a16="http://schemas.microsoft.com/office/drawing/2014/main" id="{ACBBC147-5E61-A1E7-9F50-3DBA5031A52F}"/>
              </a:ext>
            </a:extLst>
          </p:cNvPr>
          <p:cNvSpPr>
            <a:spLocks noGrp="1" noRot="1" noMove="1" noResize="1" noEditPoints="1" noAdjustHandles="1" noChangeArrowheads="1" noChangeShapeType="1"/>
          </p:cNvSpPr>
          <p:nvPr>
            <p:ph type="pic" sz="quarter" idx="21"/>
          </p:nvPr>
        </p:nvSpPr>
        <p:spPr>
          <a:xfrm>
            <a:off x="8374831" y="3534239"/>
            <a:ext cx="3818162" cy="3290008"/>
          </a:xfrm>
          <a:custGeom>
            <a:avLst/>
            <a:gdLst>
              <a:gd name="connsiteX0" fmla="*/ 127046 w 3818162"/>
              <a:gd name="connsiteY0" fmla="*/ 0 h 3290008"/>
              <a:gd name="connsiteX1" fmla="*/ 3818162 w 3818162"/>
              <a:gd name="connsiteY1" fmla="*/ 0 h 3290008"/>
              <a:gd name="connsiteX2" fmla="*/ 3818162 w 3818162"/>
              <a:gd name="connsiteY2" fmla="*/ 3290008 h 3290008"/>
              <a:gd name="connsiteX3" fmla="*/ 127015 w 3818162"/>
              <a:gd name="connsiteY3" fmla="*/ 3290008 h 3290008"/>
              <a:gd name="connsiteX4" fmla="*/ 0 w 3818162"/>
              <a:gd name="connsiteY4" fmla="*/ 3162993 h 3290008"/>
              <a:gd name="connsiteX5" fmla="*/ 0 w 3818162"/>
              <a:gd name="connsiteY5" fmla="*/ 2591445 h 3290008"/>
              <a:gd name="connsiteX6" fmla="*/ 123940 w 3818162"/>
              <a:gd name="connsiteY6" fmla="*/ 2467506 h 3290008"/>
              <a:gd name="connsiteX7" fmla="*/ 247878 w 3818162"/>
              <a:gd name="connsiteY7" fmla="*/ 2344033 h 3290008"/>
              <a:gd name="connsiteX8" fmla="*/ 253252 w 3818162"/>
              <a:gd name="connsiteY8" fmla="*/ 949609 h 3290008"/>
              <a:gd name="connsiteX9" fmla="*/ 126642 w 3818162"/>
              <a:gd name="connsiteY9" fmla="*/ 822502 h 3290008"/>
              <a:gd name="connsiteX10" fmla="*/ 31 w 3818162"/>
              <a:gd name="connsiteY10" fmla="*/ 695891 h 3290008"/>
              <a:gd name="connsiteX11" fmla="*/ 31 w 3818162"/>
              <a:gd name="connsiteY11" fmla="*/ 127014 h 3290008"/>
              <a:gd name="connsiteX12" fmla="*/ 127046 w 3818162"/>
              <a:gd name="connsiteY12" fmla="*/ 0 h 329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8162" h="3290008">
                <a:moveTo>
                  <a:pt x="127046" y="0"/>
                </a:moveTo>
                <a:lnTo>
                  <a:pt x="3818162" y="0"/>
                </a:lnTo>
                <a:lnTo>
                  <a:pt x="3818162" y="3290008"/>
                </a:lnTo>
                <a:lnTo>
                  <a:pt x="127015" y="3290008"/>
                </a:lnTo>
                <a:cubicBezTo>
                  <a:pt x="56875" y="3290008"/>
                  <a:pt x="0" y="3233132"/>
                  <a:pt x="0" y="3162993"/>
                </a:cubicBezTo>
                <a:lnTo>
                  <a:pt x="0" y="2591445"/>
                </a:lnTo>
                <a:cubicBezTo>
                  <a:pt x="0" y="2522983"/>
                  <a:pt x="55664" y="2467506"/>
                  <a:pt x="123940" y="2467506"/>
                </a:cubicBezTo>
                <a:cubicBezTo>
                  <a:pt x="192215" y="2467506"/>
                  <a:pt x="247630" y="2412308"/>
                  <a:pt x="247878" y="2344033"/>
                </a:cubicBezTo>
                <a:lnTo>
                  <a:pt x="253252" y="949609"/>
                </a:lnTo>
                <a:cubicBezTo>
                  <a:pt x="253532" y="879501"/>
                  <a:pt x="196563" y="822502"/>
                  <a:pt x="126642" y="822502"/>
                </a:cubicBezTo>
                <a:cubicBezTo>
                  <a:pt x="56720" y="822502"/>
                  <a:pt x="31" y="765813"/>
                  <a:pt x="31" y="695891"/>
                </a:cubicBezTo>
                <a:lnTo>
                  <a:pt x="31" y="127014"/>
                </a:lnTo>
                <a:cubicBezTo>
                  <a:pt x="31" y="56875"/>
                  <a:pt x="56907" y="0"/>
                  <a:pt x="127046"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317776304"/>
      </p:ext>
    </p:extLst>
  </p:cSld>
  <p:clrMapOvr>
    <a:masterClrMapping/>
  </p:clrMapOvr>
  <p:extLst>
    <p:ext uri="{DCECCB84-F9BA-43D5-87BE-67443E8EF086}">
      <p15:sldGuideLst xmlns:p15="http://schemas.microsoft.com/office/powerpoint/2012/main">
        <p15:guide id="1" orient="horz" pos="572">
          <p15:clr>
            <a:srgbClr val="FBAE40"/>
          </p15:clr>
        </p15:guide>
        <p15:guide id="2" pos="438">
          <p15:clr>
            <a:srgbClr val="FBAE40"/>
          </p15:clr>
        </p15:guide>
        <p15:guide id="3" pos="728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llage 11">
    <p:spTree>
      <p:nvGrpSpPr>
        <p:cNvPr id="1" name=""/>
        <p:cNvGrpSpPr/>
        <p:nvPr/>
      </p:nvGrpSpPr>
      <p:grpSpPr>
        <a:xfrm>
          <a:off x="0" y="0"/>
          <a:ext cx="0" cy="0"/>
          <a:chOff x="0" y="0"/>
          <a:chExt cx="0" cy="0"/>
        </a:xfrm>
      </p:grpSpPr>
      <p:sp>
        <p:nvSpPr>
          <p:cNvPr id="47" name="Tijdelijke aanduiding voor afbeelding 46">
            <a:extLst>
              <a:ext uri="{FF2B5EF4-FFF2-40B4-BE49-F238E27FC236}">
                <a16:creationId xmlns:a16="http://schemas.microsoft.com/office/drawing/2014/main" id="{09DD4B54-C27D-393F-567B-36F38165622F}"/>
              </a:ext>
            </a:extLst>
          </p:cNvPr>
          <p:cNvSpPr>
            <a:spLocks noGrp="1" noRot="1" noMove="1" noResize="1" noEditPoints="1" noAdjustHandles="1" noChangeArrowheads="1" noChangeShapeType="1"/>
          </p:cNvSpPr>
          <p:nvPr>
            <p:ph type="pic" sz="quarter" idx="33"/>
          </p:nvPr>
        </p:nvSpPr>
        <p:spPr>
          <a:xfrm>
            <a:off x="7734236" y="4597400"/>
            <a:ext cx="3727514" cy="2209864"/>
          </a:xfrm>
          <a:custGeom>
            <a:avLst/>
            <a:gdLst>
              <a:gd name="connsiteX0" fmla="*/ 127064 w 3727514"/>
              <a:gd name="connsiteY0" fmla="*/ 0 h 2209864"/>
              <a:gd name="connsiteX1" fmla="*/ 3600514 w 3727514"/>
              <a:gd name="connsiteY1" fmla="*/ 0 h 2209864"/>
              <a:gd name="connsiteX2" fmla="*/ 3727514 w 3727514"/>
              <a:gd name="connsiteY2" fmla="*/ 127000 h 2209864"/>
              <a:gd name="connsiteX3" fmla="*/ 3727514 w 3727514"/>
              <a:gd name="connsiteY3" fmla="*/ 438785 h 2209864"/>
              <a:gd name="connsiteX4" fmla="*/ 3613849 w 3727514"/>
              <a:gd name="connsiteY4" fmla="*/ 552450 h 2209864"/>
              <a:gd name="connsiteX5" fmla="*/ 3500183 w 3727514"/>
              <a:gd name="connsiteY5" fmla="*/ 666115 h 2209864"/>
              <a:gd name="connsiteX6" fmla="*/ 3500183 w 3727514"/>
              <a:gd name="connsiteY6" fmla="*/ 1546542 h 2209864"/>
              <a:gd name="connsiteX7" fmla="*/ 3613849 w 3727514"/>
              <a:gd name="connsiteY7" fmla="*/ 1658810 h 2209864"/>
              <a:gd name="connsiteX8" fmla="*/ 3727514 w 3727514"/>
              <a:gd name="connsiteY8" fmla="*/ 1771078 h 2209864"/>
              <a:gd name="connsiteX9" fmla="*/ 3727514 w 3727514"/>
              <a:gd name="connsiteY9" fmla="*/ 2082864 h 2209864"/>
              <a:gd name="connsiteX10" fmla="*/ 3600514 w 3727514"/>
              <a:gd name="connsiteY10" fmla="*/ 2209864 h 2209864"/>
              <a:gd name="connsiteX11" fmla="*/ 127064 w 3727514"/>
              <a:gd name="connsiteY11" fmla="*/ 2209864 h 2209864"/>
              <a:gd name="connsiteX12" fmla="*/ 64 w 3727514"/>
              <a:gd name="connsiteY12" fmla="*/ 2082864 h 2209864"/>
              <a:gd name="connsiteX13" fmla="*/ 64 w 3727514"/>
              <a:gd name="connsiteY13" fmla="*/ 1768475 h 2209864"/>
              <a:gd name="connsiteX14" fmla="*/ 111125 w 3727514"/>
              <a:gd name="connsiteY14" fmla="*/ 1657414 h 2209864"/>
              <a:gd name="connsiteX15" fmla="*/ 222186 w 3727514"/>
              <a:gd name="connsiteY15" fmla="*/ 1546923 h 2209864"/>
              <a:gd name="connsiteX16" fmla="*/ 226695 w 3727514"/>
              <a:gd name="connsiteY16" fmla="*/ 666496 h 2209864"/>
              <a:gd name="connsiteX17" fmla="*/ 113347 w 3727514"/>
              <a:gd name="connsiteY17" fmla="*/ 552577 h 2209864"/>
              <a:gd name="connsiteX18" fmla="*/ 0 w 3727514"/>
              <a:gd name="connsiteY18" fmla="*/ 439229 h 2209864"/>
              <a:gd name="connsiteX19" fmla="*/ 0 w 3727514"/>
              <a:gd name="connsiteY19" fmla="*/ 127127 h 2209864"/>
              <a:gd name="connsiteX20" fmla="*/ 64 w 3727514"/>
              <a:gd name="connsiteY20" fmla="*/ 127000 h 2209864"/>
              <a:gd name="connsiteX21" fmla="*/ 127064 w 3727514"/>
              <a:gd name="connsiteY21" fmla="*/ 0 h 220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514" h="2209864">
                <a:moveTo>
                  <a:pt x="127064" y="0"/>
                </a:moveTo>
                <a:lnTo>
                  <a:pt x="3600514" y="0"/>
                </a:lnTo>
                <a:cubicBezTo>
                  <a:pt x="3670681" y="0"/>
                  <a:pt x="3727514" y="56833"/>
                  <a:pt x="3727514" y="127000"/>
                </a:cubicBezTo>
                <a:lnTo>
                  <a:pt x="3727514" y="438785"/>
                </a:lnTo>
                <a:cubicBezTo>
                  <a:pt x="3727514" y="501523"/>
                  <a:pt x="3676650" y="552450"/>
                  <a:pt x="3613849" y="552450"/>
                </a:cubicBezTo>
                <a:cubicBezTo>
                  <a:pt x="3551047" y="552450"/>
                  <a:pt x="3500183" y="603314"/>
                  <a:pt x="3500183" y="666115"/>
                </a:cubicBezTo>
                <a:lnTo>
                  <a:pt x="3500183" y="1546542"/>
                </a:lnTo>
                <a:cubicBezTo>
                  <a:pt x="3500183" y="1609090"/>
                  <a:pt x="3551301" y="1659572"/>
                  <a:pt x="3613849" y="1658810"/>
                </a:cubicBezTo>
                <a:cubicBezTo>
                  <a:pt x="3676396" y="1658048"/>
                  <a:pt x="3727514" y="1708531"/>
                  <a:pt x="3727514" y="1771078"/>
                </a:cubicBezTo>
                <a:lnTo>
                  <a:pt x="3727514" y="2082864"/>
                </a:lnTo>
                <a:cubicBezTo>
                  <a:pt x="3727514" y="2153031"/>
                  <a:pt x="3670681" y="2209864"/>
                  <a:pt x="3600514" y="2209864"/>
                </a:cubicBezTo>
                <a:lnTo>
                  <a:pt x="127064" y="2209864"/>
                </a:lnTo>
                <a:cubicBezTo>
                  <a:pt x="56896" y="2209864"/>
                  <a:pt x="64" y="2153031"/>
                  <a:pt x="64" y="2082864"/>
                </a:cubicBezTo>
                <a:lnTo>
                  <a:pt x="64" y="1768475"/>
                </a:lnTo>
                <a:cubicBezTo>
                  <a:pt x="64" y="1707134"/>
                  <a:pt x="49784" y="1657414"/>
                  <a:pt x="111125" y="1657414"/>
                </a:cubicBezTo>
                <a:cubicBezTo>
                  <a:pt x="172466" y="1657414"/>
                  <a:pt x="221869" y="1608010"/>
                  <a:pt x="222186" y="1546923"/>
                </a:cubicBezTo>
                <a:lnTo>
                  <a:pt x="226695" y="666496"/>
                </a:lnTo>
                <a:cubicBezTo>
                  <a:pt x="227013" y="603695"/>
                  <a:pt x="176149" y="552577"/>
                  <a:pt x="113347" y="552577"/>
                </a:cubicBezTo>
                <a:cubicBezTo>
                  <a:pt x="50546" y="552577"/>
                  <a:pt x="0" y="501841"/>
                  <a:pt x="0" y="439229"/>
                </a:cubicBezTo>
                <a:lnTo>
                  <a:pt x="0" y="127127"/>
                </a:lnTo>
                <a:lnTo>
                  <a:pt x="64" y="127000"/>
                </a:lnTo>
                <a:cubicBezTo>
                  <a:pt x="64" y="56833"/>
                  <a:pt x="56896" y="0"/>
                  <a:pt x="12706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45" name="Tijdelijke aanduiding voor afbeelding 44">
            <a:extLst>
              <a:ext uri="{FF2B5EF4-FFF2-40B4-BE49-F238E27FC236}">
                <a16:creationId xmlns:a16="http://schemas.microsoft.com/office/drawing/2014/main" id="{2A5346AC-D3FC-01A6-AD7D-D375A3E20D11}"/>
              </a:ext>
            </a:extLst>
          </p:cNvPr>
          <p:cNvSpPr>
            <a:spLocks noGrp="1" noRot="1" noMove="1" noResize="1" noEditPoints="1" noAdjustHandles="1" noChangeArrowheads="1" noChangeShapeType="1"/>
          </p:cNvSpPr>
          <p:nvPr>
            <p:ph type="pic" sz="quarter" idx="32"/>
          </p:nvPr>
        </p:nvSpPr>
        <p:spPr>
          <a:xfrm>
            <a:off x="6686486" y="2324100"/>
            <a:ext cx="3727514" cy="2209864"/>
          </a:xfrm>
          <a:custGeom>
            <a:avLst/>
            <a:gdLst>
              <a:gd name="connsiteX0" fmla="*/ 127064 w 3727514"/>
              <a:gd name="connsiteY0" fmla="*/ 0 h 2209864"/>
              <a:gd name="connsiteX1" fmla="*/ 3600514 w 3727514"/>
              <a:gd name="connsiteY1" fmla="*/ 0 h 2209864"/>
              <a:gd name="connsiteX2" fmla="*/ 3727514 w 3727514"/>
              <a:gd name="connsiteY2" fmla="*/ 127000 h 2209864"/>
              <a:gd name="connsiteX3" fmla="*/ 3727514 w 3727514"/>
              <a:gd name="connsiteY3" fmla="*/ 438785 h 2209864"/>
              <a:gd name="connsiteX4" fmla="*/ 3613849 w 3727514"/>
              <a:gd name="connsiteY4" fmla="*/ 552450 h 2209864"/>
              <a:gd name="connsiteX5" fmla="*/ 3500183 w 3727514"/>
              <a:gd name="connsiteY5" fmla="*/ 666115 h 2209864"/>
              <a:gd name="connsiteX6" fmla="*/ 3500183 w 3727514"/>
              <a:gd name="connsiteY6" fmla="*/ 1546542 h 2209864"/>
              <a:gd name="connsiteX7" fmla="*/ 3613849 w 3727514"/>
              <a:gd name="connsiteY7" fmla="*/ 1658810 h 2209864"/>
              <a:gd name="connsiteX8" fmla="*/ 3727514 w 3727514"/>
              <a:gd name="connsiteY8" fmla="*/ 1771078 h 2209864"/>
              <a:gd name="connsiteX9" fmla="*/ 3727514 w 3727514"/>
              <a:gd name="connsiteY9" fmla="*/ 2082864 h 2209864"/>
              <a:gd name="connsiteX10" fmla="*/ 3600514 w 3727514"/>
              <a:gd name="connsiteY10" fmla="*/ 2209864 h 2209864"/>
              <a:gd name="connsiteX11" fmla="*/ 127064 w 3727514"/>
              <a:gd name="connsiteY11" fmla="*/ 2209864 h 2209864"/>
              <a:gd name="connsiteX12" fmla="*/ 64 w 3727514"/>
              <a:gd name="connsiteY12" fmla="*/ 2082864 h 2209864"/>
              <a:gd name="connsiteX13" fmla="*/ 64 w 3727514"/>
              <a:gd name="connsiteY13" fmla="*/ 1768475 h 2209864"/>
              <a:gd name="connsiteX14" fmla="*/ 111125 w 3727514"/>
              <a:gd name="connsiteY14" fmla="*/ 1657414 h 2209864"/>
              <a:gd name="connsiteX15" fmla="*/ 222186 w 3727514"/>
              <a:gd name="connsiteY15" fmla="*/ 1546923 h 2209864"/>
              <a:gd name="connsiteX16" fmla="*/ 226695 w 3727514"/>
              <a:gd name="connsiteY16" fmla="*/ 666496 h 2209864"/>
              <a:gd name="connsiteX17" fmla="*/ 113347 w 3727514"/>
              <a:gd name="connsiteY17" fmla="*/ 552577 h 2209864"/>
              <a:gd name="connsiteX18" fmla="*/ 0 w 3727514"/>
              <a:gd name="connsiteY18" fmla="*/ 439230 h 2209864"/>
              <a:gd name="connsiteX19" fmla="*/ 0 w 3727514"/>
              <a:gd name="connsiteY19" fmla="*/ 127127 h 2209864"/>
              <a:gd name="connsiteX20" fmla="*/ 64 w 3727514"/>
              <a:gd name="connsiteY20" fmla="*/ 127000 h 2209864"/>
              <a:gd name="connsiteX21" fmla="*/ 127064 w 3727514"/>
              <a:gd name="connsiteY21" fmla="*/ 0 h 220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514" h="2209864">
                <a:moveTo>
                  <a:pt x="127064" y="0"/>
                </a:moveTo>
                <a:lnTo>
                  <a:pt x="3600514" y="0"/>
                </a:lnTo>
                <a:cubicBezTo>
                  <a:pt x="3670681" y="0"/>
                  <a:pt x="3727514" y="56833"/>
                  <a:pt x="3727514" y="127000"/>
                </a:cubicBezTo>
                <a:lnTo>
                  <a:pt x="3727514" y="438785"/>
                </a:lnTo>
                <a:cubicBezTo>
                  <a:pt x="3727514" y="501523"/>
                  <a:pt x="3676650" y="552450"/>
                  <a:pt x="3613849" y="552450"/>
                </a:cubicBezTo>
                <a:cubicBezTo>
                  <a:pt x="3551047" y="552450"/>
                  <a:pt x="3500183" y="603314"/>
                  <a:pt x="3500183" y="666115"/>
                </a:cubicBezTo>
                <a:lnTo>
                  <a:pt x="3500183" y="1546542"/>
                </a:lnTo>
                <a:cubicBezTo>
                  <a:pt x="3500183" y="1609090"/>
                  <a:pt x="3551301" y="1659572"/>
                  <a:pt x="3613849" y="1658810"/>
                </a:cubicBezTo>
                <a:cubicBezTo>
                  <a:pt x="3676396" y="1658048"/>
                  <a:pt x="3727514" y="1708531"/>
                  <a:pt x="3727514" y="1771078"/>
                </a:cubicBezTo>
                <a:lnTo>
                  <a:pt x="3727514" y="2082864"/>
                </a:lnTo>
                <a:cubicBezTo>
                  <a:pt x="3727514" y="2153031"/>
                  <a:pt x="3670681" y="2209864"/>
                  <a:pt x="3600514" y="2209864"/>
                </a:cubicBezTo>
                <a:lnTo>
                  <a:pt x="127064" y="2209864"/>
                </a:lnTo>
                <a:cubicBezTo>
                  <a:pt x="56896" y="2209864"/>
                  <a:pt x="64" y="2153031"/>
                  <a:pt x="64" y="2082864"/>
                </a:cubicBezTo>
                <a:lnTo>
                  <a:pt x="64" y="1768475"/>
                </a:lnTo>
                <a:cubicBezTo>
                  <a:pt x="64" y="1707134"/>
                  <a:pt x="49784" y="1657414"/>
                  <a:pt x="111125" y="1657414"/>
                </a:cubicBezTo>
                <a:cubicBezTo>
                  <a:pt x="172466" y="1657414"/>
                  <a:pt x="221869" y="1608010"/>
                  <a:pt x="222186" y="1546923"/>
                </a:cubicBezTo>
                <a:lnTo>
                  <a:pt x="226695" y="666496"/>
                </a:lnTo>
                <a:cubicBezTo>
                  <a:pt x="227013" y="603695"/>
                  <a:pt x="176149" y="552577"/>
                  <a:pt x="113347" y="552577"/>
                </a:cubicBezTo>
                <a:cubicBezTo>
                  <a:pt x="50546" y="552577"/>
                  <a:pt x="0" y="501841"/>
                  <a:pt x="0" y="439230"/>
                </a:cubicBezTo>
                <a:lnTo>
                  <a:pt x="0" y="127127"/>
                </a:lnTo>
                <a:lnTo>
                  <a:pt x="64" y="127000"/>
                </a:lnTo>
                <a:cubicBezTo>
                  <a:pt x="64" y="56833"/>
                  <a:pt x="56896" y="0"/>
                  <a:pt x="127064"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41" name="Tijdelijke aanduiding voor afbeelding 40">
            <a:extLst>
              <a:ext uri="{FF2B5EF4-FFF2-40B4-BE49-F238E27FC236}">
                <a16:creationId xmlns:a16="http://schemas.microsoft.com/office/drawing/2014/main" id="{707A245C-7003-B8B7-18A3-AE3A856BBC54}"/>
              </a:ext>
            </a:extLst>
          </p:cNvPr>
          <p:cNvSpPr>
            <a:spLocks noGrp="1" noRot="1" noMove="1" noResize="1" noEditPoints="1" noAdjustHandles="1" noChangeArrowheads="1" noChangeShapeType="1"/>
          </p:cNvSpPr>
          <p:nvPr>
            <p:ph type="pic" sz="quarter" idx="30"/>
          </p:nvPr>
        </p:nvSpPr>
        <p:spPr>
          <a:xfrm>
            <a:off x="4147056" y="4597400"/>
            <a:ext cx="3727008" cy="2209800"/>
          </a:xfrm>
          <a:custGeom>
            <a:avLst/>
            <a:gdLst>
              <a:gd name="connsiteX0" fmla="*/ 333885 w 3727008"/>
              <a:gd name="connsiteY0" fmla="*/ 0 h 2209800"/>
              <a:gd name="connsiteX1" fmla="*/ 3397697 w 3727008"/>
              <a:gd name="connsiteY1" fmla="*/ 0 h 2209800"/>
              <a:gd name="connsiteX2" fmla="*/ 3524697 w 3727008"/>
              <a:gd name="connsiteY2" fmla="*/ 127000 h 2209800"/>
              <a:gd name="connsiteX3" fmla="*/ 3524697 w 3727008"/>
              <a:gd name="connsiteY3" fmla="*/ 514286 h 2209800"/>
              <a:gd name="connsiteX4" fmla="*/ 3625852 w 3727008"/>
              <a:gd name="connsiteY4" fmla="*/ 615442 h 2209800"/>
              <a:gd name="connsiteX5" fmla="*/ 3727008 w 3727008"/>
              <a:gd name="connsiteY5" fmla="*/ 716597 h 2209800"/>
              <a:gd name="connsiteX6" fmla="*/ 3727008 w 3727008"/>
              <a:gd name="connsiteY6" fmla="*/ 1496060 h 2209800"/>
              <a:gd name="connsiteX7" fmla="*/ 3625852 w 3727008"/>
              <a:gd name="connsiteY7" fmla="*/ 1595819 h 2209800"/>
              <a:gd name="connsiteX8" fmla="*/ 3524697 w 3727008"/>
              <a:gd name="connsiteY8" fmla="*/ 1695577 h 2209800"/>
              <a:gd name="connsiteX9" fmla="*/ 3524697 w 3727008"/>
              <a:gd name="connsiteY9" fmla="*/ 2082800 h 2209800"/>
              <a:gd name="connsiteX10" fmla="*/ 3397697 w 3727008"/>
              <a:gd name="connsiteY10" fmla="*/ 2209800 h 2209800"/>
              <a:gd name="connsiteX11" fmla="*/ 333885 w 3727008"/>
              <a:gd name="connsiteY11" fmla="*/ 2209800 h 2209800"/>
              <a:gd name="connsiteX12" fmla="*/ 206885 w 3727008"/>
              <a:gd name="connsiteY12" fmla="*/ 2082800 h 2209800"/>
              <a:gd name="connsiteX13" fmla="*/ 206885 w 3727008"/>
              <a:gd name="connsiteY13" fmla="*/ 1697800 h 2209800"/>
              <a:gd name="connsiteX14" fmla="*/ 103443 w 3727008"/>
              <a:gd name="connsiteY14" fmla="*/ 1594358 h 2209800"/>
              <a:gd name="connsiteX15" fmla="*/ 2 w 3727008"/>
              <a:gd name="connsiteY15" fmla="*/ 1490409 h 2209800"/>
              <a:gd name="connsiteX16" fmla="*/ 4003 w 3727008"/>
              <a:gd name="connsiteY16" fmla="*/ 716280 h 2209800"/>
              <a:gd name="connsiteX17" fmla="*/ 105412 w 3727008"/>
              <a:gd name="connsiteY17" fmla="*/ 615378 h 2209800"/>
              <a:gd name="connsiteX18" fmla="*/ 206822 w 3727008"/>
              <a:gd name="connsiteY18" fmla="*/ 513969 h 2209800"/>
              <a:gd name="connsiteX19" fmla="*/ 206822 w 3727008"/>
              <a:gd name="connsiteY19" fmla="*/ 127000 h 2209800"/>
              <a:gd name="connsiteX20" fmla="*/ 206885 w 3727008"/>
              <a:gd name="connsiteY20" fmla="*/ 127000 h 2209800"/>
              <a:gd name="connsiteX21" fmla="*/ 333885 w 3727008"/>
              <a:gd name="connsiteY21"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008" h="2209800">
                <a:moveTo>
                  <a:pt x="333885" y="0"/>
                </a:moveTo>
                <a:lnTo>
                  <a:pt x="3397697" y="0"/>
                </a:lnTo>
                <a:cubicBezTo>
                  <a:pt x="3467864" y="0"/>
                  <a:pt x="3524697" y="56833"/>
                  <a:pt x="3524697" y="127000"/>
                </a:cubicBezTo>
                <a:lnTo>
                  <a:pt x="3524697" y="514286"/>
                </a:lnTo>
                <a:cubicBezTo>
                  <a:pt x="3524697" y="570166"/>
                  <a:pt x="3569972" y="615442"/>
                  <a:pt x="3625852" y="615442"/>
                </a:cubicBezTo>
                <a:cubicBezTo>
                  <a:pt x="3681732" y="615442"/>
                  <a:pt x="3727008" y="660717"/>
                  <a:pt x="3727008" y="716597"/>
                </a:cubicBezTo>
                <a:lnTo>
                  <a:pt x="3727008" y="1496060"/>
                </a:lnTo>
                <a:cubicBezTo>
                  <a:pt x="3727008" y="1551686"/>
                  <a:pt x="3681478" y="1596581"/>
                  <a:pt x="3625852" y="1595819"/>
                </a:cubicBezTo>
                <a:cubicBezTo>
                  <a:pt x="3570226" y="1595057"/>
                  <a:pt x="3524697" y="1639951"/>
                  <a:pt x="3524697" y="1695577"/>
                </a:cubicBezTo>
                <a:lnTo>
                  <a:pt x="3524697" y="2082800"/>
                </a:lnTo>
                <a:cubicBezTo>
                  <a:pt x="3524697" y="2152968"/>
                  <a:pt x="3467864" y="2209800"/>
                  <a:pt x="3397697" y="2209800"/>
                </a:cubicBezTo>
                <a:lnTo>
                  <a:pt x="333885" y="2209800"/>
                </a:lnTo>
                <a:cubicBezTo>
                  <a:pt x="263717" y="2209800"/>
                  <a:pt x="206885" y="2152968"/>
                  <a:pt x="206885" y="2082800"/>
                </a:cubicBezTo>
                <a:lnTo>
                  <a:pt x="206885" y="1697800"/>
                </a:lnTo>
                <a:cubicBezTo>
                  <a:pt x="206885" y="1640713"/>
                  <a:pt x="160593" y="1594358"/>
                  <a:pt x="103443" y="1594358"/>
                </a:cubicBezTo>
                <a:cubicBezTo>
                  <a:pt x="46293" y="1594358"/>
                  <a:pt x="-252" y="1547749"/>
                  <a:pt x="2" y="1490409"/>
                </a:cubicBezTo>
                <a:lnTo>
                  <a:pt x="4003" y="716280"/>
                </a:lnTo>
                <a:cubicBezTo>
                  <a:pt x="4320" y="660464"/>
                  <a:pt x="49596" y="615378"/>
                  <a:pt x="105412" y="615378"/>
                </a:cubicBezTo>
                <a:cubicBezTo>
                  <a:pt x="161228" y="615378"/>
                  <a:pt x="206822" y="569976"/>
                  <a:pt x="206822" y="513969"/>
                </a:cubicBezTo>
                <a:lnTo>
                  <a:pt x="206822" y="127000"/>
                </a:lnTo>
                <a:lnTo>
                  <a:pt x="206885" y="127000"/>
                </a:lnTo>
                <a:cubicBezTo>
                  <a:pt x="206885" y="56833"/>
                  <a:pt x="263717" y="0"/>
                  <a:pt x="33388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9" name="Tijdelijke aanduiding voor afbeelding 38">
            <a:extLst>
              <a:ext uri="{FF2B5EF4-FFF2-40B4-BE49-F238E27FC236}">
                <a16:creationId xmlns:a16="http://schemas.microsoft.com/office/drawing/2014/main" id="{EE6EE096-BE07-3BAC-BBE5-11B00A8FB035}"/>
              </a:ext>
            </a:extLst>
          </p:cNvPr>
          <p:cNvSpPr>
            <a:spLocks noGrp="1" noRot="1" noMove="1" noResize="1" noEditPoints="1" noAdjustHandles="1" noChangeArrowheads="1" noChangeShapeType="1"/>
          </p:cNvSpPr>
          <p:nvPr>
            <p:ph type="pic" sz="quarter" idx="29"/>
          </p:nvPr>
        </p:nvSpPr>
        <p:spPr>
          <a:xfrm>
            <a:off x="863600" y="4597400"/>
            <a:ext cx="3427984" cy="2209800"/>
          </a:xfrm>
          <a:custGeom>
            <a:avLst/>
            <a:gdLst>
              <a:gd name="connsiteX0" fmla="*/ 127000 w 3427984"/>
              <a:gd name="connsiteY0" fmla="*/ 0 h 2209800"/>
              <a:gd name="connsiteX1" fmla="*/ 3300984 w 3427984"/>
              <a:gd name="connsiteY1" fmla="*/ 0 h 2209800"/>
              <a:gd name="connsiteX2" fmla="*/ 3427984 w 3427984"/>
              <a:gd name="connsiteY2" fmla="*/ 127000 h 2209800"/>
              <a:gd name="connsiteX3" fmla="*/ 3427984 w 3427984"/>
              <a:gd name="connsiteY3" fmla="*/ 447929 h 2209800"/>
              <a:gd name="connsiteX4" fmla="*/ 3323463 w 3427984"/>
              <a:gd name="connsiteY4" fmla="*/ 552450 h 2209800"/>
              <a:gd name="connsiteX5" fmla="*/ 3218942 w 3427984"/>
              <a:gd name="connsiteY5" fmla="*/ 656971 h 2209800"/>
              <a:gd name="connsiteX6" fmla="*/ 3218942 w 3427984"/>
              <a:gd name="connsiteY6" fmla="*/ 1555623 h 2209800"/>
              <a:gd name="connsiteX7" fmla="*/ 3323463 w 3427984"/>
              <a:gd name="connsiteY7" fmla="*/ 1658747 h 2209800"/>
              <a:gd name="connsiteX8" fmla="*/ 3427984 w 3427984"/>
              <a:gd name="connsiteY8" fmla="*/ 1761871 h 2209800"/>
              <a:gd name="connsiteX9" fmla="*/ 3427984 w 3427984"/>
              <a:gd name="connsiteY9" fmla="*/ 2082800 h 2209800"/>
              <a:gd name="connsiteX10" fmla="*/ 3300984 w 3427984"/>
              <a:gd name="connsiteY10" fmla="*/ 2209800 h 2209800"/>
              <a:gd name="connsiteX11" fmla="*/ 127000 w 3427984"/>
              <a:gd name="connsiteY11" fmla="*/ 2209800 h 2209800"/>
              <a:gd name="connsiteX12" fmla="*/ 0 w 3427984"/>
              <a:gd name="connsiteY12" fmla="*/ 2082800 h 2209800"/>
              <a:gd name="connsiteX13" fmla="*/ 0 w 3427984"/>
              <a:gd name="connsiteY13" fmla="*/ 1759522 h 2209800"/>
              <a:gd name="connsiteX14" fmla="*/ 102171 w 3427984"/>
              <a:gd name="connsiteY14" fmla="*/ 1657350 h 2209800"/>
              <a:gd name="connsiteX15" fmla="*/ 204279 w 3427984"/>
              <a:gd name="connsiteY15" fmla="*/ 1555687 h 2209800"/>
              <a:gd name="connsiteX16" fmla="*/ 208534 w 3427984"/>
              <a:gd name="connsiteY16" fmla="*/ 657225 h 2209800"/>
              <a:gd name="connsiteX17" fmla="*/ 104267 w 3427984"/>
              <a:gd name="connsiteY17" fmla="*/ 552450 h 2209800"/>
              <a:gd name="connsiteX18" fmla="*/ 0 w 3427984"/>
              <a:gd name="connsiteY18" fmla="*/ 448183 h 2209800"/>
              <a:gd name="connsiteX19" fmla="*/ 0 w 3427984"/>
              <a:gd name="connsiteY19" fmla="*/ 127000 h 2209800"/>
              <a:gd name="connsiteX20" fmla="*/ 127000 w 3427984"/>
              <a:gd name="connsiteY20"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27984" h="2209800">
                <a:moveTo>
                  <a:pt x="127000" y="0"/>
                </a:moveTo>
                <a:lnTo>
                  <a:pt x="3300984" y="0"/>
                </a:lnTo>
                <a:cubicBezTo>
                  <a:pt x="3371152" y="0"/>
                  <a:pt x="3427984" y="56833"/>
                  <a:pt x="3427984" y="127000"/>
                </a:cubicBezTo>
                <a:lnTo>
                  <a:pt x="3427984" y="447929"/>
                </a:lnTo>
                <a:cubicBezTo>
                  <a:pt x="3427984" y="505651"/>
                  <a:pt x="3381184" y="552450"/>
                  <a:pt x="3323463" y="552450"/>
                </a:cubicBezTo>
                <a:cubicBezTo>
                  <a:pt x="3265741" y="552450"/>
                  <a:pt x="3218942" y="599250"/>
                  <a:pt x="3218942" y="656971"/>
                </a:cubicBezTo>
                <a:lnTo>
                  <a:pt x="3218942" y="1555623"/>
                </a:lnTo>
                <a:cubicBezTo>
                  <a:pt x="3218942" y="1613091"/>
                  <a:pt x="3265932" y="1659509"/>
                  <a:pt x="3323463" y="1658747"/>
                </a:cubicBezTo>
                <a:cubicBezTo>
                  <a:pt x="3380931" y="1657985"/>
                  <a:pt x="3427984" y="1704403"/>
                  <a:pt x="3427984" y="1761871"/>
                </a:cubicBezTo>
                <a:lnTo>
                  <a:pt x="3427984" y="2082800"/>
                </a:lnTo>
                <a:cubicBezTo>
                  <a:pt x="3427984" y="2152968"/>
                  <a:pt x="3371152" y="2209800"/>
                  <a:pt x="3300984" y="2209800"/>
                </a:cubicBezTo>
                <a:lnTo>
                  <a:pt x="127000" y="2209800"/>
                </a:lnTo>
                <a:cubicBezTo>
                  <a:pt x="56832" y="2209800"/>
                  <a:pt x="0" y="2152968"/>
                  <a:pt x="0" y="2082800"/>
                </a:cubicBezTo>
                <a:lnTo>
                  <a:pt x="0" y="1759522"/>
                </a:lnTo>
                <a:cubicBezTo>
                  <a:pt x="0" y="1703134"/>
                  <a:pt x="45720" y="1657350"/>
                  <a:pt x="102171" y="1657350"/>
                </a:cubicBezTo>
                <a:cubicBezTo>
                  <a:pt x="158623" y="1657350"/>
                  <a:pt x="204026" y="1611884"/>
                  <a:pt x="204279" y="1555687"/>
                </a:cubicBezTo>
                <a:lnTo>
                  <a:pt x="208534" y="657225"/>
                </a:lnTo>
                <a:cubicBezTo>
                  <a:pt x="208788" y="599440"/>
                  <a:pt x="162052" y="552450"/>
                  <a:pt x="104267" y="552450"/>
                </a:cubicBezTo>
                <a:cubicBezTo>
                  <a:pt x="46482" y="552450"/>
                  <a:pt x="0" y="505778"/>
                  <a:pt x="0" y="448183"/>
                </a:cubicBezTo>
                <a:lnTo>
                  <a:pt x="0" y="127000"/>
                </a:lnTo>
                <a:cubicBezTo>
                  <a:pt x="0" y="56833"/>
                  <a:pt x="56832"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7" name="Tijdelijke aanduiding voor afbeelding 36">
            <a:extLst>
              <a:ext uri="{FF2B5EF4-FFF2-40B4-BE49-F238E27FC236}">
                <a16:creationId xmlns:a16="http://schemas.microsoft.com/office/drawing/2014/main" id="{03D08C6C-B322-468B-5AF7-4D4A71155478}"/>
              </a:ext>
            </a:extLst>
          </p:cNvPr>
          <p:cNvSpPr>
            <a:spLocks noGrp="1" noRot="1" noMove="1" noResize="1" noEditPoints="1" noAdjustHandles="1" noChangeArrowheads="1" noChangeShapeType="1"/>
          </p:cNvSpPr>
          <p:nvPr>
            <p:ph type="pic" sz="quarter" idx="28" hasCustomPrompt="1"/>
          </p:nvPr>
        </p:nvSpPr>
        <p:spPr>
          <a:xfrm>
            <a:off x="0" y="4597336"/>
            <a:ext cx="1000188" cy="2209800"/>
          </a:xfrm>
          <a:custGeom>
            <a:avLst/>
            <a:gdLst>
              <a:gd name="connsiteX0" fmla="*/ 0 w 1000188"/>
              <a:gd name="connsiteY0" fmla="*/ 0 h 2209800"/>
              <a:gd name="connsiteX1" fmla="*/ 670878 w 1000188"/>
              <a:gd name="connsiteY1" fmla="*/ 0 h 2209800"/>
              <a:gd name="connsiteX2" fmla="*/ 797878 w 1000188"/>
              <a:gd name="connsiteY2" fmla="*/ 127000 h 2209800"/>
              <a:gd name="connsiteX3" fmla="*/ 797878 w 1000188"/>
              <a:gd name="connsiteY3" fmla="*/ 514286 h 2209800"/>
              <a:gd name="connsiteX4" fmla="*/ 899033 w 1000188"/>
              <a:gd name="connsiteY4" fmla="*/ 615442 h 2209800"/>
              <a:gd name="connsiteX5" fmla="*/ 1000188 w 1000188"/>
              <a:gd name="connsiteY5" fmla="*/ 716598 h 2209800"/>
              <a:gd name="connsiteX6" fmla="*/ 1000188 w 1000188"/>
              <a:gd name="connsiteY6" fmla="*/ 1496060 h 2209800"/>
              <a:gd name="connsiteX7" fmla="*/ 899033 w 1000188"/>
              <a:gd name="connsiteY7" fmla="*/ 1595819 h 2209800"/>
              <a:gd name="connsiteX8" fmla="*/ 797878 w 1000188"/>
              <a:gd name="connsiteY8" fmla="*/ 1695577 h 2209800"/>
              <a:gd name="connsiteX9" fmla="*/ 797878 w 1000188"/>
              <a:gd name="connsiteY9" fmla="*/ 2082800 h 2209800"/>
              <a:gd name="connsiteX10" fmla="*/ 670878 w 1000188"/>
              <a:gd name="connsiteY10" fmla="*/ 2209800 h 2209800"/>
              <a:gd name="connsiteX11" fmla="*/ 0 w 1000188"/>
              <a:gd name="connsiteY11" fmla="*/ 22098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188" h="2209800">
                <a:moveTo>
                  <a:pt x="0" y="0"/>
                </a:moveTo>
                <a:lnTo>
                  <a:pt x="670878" y="0"/>
                </a:lnTo>
                <a:cubicBezTo>
                  <a:pt x="741045" y="0"/>
                  <a:pt x="797878" y="56833"/>
                  <a:pt x="797878" y="127000"/>
                </a:cubicBezTo>
                <a:lnTo>
                  <a:pt x="797878" y="514286"/>
                </a:lnTo>
                <a:cubicBezTo>
                  <a:pt x="797878" y="570167"/>
                  <a:pt x="843153" y="615442"/>
                  <a:pt x="899033" y="615442"/>
                </a:cubicBezTo>
                <a:cubicBezTo>
                  <a:pt x="954913" y="615442"/>
                  <a:pt x="1000188" y="660717"/>
                  <a:pt x="1000188" y="716598"/>
                </a:cubicBezTo>
                <a:lnTo>
                  <a:pt x="1000188" y="1496060"/>
                </a:lnTo>
                <a:cubicBezTo>
                  <a:pt x="1000188" y="1551686"/>
                  <a:pt x="954659" y="1596581"/>
                  <a:pt x="899033" y="1595819"/>
                </a:cubicBezTo>
                <a:cubicBezTo>
                  <a:pt x="843407" y="1595057"/>
                  <a:pt x="797878" y="1639951"/>
                  <a:pt x="797878" y="1695577"/>
                </a:cubicBezTo>
                <a:lnTo>
                  <a:pt x="797878" y="2082800"/>
                </a:lnTo>
                <a:cubicBezTo>
                  <a:pt x="797878" y="2152968"/>
                  <a:pt x="741045" y="2209800"/>
                  <a:pt x="670878" y="2209800"/>
                </a:cubicBezTo>
                <a:lnTo>
                  <a:pt x="0" y="2209800"/>
                </a:ln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
        <p:nvSpPr>
          <p:cNvPr id="35" name="Tijdelijke aanduiding voor afbeelding 34">
            <a:extLst>
              <a:ext uri="{FF2B5EF4-FFF2-40B4-BE49-F238E27FC236}">
                <a16:creationId xmlns:a16="http://schemas.microsoft.com/office/drawing/2014/main" id="{2639BFEE-DF92-CC45-DA6A-AA56F4DC6A8B}"/>
              </a:ext>
            </a:extLst>
          </p:cNvPr>
          <p:cNvSpPr>
            <a:spLocks noGrp="1" noRot="1" noMove="1" noResize="1" noEditPoints="1" noAdjustHandles="1" noChangeArrowheads="1" noChangeShapeType="1"/>
          </p:cNvSpPr>
          <p:nvPr>
            <p:ph type="pic" sz="quarter" idx="27"/>
          </p:nvPr>
        </p:nvSpPr>
        <p:spPr>
          <a:xfrm>
            <a:off x="10263567" y="2324100"/>
            <a:ext cx="1928496" cy="2209800"/>
          </a:xfrm>
          <a:custGeom>
            <a:avLst/>
            <a:gdLst>
              <a:gd name="connsiteX0" fmla="*/ 333821 w 1928496"/>
              <a:gd name="connsiteY0" fmla="*/ 0 h 2209800"/>
              <a:gd name="connsiteX1" fmla="*/ 1928433 w 1928496"/>
              <a:gd name="connsiteY1" fmla="*/ 0 h 2209800"/>
              <a:gd name="connsiteX2" fmla="*/ 1928496 w 1928496"/>
              <a:gd name="connsiteY2" fmla="*/ 0 h 2209800"/>
              <a:gd name="connsiteX3" fmla="*/ 1928496 w 1928496"/>
              <a:gd name="connsiteY3" fmla="*/ 2209800 h 2209800"/>
              <a:gd name="connsiteX4" fmla="*/ 333884 w 1928496"/>
              <a:gd name="connsiteY4" fmla="*/ 2209800 h 2209800"/>
              <a:gd name="connsiteX5" fmla="*/ 206884 w 1928496"/>
              <a:gd name="connsiteY5" fmla="*/ 2082800 h 2209800"/>
              <a:gd name="connsiteX6" fmla="*/ 206884 w 1928496"/>
              <a:gd name="connsiteY6" fmla="*/ 1697800 h 2209800"/>
              <a:gd name="connsiteX7" fmla="*/ 103443 w 1928496"/>
              <a:gd name="connsiteY7" fmla="*/ 1594358 h 2209800"/>
              <a:gd name="connsiteX8" fmla="*/ 2 w 1928496"/>
              <a:gd name="connsiteY8" fmla="*/ 1490409 h 2209800"/>
              <a:gd name="connsiteX9" fmla="*/ 4001 w 1928496"/>
              <a:gd name="connsiteY9" fmla="*/ 716280 h 2209800"/>
              <a:gd name="connsiteX10" fmla="*/ 105411 w 1928496"/>
              <a:gd name="connsiteY10" fmla="*/ 615379 h 2209800"/>
              <a:gd name="connsiteX11" fmla="*/ 206821 w 1928496"/>
              <a:gd name="connsiteY11" fmla="*/ 513969 h 2209800"/>
              <a:gd name="connsiteX12" fmla="*/ 206821 w 1928496"/>
              <a:gd name="connsiteY12" fmla="*/ 127000 h 2209800"/>
              <a:gd name="connsiteX13" fmla="*/ 333821 w 1928496"/>
              <a:gd name="connsiteY13"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8496" h="2209800">
                <a:moveTo>
                  <a:pt x="333821" y="0"/>
                </a:moveTo>
                <a:lnTo>
                  <a:pt x="1928433" y="0"/>
                </a:lnTo>
                <a:lnTo>
                  <a:pt x="1928496" y="0"/>
                </a:lnTo>
                <a:lnTo>
                  <a:pt x="1928496" y="2209800"/>
                </a:lnTo>
                <a:lnTo>
                  <a:pt x="333884" y="2209800"/>
                </a:lnTo>
                <a:cubicBezTo>
                  <a:pt x="263717" y="2209800"/>
                  <a:pt x="206884" y="2152968"/>
                  <a:pt x="206884" y="2082800"/>
                </a:cubicBezTo>
                <a:lnTo>
                  <a:pt x="206884" y="1697800"/>
                </a:lnTo>
                <a:cubicBezTo>
                  <a:pt x="206884" y="1640650"/>
                  <a:pt x="160783" y="1594358"/>
                  <a:pt x="103443" y="1594358"/>
                </a:cubicBezTo>
                <a:cubicBezTo>
                  <a:pt x="46102" y="1594358"/>
                  <a:pt x="-316" y="1547749"/>
                  <a:pt x="2" y="1490409"/>
                </a:cubicBezTo>
                <a:lnTo>
                  <a:pt x="4001" y="716280"/>
                </a:lnTo>
                <a:cubicBezTo>
                  <a:pt x="4319" y="660464"/>
                  <a:pt x="49404" y="615379"/>
                  <a:pt x="105411" y="615379"/>
                </a:cubicBezTo>
                <a:cubicBezTo>
                  <a:pt x="161418" y="615379"/>
                  <a:pt x="206821" y="569976"/>
                  <a:pt x="206821" y="513969"/>
                </a:cubicBezTo>
                <a:lnTo>
                  <a:pt x="206821" y="127000"/>
                </a:lnTo>
                <a:cubicBezTo>
                  <a:pt x="206821" y="56833"/>
                  <a:pt x="263653" y="0"/>
                  <a:pt x="333821"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30" name="Tijdelijke aanduiding voor afbeelding 29">
            <a:extLst>
              <a:ext uri="{FF2B5EF4-FFF2-40B4-BE49-F238E27FC236}">
                <a16:creationId xmlns:a16="http://schemas.microsoft.com/office/drawing/2014/main" id="{A0A4F14F-547D-4596-7962-820ACA250677}"/>
              </a:ext>
            </a:extLst>
          </p:cNvPr>
          <p:cNvSpPr>
            <a:spLocks noGrp="1" noRot="1" noMove="1" noResize="1" noEditPoints="1" noAdjustHandles="1" noChangeArrowheads="1" noChangeShapeType="1"/>
          </p:cNvSpPr>
          <p:nvPr>
            <p:ph type="pic" sz="quarter" idx="25"/>
          </p:nvPr>
        </p:nvSpPr>
        <p:spPr>
          <a:xfrm>
            <a:off x="3099305" y="2324100"/>
            <a:ext cx="3727008" cy="2209800"/>
          </a:xfrm>
          <a:custGeom>
            <a:avLst/>
            <a:gdLst>
              <a:gd name="connsiteX0" fmla="*/ 333885 w 3727008"/>
              <a:gd name="connsiteY0" fmla="*/ 0 h 2209800"/>
              <a:gd name="connsiteX1" fmla="*/ 3397697 w 3727008"/>
              <a:gd name="connsiteY1" fmla="*/ 0 h 2209800"/>
              <a:gd name="connsiteX2" fmla="*/ 3524697 w 3727008"/>
              <a:gd name="connsiteY2" fmla="*/ 127000 h 2209800"/>
              <a:gd name="connsiteX3" fmla="*/ 3524697 w 3727008"/>
              <a:gd name="connsiteY3" fmla="*/ 514286 h 2209800"/>
              <a:gd name="connsiteX4" fmla="*/ 3625852 w 3727008"/>
              <a:gd name="connsiteY4" fmla="*/ 615442 h 2209800"/>
              <a:gd name="connsiteX5" fmla="*/ 3727008 w 3727008"/>
              <a:gd name="connsiteY5" fmla="*/ 716598 h 2209800"/>
              <a:gd name="connsiteX6" fmla="*/ 3727008 w 3727008"/>
              <a:gd name="connsiteY6" fmla="*/ 1496060 h 2209800"/>
              <a:gd name="connsiteX7" fmla="*/ 3625852 w 3727008"/>
              <a:gd name="connsiteY7" fmla="*/ 1595819 h 2209800"/>
              <a:gd name="connsiteX8" fmla="*/ 3524697 w 3727008"/>
              <a:gd name="connsiteY8" fmla="*/ 1695577 h 2209800"/>
              <a:gd name="connsiteX9" fmla="*/ 3524697 w 3727008"/>
              <a:gd name="connsiteY9" fmla="*/ 2082800 h 2209800"/>
              <a:gd name="connsiteX10" fmla="*/ 3397697 w 3727008"/>
              <a:gd name="connsiteY10" fmla="*/ 2209800 h 2209800"/>
              <a:gd name="connsiteX11" fmla="*/ 333885 w 3727008"/>
              <a:gd name="connsiteY11" fmla="*/ 2209800 h 2209800"/>
              <a:gd name="connsiteX12" fmla="*/ 206885 w 3727008"/>
              <a:gd name="connsiteY12" fmla="*/ 2082800 h 2209800"/>
              <a:gd name="connsiteX13" fmla="*/ 206885 w 3727008"/>
              <a:gd name="connsiteY13" fmla="*/ 1697800 h 2209800"/>
              <a:gd name="connsiteX14" fmla="*/ 103444 w 3727008"/>
              <a:gd name="connsiteY14" fmla="*/ 1594358 h 2209800"/>
              <a:gd name="connsiteX15" fmla="*/ 2 w 3727008"/>
              <a:gd name="connsiteY15" fmla="*/ 1490409 h 2209800"/>
              <a:gd name="connsiteX16" fmla="*/ 4003 w 3727008"/>
              <a:gd name="connsiteY16" fmla="*/ 716280 h 2209800"/>
              <a:gd name="connsiteX17" fmla="*/ 105412 w 3727008"/>
              <a:gd name="connsiteY17" fmla="*/ 615379 h 2209800"/>
              <a:gd name="connsiteX18" fmla="*/ 206822 w 3727008"/>
              <a:gd name="connsiteY18" fmla="*/ 513969 h 2209800"/>
              <a:gd name="connsiteX19" fmla="*/ 206822 w 3727008"/>
              <a:gd name="connsiteY19" fmla="*/ 127000 h 2209800"/>
              <a:gd name="connsiteX20" fmla="*/ 206885 w 3727008"/>
              <a:gd name="connsiteY20" fmla="*/ 127000 h 2209800"/>
              <a:gd name="connsiteX21" fmla="*/ 333885 w 3727008"/>
              <a:gd name="connsiteY21"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008" h="2209800">
                <a:moveTo>
                  <a:pt x="333885" y="0"/>
                </a:moveTo>
                <a:lnTo>
                  <a:pt x="3397697" y="0"/>
                </a:lnTo>
                <a:cubicBezTo>
                  <a:pt x="3467864" y="0"/>
                  <a:pt x="3524697" y="56833"/>
                  <a:pt x="3524697" y="127000"/>
                </a:cubicBezTo>
                <a:lnTo>
                  <a:pt x="3524697" y="514286"/>
                </a:lnTo>
                <a:cubicBezTo>
                  <a:pt x="3524697" y="570167"/>
                  <a:pt x="3569972" y="615442"/>
                  <a:pt x="3625852" y="615442"/>
                </a:cubicBezTo>
                <a:cubicBezTo>
                  <a:pt x="3681732" y="615442"/>
                  <a:pt x="3727008" y="660717"/>
                  <a:pt x="3727008" y="716598"/>
                </a:cubicBezTo>
                <a:lnTo>
                  <a:pt x="3727008" y="1496060"/>
                </a:lnTo>
                <a:cubicBezTo>
                  <a:pt x="3727008" y="1551686"/>
                  <a:pt x="3681478" y="1596581"/>
                  <a:pt x="3625852" y="1595819"/>
                </a:cubicBezTo>
                <a:cubicBezTo>
                  <a:pt x="3570226" y="1595057"/>
                  <a:pt x="3524697" y="1639951"/>
                  <a:pt x="3524697" y="1695577"/>
                </a:cubicBezTo>
                <a:lnTo>
                  <a:pt x="3524697" y="2082800"/>
                </a:lnTo>
                <a:cubicBezTo>
                  <a:pt x="3524697" y="2152968"/>
                  <a:pt x="3467864" y="2209800"/>
                  <a:pt x="3397697" y="2209800"/>
                </a:cubicBezTo>
                <a:lnTo>
                  <a:pt x="333885" y="2209800"/>
                </a:lnTo>
                <a:cubicBezTo>
                  <a:pt x="263718" y="2209800"/>
                  <a:pt x="206885" y="2152968"/>
                  <a:pt x="206885" y="2082800"/>
                </a:cubicBezTo>
                <a:lnTo>
                  <a:pt x="206885" y="1697800"/>
                </a:lnTo>
                <a:cubicBezTo>
                  <a:pt x="206885" y="1640713"/>
                  <a:pt x="160594" y="1594358"/>
                  <a:pt x="103444" y="1594358"/>
                </a:cubicBezTo>
                <a:cubicBezTo>
                  <a:pt x="46294" y="1594358"/>
                  <a:pt x="-252" y="1547749"/>
                  <a:pt x="2" y="1490409"/>
                </a:cubicBezTo>
                <a:lnTo>
                  <a:pt x="4003" y="716280"/>
                </a:lnTo>
                <a:cubicBezTo>
                  <a:pt x="4320" y="660464"/>
                  <a:pt x="49596" y="615379"/>
                  <a:pt x="105412" y="615379"/>
                </a:cubicBezTo>
                <a:cubicBezTo>
                  <a:pt x="161228" y="615379"/>
                  <a:pt x="206822" y="569976"/>
                  <a:pt x="206822" y="513969"/>
                </a:cubicBezTo>
                <a:lnTo>
                  <a:pt x="206822" y="127000"/>
                </a:lnTo>
                <a:lnTo>
                  <a:pt x="206885" y="127000"/>
                </a:lnTo>
                <a:cubicBezTo>
                  <a:pt x="206885" y="56833"/>
                  <a:pt x="263718" y="0"/>
                  <a:pt x="333885"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8" name="Tijdelijke aanduiding voor afbeelding 27">
            <a:extLst>
              <a:ext uri="{FF2B5EF4-FFF2-40B4-BE49-F238E27FC236}">
                <a16:creationId xmlns:a16="http://schemas.microsoft.com/office/drawing/2014/main" id="{8FACCB6F-D3B5-8BFB-1797-2D70C31E645C}"/>
              </a:ext>
            </a:extLst>
          </p:cNvPr>
          <p:cNvSpPr>
            <a:spLocks noGrp="1" noRot="1" noMove="1" noResize="1" noEditPoints="1" noAdjustHandles="1" noChangeArrowheads="1" noChangeShapeType="1"/>
          </p:cNvSpPr>
          <p:nvPr>
            <p:ph type="pic" sz="quarter" idx="24"/>
          </p:nvPr>
        </p:nvSpPr>
        <p:spPr>
          <a:xfrm>
            <a:off x="0" y="2324100"/>
            <a:ext cx="3243834" cy="2209800"/>
          </a:xfrm>
          <a:custGeom>
            <a:avLst/>
            <a:gdLst>
              <a:gd name="connsiteX0" fmla="*/ 0 w 3243834"/>
              <a:gd name="connsiteY0" fmla="*/ 0 h 2209800"/>
              <a:gd name="connsiteX1" fmla="*/ 3116834 w 3243834"/>
              <a:gd name="connsiteY1" fmla="*/ 0 h 2209800"/>
              <a:gd name="connsiteX2" fmla="*/ 3243834 w 3243834"/>
              <a:gd name="connsiteY2" fmla="*/ 127000 h 2209800"/>
              <a:gd name="connsiteX3" fmla="*/ 3243834 w 3243834"/>
              <a:gd name="connsiteY3" fmla="*/ 447929 h 2209800"/>
              <a:gd name="connsiteX4" fmla="*/ 3139313 w 3243834"/>
              <a:gd name="connsiteY4" fmla="*/ 552450 h 2209800"/>
              <a:gd name="connsiteX5" fmla="*/ 3034792 w 3243834"/>
              <a:gd name="connsiteY5" fmla="*/ 656971 h 2209800"/>
              <a:gd name="connsiteX6" fmla="*/ 3034792 w 3243834"/>
              <a:gd name="connsiteY6" fmla="*/ 1555623 h 2209800"/>
              <a:gd name="connsiteX7" fmla="*/ 3139313 w 3243834"/>
              <a:gd name="connsiteY7" fmla="*/ 1658747 h 2209800"/>
              <a:gd name="connsiteX8" fmla="*/ 3243834 w 3243834"/>
              <a:gd name="connsiteY8" fmla="*/ 1761871 h 2209800"/>
              <a:gd name="connsiteX9" fmla="*/ 3243834 w 3243834"/>
              <a:gd name="connsiteY9" fmla="*/ 2082800 h 2209800"/>
              <a:gd name="connsiteX10" fmla="*/ 3116834 w 3243834"/>
              <a:gd name="connsiteY10" fmla="*/ 2209800 h 2209800"/>
              <a:gd name="connsiteX11" fmla="*/ 0 w 3243834"/>
              <a:gd name="connsiteY11" fmla="*/ 2209800 h 2209800"/>
              <a:gd name="connsiteX12" fmla="*/ 0 w 3243834"/>
              <a:gd name="connsiteY12" fmla="*/ 1615884 h 2209800"/>
              <a:gd name="connsiteX13" fmla="*/ 20130 w 3243834"/>
              <a:gd name="connsiteY13" fmla="*/ 1555687 h 2209800"/>
              <a:gd name="connsiteX14" fmla="*/ 24384 w 3243834"/>
              <a:gd name="connsiteY14" fmla="*/ 657225 h 2209800"/>
              <a:gd name="connsiteX15" fmla="*/ 0 w 3243834"/>
              <a:gd name="connsiteY15" fmla="*/ 589788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3834" h="2209800">
                <a:moveTo>
                  <a:pt x="0" y="0"/>
                </a:moveTo>
                <a:lnTo>
                  <a:pt x="3116834" y="0"/>
                </a:lnTo>
                <a:cubicBezTo>
                  <a:pt x="3187002" y="0"/>
                  <a:pt x="3243834" y="56833"/>
                  <a:pt x="3243834" y="127000"/>
                </a:cubicBezTo>
                <a:lnTo>
                  <a:pt x="3243834" y="447929"/>
                </a:lnTo>
                <a:cubicBezTo>
                  <a:pt x="3243834" y="505651"/>
                  <a:pt x="3197035" y="552450"/>
                  <a:pt x="3139313" y="552450"/>
                </a:cubicBezTo>
                <a:cubicBezTo>
                  <a:pt x="3081592" y="552450"/>
                  <a:pt x="3034792" y="599250"/>
                  <a:pt x="3034792" y="656971"/>
                </a:cubicBezTo>
                <a:lnTo>
                  <a:pt x="3034792" y="1555623"/>
                </a:lnTo>
                <a:cubicBezTo>
                  <a:pt x="3034792" y="1613091"/>
                  <a:pt x="3081846" y="1659509"/>
                  <a:pt x="3139313" y="1658747"/>
                </a:cubicBezTo>
                <a:cubicBezTo>
                  <a:pt x="3196844" y="1657985"/>
                  <a:pt x="3243834" y="1704403"/>
                  <a:pt x="3243834" y="1761871"/>
                </a:cubicBezTo>
                <a:lnTo>
                  <a:pt x="3243834" y="2082800"/>
                </a:lnTo>
                <a:cubicBezTo>
                  <a:pt x="3243834" y="2152968"/>
                  <a:pt x="3187002" y="2209800"/>
                  <a:pt x="3116834" y="2209800"/>
                </a:cubicBezTo>
                <a:lnTo>
                  <a:pt x="0" y="2209800"/>
                </a:lnTo>
                <a:lnTo>
                  <a:pt x="0" y="1615884"/>
                </a:lnTo>
                <a:cubicBezTo>
                  <a:pt x="12510" y="1599057"/>
                  <a:pt x="20003" y="1578292"/>
                  <a:pt x="20130" y="1555687"/>
                </a:cubicBezTo>
                <a:lnTo>
                  <a:pt x="24384" y="657225"/>
                </a:lnTo>
                <a:cubicBezTo>
                  <a:pt x="24511" y="631508"/>
                  <a:pt x="15304" y="608013"/>
                  <a:pt x="0" y="589788"/>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6" name="Tijdelijke aanduiding voor afbeelding 25">
            <a:extLst>
              <a:ext uri="{FF2B5EF4-FFF2-40B4-BE49-F238E27FC236}">
                <a16:creationId xmlns:a16="http://schemas.microsoft.com/office/drawing/2014/main" id="{1177B1B6-C399-77F5-605E-F84DBDE75865}"/>
              </a:ext>
            </a:extLst>
          </p:cNvPr>
          <p:cNvSpPr>
            <a:spLocks noGrp="1" noRot="1" noMove="1" noResize="1" noEditPoints="1" noAdjustHandles="1" noChangeArrowheads="1" noChangeShapeType="1"/>
          </p:cNvSpPr>
          <p:nvPr>
            <p:ph type="pic" sz="quarter" idx="23"/>
          </p:nvPr>
        </p:nvSpPr>
        <p:spPr>
          <a:xfrm>
            <a:off x="10261600" y="50801"/>
            <a:ext cx="1930464" cy="2209737"/>
          </a:xfrm>
          <a:custGeom>
            <a:avLst/>
            <a:gdLst>
              <a:gd name="connsiteX0" fmla="*/ 127000 w 1930464"/>
              <a:gd name="connsiteY0" fmla="*/ 0 h 2209737"/>
              <a:gd name="connsiteX1" fmla="*/ 1930400 w 1930464"/>
              <a:gd name="connsiteY1" fmla="*/ 0 h 2209737"/>
              <a:gd name="connsiteX2" fmla="*/ 1930464 w 1930464"/>
              <a:gd name="connsiteY2" fmla="*/ 0 h 2209737"/>
              <a:gd name="connsiteX3" fmla="*/ 1930464 w 1930464"/>
              <a:gd name="connsiteY3" fmla="*/ 2209737 h 2209737"/>
              <a:gd name="connsiteX4" fmla="*/ 127064 w 1930464"/>
              <a:gd name="connsiteY4" fmla="*/ 2209737 h 2209737"/>
              <a:gd name="connsiteX5" fmla="*/ 64 w 1930464"/>
              <a:gd name="connsiteY5" fmla="*/ 2082737 h 2209737"/>
              <a:gd name="connsiteX6" fmla="*/ 64 w 1930464"/>
              <a:gd name="connsiteY6" fmla="*/ 1768348 h 2209737"/>
              <a:gd name="connsiteX7" fmla="*/ 111125 w 1930464"/>
              <a:gd name="connsiteY7" fmla="*/ 1657287 h 2209737"/>
              <a:gd name="connsiteX8" fmla="*/ 222186 w 1930464"/>
              <a:gd name="connsiteY8" fmla="*/ 1546797 h 2209737"/>
              <a:gd name="connsiteX9" fmla="*/ 226695 w 1930464"/>
              <a:gd name="connsiteY9" fmla="*/ 666369 h 2209737"/>
              <a:gd name="connsiteX10" fmla="*/ 113347 w 1930464"/>
              <a:gd name="connsiteY10" fmla="*/ 552450 h 2209737"/>
              <a:gd name="connsiteX11" fmla="*/ 0 w 1930464"/>
              <a:gd name="connsiteY11" fmla="*/ 439103 h 2209737"/>
              <a:gd name="connsiteX12" fmla="*/ 0 w 1930464"/>
              <a:gd name="connsiteY12" fmla="*/ 127000 h 2209737"/>
              <a:gd name="connsiteX13" fmla="*/ 127000 w 1930464"/>
              <a:gd name="connsiteY13" fmla="*/ 0 h 220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0464" h="2209737">
                <a:moveTo>
                  <a:pt x="127000" y="0"/>
                </a:moveTo>
                <a:lnTo>
                  <a:pt x="1930400" y="0"/>
                </a:lnTo>
                <a:lnTo>
                  <a:pt x="1930464" y="0"/>
                </a:lnTo>
                <a:lnTo>
                  <a:pt x="1930464" y="2209737"/>
                </a:lnTo>
                <a:lnTo>
                  <a:pt x="127064" y="2209737"/>
                </a:lnTo>
                <a:cubicBezTo>
                  <a:pt x="56896" y="2209737"/>
                  <a:pt x="64" y="2152904"/>
                  <a:pt x="64" y="2082737"/>
                </a:cubicBezTo>
                <a:lnTo>
                  <a:pt x="64" y="1768348"/>
                </a:lnTo>
                <a:cubicBezTo>
                  <a:pt x="64" y="1707007"/>
                  <a:pt x="50038" y="1657287"/>
                  <a:pt x="111125" y="1657287"/>
                </a:cubicBezTo>
                <a:cubicBezTo>
                  <a:pt x="172212" y="1657287"/>
                  <a:pt x="221869" y="1607947"/>
                  <a:pt x="222186" y="1546797"/>
                </a:cubicBezTo>
                <a:lnTo>
                  <a:pt x="226695" y="666369"/>
                </a:lnTo>
                <a:cubicBezTo>
                  <a:pt x="227013" y="603568"/>
                  <a:pt x="175958" y="552450"/>
                  <a:pt x="113347" y="552450"/>
                </a:cubicBezTo>
                <a:cubicBezTo>
                  <a:pt x="50736" y="552450"/>
                  <a:pt x="0" y="501714"/>
                  <a:pt x="0" y="439103"/>
                </a:cubicBezTo>
                <a:lnTo>
                  <a:pt x="0" y="127000"/>
                </a:lnTo>
                <a:cubicBezTo>
                  <a:pt x="0" y="56833"/>
                  <a:pt x="56832"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4" name="Tijdelijke aanduiding voor afbeelding 23">
            <a:extLst>
              <a:ext uri="{FF2B5EF4-FFF2-40B4-BE49-F238E27FC236}">
                <a16:creationId xmlns:a16="http://schemas.microsoft.com/office/drawing/2014/main" id="{DB62F765-D64D-B15E-DC7E-3648B6E61759}"/>
              </a:ext>
            </a:extLst>
          </p:cNvPr>
          <p:cNvSpPr>
            <a:spLocks noGrp="1" noRot="1" noMove="1" noResize="1" noEditPoints="1" noAdjustHandles="1" noChangeArrowheads="1" noChangeShapeType="1"/>
          </p:cNvSpPr>
          <p:nvPr>
            <p:ph type="pic" sz="quarter" idx="22"/>
          </p:nvPr>
        </p:nvSpPr>
        <p:spPr>
          <a:xfrm>
            <a:off x="6674355" y="50800"/>
            <a:ext cx="3727008" cy="2209800"/>
          </a:xfrm>
          <a:custGeom>
            <a:avLst/>
            <a:gdLst>
              <a:gd name="connsiteX0" fmla="*/ 333886 w 3727008"/>
              <a:gd name="connsiteY0" fmla="*/ 0 h 2209800"/>
              <a:gd name="connsiteX1" fmla="*/ 3397697 w 3727008"/>
              <a:gd name="connsiteY1" fmla="*/ 0 h 2209800"/>
              <a:gd name="connsiteX2" fmla="*/ 3524697 w 3727008"/>
              <a:gd name="connsiteY2" fmla="*/ 127000 h 2209800"/>
              <a:gd name="connsiteX3" fmla="*/ 3524697 w 3727008"/>
              <a:gd name="connsiteY3" fmla="*/ 514287 h 2209800"/>
              <a:gd name="connsiteX4" fmla="*/ 3625852 w 3727008"/>
              <a:gd name="connsiteY4" fmla="*/ 615442 h 2209800"/>
              <a:gd name="connsiteX5" fmla="*/ 3727008 w 3727008"/>
              <a:gd name="connsiteY5" fmla="*/ 716598 h 2209800"/>
              <a:gd name="connsiteX6" fmla="*/ 3727008 w 3727008"/>
              <a:gd name="connsiteY6" fmla="*/ 1496060 h 2209800"/>
              <a:gd name="connsiteX7" fmla="*/ 3625852 w 3727008"/>
              <a:gd name="connsiteY7" fmla="*/ 1595819 h 2209800"/>
              <a:gd name="connsiteX8" fmla="*/ 3524697 w 3727008"/>
              <a:gd name="connsiteY8" fmla="*/ 1695577 h 2209800"/>
              <a:gd name="connsiteX9" fmla="*/ 3524697 w 3727008"/>
              <a:gd name="connsiteY9" fmla="*/ 2082800 h 2209800"/>
              <a:gd name="connsiteX10" fmla="*/ 3397697 w 3727008"/>
              <a:gd name="connsiteY10" fmla="*/ 2209800 h 2209800"/>
              <a:gd name="connsiteX11" fmla="*/ 333886 w 3727008"/>
              <a:gd name="connsiteY11" fmla="*/ 2209800 h 2209800"/>
              <a:gd name="connsiteX12" fmla="*/ 206886 w 3727008"/>
              <a:gd name="connsiteY12" fmla="*/ 2082800 h 2209800"/>
              <a:gd name="connsiteX13" fmla="*/ 206886 w 3727008"/>
              <a:gd name="connsiteY13" fmla="*/ 1697800 h 2209800"/>
              <a:gd name="connsiteX14" fmla="*/ 103444 w 3727008"/>
              <a:gd name="connsiteY14" fmla="*/ 1594358 h 2209800"/>
              <a:gd name="connsiteX15" fmla="*/ 2 w 3727008"/>
              <a:gd name="connsiteY15" fmla="*/ 1490409 h 2209800"/>
              <a:gd name="connsiteX16" fmla="*/ 4003 w 3727008"/>
              <a:gd name="connsiteY16" fmla="*/ 716280 h 2209800"/>
              <a:gd name="connsiteX17" fmla="*/ 105413 w 3727008"/>
              <a:gd name="connsiteY17" fmla="*/ 615379 h 2209800"/>
              <a:gd name="connsiteX18" fmla="*/ 206822 w 3727008"/>
              <a:gd name="connsiteY18" fmla="*/ 513969 h 2209800"/>
              <a:gd name="connsiteX19" fmla="*/ 206822 w 3727008"/>
              <a:gd name="connsiteY19" fmla="*/ 127000 h 2209800"/>
              <a:gd name="connsiteX20" fmla="*/ 206886 w 3727008"/>
              <a:gd name="connsiteY20" fmla="*/ 127000 h 2209800"/>
              <a:gd name="connsiteX21" fmla="*/ 333886 w 3727008"/>
              <a:gd name="connsiteY21"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7008" h="2209800">
                <a:moveTo>
                  <a:pt x="333886" y="0"/>
                </a:moveTo>
                <a:lnTo>
                  <a:pt x="3397697" y="0"/>
                </a:lnTo>
                <a:cubicBezTo>
                  <a:pt x="3467864" y="0"/>
                  <a:pt x="3524697" y="56833"/>
                  <a:pt x="3524697" y="127000"/>
                </a:cubicBezTo>
                <a:lnTo>
                  <a:pt x="3524697" y="514287"/>
                </a:lnTo>
                <a:cubicBezTo>
                  <a:pt x="3524697" y="570167"/>
                  <a:pt x="3569973" y="615442"/>
                  <a:pt x="3625852" y="615442"/>
                </a:cubicBezTo>
                <a:cubicBezTo>
                  <a:pt x="3681732" y="615442"/>
                  <a:pt x="3727008" y="660718"/>
                  <a:pt x="3727008" y="716598"/>
                </a:cubicBezTo>
                <a:lnTo>
                  <a:pt x="3727008" y="1496060"/>
                </a:lnTo>
                <a:cubicBezTo>
                  <a:pt x="3727008" y="1551686"/>
                  <a:pt x="3681478" y="1596581"/>
                  <a:pt x="3625852" y="1595819"/>
                </a:cubicBezTo>
                <a:cubicBezTo>
                  <a:pt x="3570226" y="1595057"/>
                  <a:pt x="3524697" y="1639951"/>
                  <a:pt x="3524697" y="1695577"/>
                </a:cubicBezTo>
                <a:lnTo>
                  <a:pt x="3524697" y="2082800"/>
                </a:lnTo>
                <a:cubicBezTo>
                  <a:pt x="3524697" y="2152968"/>
                  <a:pt x="3467864" y="2209800"/>
                  <a:pt x="3397697" y="2209800"/>
                </a:cubicBezTo>
                <a:lnTo>
                  <a:pt x="333886" y="2209800"/>
                </a:lnTo>
                <a:cubicBezTo>
                  <a:pt x="263718" y="2209800"/>
                  <a:pt x="206886" y="2152968"/>
                  <a:pt x="206886" y="2082800"/>
                </a:cubicBezTo>
                <a:lnTo>
                  <a:pt x="206886" y="1697800"/>
                </a:lnTo>
                <a:cubicBezTo>
                  <a:pt x="206886" y="1640713"/>
                  <a:pt x="160594" y="1594358"/>
                  <a:pt x="103444" y="1594358"/>
                </a:cubicBezTo>
                <a:cubicBezTo>
                  <a:pt x="46294" y="1594358"/>
                  <a:pt x="-251" y="1547749"/>
                  <a:pt x="2" y="1490409"/>
                </a:cubicBezTo>
                <a:lnTo>
                  <a:pt x="4003" y="716280"/>
                </a:lnTo>
                <a:cubicBezTo>
                  <a:pt x="4320" y="660464"/>
                  <a:pt x="49596" y="615379"/>
                  <a:pt x="105413" y="615379"/>
                </a:cubicBezTo>
                <a:cubicBezTo>
                  <a:pt x="161229" y="615379"/>
                  <a:pt x="206822" y="569976"/>
                  <a:pt x="206822" y="513969"/>
                </a:cubicBezTo>
                <a:lnTo>
                  <a:pt x="206822" y="127000"/>
                </a:lnTo>
                <a:lnTo>
                  <a:pt x="206886" y="127000"/>
                </a:lnTo>
                <a:cubicBezTo>
                  <a:pt x="206886" y="56833"/>
                  <a:pt x="263718" y="0"/>
                  <a:pt x="333886"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2" name="Tijdelijke aanduiding voor afbeelding 21">
            <a:extLst>
              <a:ext uri="{FF2B5EF4-FFF2-40B4-BE49-F238E27FC236}">
                <a16:creationId xmlns:a16="http://schemas.microsoft.com/office/drawing/2014/main" id="{7A803D5B-C447-052D-C79E-D30A5991F10A}"/>
              </a:ext>
            </a:extLst>
          </p:cNvPr>
          <p:cNvSpPr>
            <a:spLocks noGrp="1" noRot="1" noMove="1" noResize="1" noEditPoints="1" noAdjustHandles="1" noChangeArrowheads="1" noChangeShapeType="1"/>
          </p:cNvSpPr>
          <p:nvPr>
            <p:ph type="pic" sz="quarter" idx="21"/>
          </p:nvPr>
        </p:nvSpPr>
        <p:spPr>
          <a:xfrm>
            <a:off x="3390900" y="50800"/>
            <a:ext cx="3427984" cy="2209800"/>
          </a:xfrm>
          <a:custGeom>
            <a:avLst/>
            <a:gdLst>
              <a:gd name="connsiteX0" fmla="*/ 127000 w 3427984"/>
              <a:gd name="connsiteY0" fmla="*/ 0 h 2209800"/>
              <a:gd name="connsiteX1" fmla="*/ 3300984 w 3427984"/>
              <a:gd name="connsiteY1" fmla="*/ 0 h 2209800"/>
              <a:gd name="connsiteX2" fmla="*/ 3427984 w 3427984"/>
              <a:gd name="connsiteY2" fmla="*/ 127000 h 2209800"/>
              <a:gd name="connsiteX3" fmla="*/ 3427984 w 3427984"/>
              <a:gd name="connsiteY3" fmla="*/ 447929 h 2209800"/>
              <a:gd name="connsiteX4" fmla="*/ 3323463 w 3427984"/>
              <a:gd name="connsiteY4" fmla="*/ 552450 h 2209800"/>
              <a:gd name="connsiteX5" fmla="*/ 3218942 w 3427984"/>
              <a:gd name="connsiteY5" fmla="*/ 656971 h 2209800"/>
              <a:gd name="connsiteX6" fmla="*/ 3218942 w 3427984"/>
              <a:gd name="connsiteY6" fmla="*/ 1555623 h 2209800"/>
              <a:gd name="connsiteX7" fmla="*/ 3323463 w 3427984"/>
              <a:gd name="connsiteY7" fmla="*/ 1658747 h 2209800"/>
              <a:gd name="connsiteX8" fmla="*/ 3427984 w 3427984"/>
              <a:gd name="connsiteY8" fmla="*/ 1761871 h 2209800"/>
              <a:gd name="connsiteX9" fmla="*/ 3427984 w 3427984"/>
              <a:gd name="connsiteY9" fmla="*/ 2082800 h 2209800"/>
              <a:gd name="connsiteX10" fmla="*/ 3300984 w 3427984"/>
              <a:gd name="connsiteY10" fmla="*/ 2209800 h 2209800"/>
              <a:gd name="connsiteX11" fmla="*/ 127000 w 3427984"/>
              <a:gd name="connsiteY11" fmla="*/ 2209800 h 2209800"/>
              <a:gd name="connsiteX12" fmla="*/ 0 w 3427984"/>
              <a:gd name="connsiteY12" fmla="*/ 2082800 h 2209800"/>
              <a:gd name="connsiteX13" fmla="*/ 0 w 3427984"/>
              <a:gd name="connsiteY13" fmla="*/ 1759522 h 2209800"/>
              <a:gd name="connsiteX14" fmla="*/ 102172 w 3427984"/>
              <a:gd name="connsiteY14" fmla="*/ 1657350 h 2209800"/>
              <a:gd name="connsiteX15" fmla="*/ 204279 w 3427984"/>
              <a:gd name="connsiteY15" fmla="*/ 1555687 h 2209800"/>
              <a:gd name="connsiteX16" fmla="*/ 208534 w 3427984"/>
              <a:gd name="connsiteY16" fmla="*/ 657225 h 2209800"/>
              <a:gd name="connsiteX17" fmla="*/ 104267 w 3427984"/>
              <a:gd name="connsiteY17" fmla="*/ 552450 h 2209800"/>
              <a:gd name="connsiteX18" fmla="*/ 0 w 3427984"/>
              <a:gd name="connsiteY18" fmla="*/ 448183 h 2209800"/>
              <a:gd name="connsiteX19" fmla="*/ 0 w 3427984"/>
              <a:gd name="connsiteY19" fmla="*/ 127000 h 2209800"/>
              <a:gd name="connsiteX20" fmla="*/ 127000 w 3427984"/>
              <a:gd name="connsiteY20"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27984" h="2209800">
                <a:moveTo>
                  <a:pt x="127000" y="0"/>
                </a:moveTo>
                <a:lnTo>
                  <a:pt x="3300984" y="0"/>
                </a:lnTo>
                <a:cubicBezTo>
                  <a:pt x="3371152" y="0"/>
                  <a:pt x="3427984" y="56833"/>
                  <a:pt x="3427984" y="127000"/>
                </a:cubicBezTo>
                <a:lnTo>
                  <a:pt x="3427984" y="447929"/>
                </a:lnTo>
                <a:cubicBezTo>
                  <a:pt x="3427984" y="505650"/>
                  <a:pt x="3381184" y="552450"/>
                  <a:pt x="3323463" y="552450"/>
                </a:cubicBezTo>
                <a:cubicBezTo>
                  <a:pt x="3265742" y="552450"/>
                  <a:pt x="3218942" y="599250"/>
                  <a:pt x="3218942" y="656971"/>
                </a:cubicBezTo>
                <a:lnTo>
                  <a:pt x="3218942" y="1555623"/>
                </a:lnTo>
                <a:cubicBezTo>
                  <a:pt x="3218942" y="1613091"/>
                  <a:pt x="3265932" y="1659509"/>
                  <a:pt x="3323463" y="1658747"/>
                </a:cubicBezTo>
                <a:cubicBezTo>
                  <a:pt x="3380994" y="1657985"/>
                  <a:pt x="3427984" y="1704404"/>
                  <a:pt x="3427984" y="1761871"/>
                </a:cubicBezTo>
                <a:lnTo>
                  <a:pt x="3427984" y="2082800"/>
                </a:lnTo>
                <a:cubicBezTo>
                  <a:pt x="3427984" y="2152968"/>
                  <a:pt x="3371152" y="2209800"/>
                  <a:pt x="3300984" y="2209800"/>
                </a:cubicBezTo>
                <a:lnTo>
                  <a:pt x="127000" y="2209800"/>
                </a:lnTo>
                <a:cubicBezTo>
                  <a:pt x="56833" y="2209800"/>
                  <a:pt x="0" y="2152968"/>
                  <a:pt x="0" y="2082800"/>
                </a:cubicBezTo>
                <a:lnTo>
                  <a:pt x="0" y="1759522"/>
                </a:lnTo>
                <a:cubicBezTo>
                  <a:pt x="0" y="1703134"/>
                  <a:pt x="45720" y="1657350"/>
                  <a:pt x="102172" y="1657350"/>
                </a:cubicBezTo>
                <a:cubicBezTo>
                  <a:pt x="158623" y="1657350"/>
                  <a:pt x="204026" y="1611884"/>
                  <a:pt x="204279" y="1555687"/>
                </a:cubicBezTo>
                <a:lnTo>
                  <a:pt x="208534" y="657225"/>
                </a:lnTo>
                <a:cubicBezTo>
                  <a:pt x="208788" y="599440"/>
                  <a:pt x="162052" y="552450"/>
                  <a:pt x="104267" y="552450"/>
                </a:cubicBezTo>
                <a:cubicBezTo>
                  <a:pt x="46482" y="552450"/>
                  <a:pt x="0" y="505778"/>
                  <a:pt x="0" y="448183"/>
                </a:cubicBezTo>
                <a:lnTo>
                  <a:pt x="0" y="127000"/>
                </a:lnTo>
                <a:cubicBezTo>
                  <a:pt x="0" y="56833"/>
                  <a:pt x="56833"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20" name="Tijdelijke aanduiding voor afbeelding 19">
            <a:extLst>
              <a:ext uri="{FF2B5EF4-FFF2-40B4-BE49-F238E27FC236}">
                <a16:creationId xmlns:a16="http://schemas.microsoft.com/office/drawing/2014/main" id="{404B92F4-3A99-9BF8-C1D8-8983A1D524C1}"/>
              </a:ext>
            </a:extLst>
          </p:cNvPr>
          <p:cNvSpPr>
            <a:spLocks noGrp="1"/>
          </p:cNvSpPr>
          <p:nvPr>
            <p:ph type="pic" sz="quarter" idx="16"/>
          </p:nvPr>
        </p:nvSpPr>
        <p:spPr>
          <a:xfrm>
            <a:off x="1" y="50800"/>
            <a:ext cx="3534601" cy="2209800"/>
          </a:xfrm>
          <a:custGeom>
            <a:avLst/>
            <a:gdLst>
              <a:gd name="connsiteX0" fmla="*/ 1865249 w 3534601"/>
              <a:gd name="connsiteY0" fmla="*/ 0 h 2209800"/>
              <a:gd name="connsiteX1" fmla="*/ 3198495 w 3534601"/>
              <a:gd name="connsiteY1" fmla="*/ 0 h 2209800"/>
              <a:gd name="connsiteX2" fmla="*/ 3325495 w 3534601"/>
              <a:gd name="connsiteY2" fmla="*/ 127000 h 2209800"/>
              <a:gd name="connsiteX3" fmla="*/ 3325495 w 3534601"/>
              <a:gd name="connsiteY3" fmla="*/ 447929 h 2209800"/>
              <a:gd name="connsiteX4" fmla="*/ 3430016 w 3534601"/>
              <a:gd name="connsiteY4" fmla="*/ 552450 h 2209800"/>
              <a:gd name="connsiteX5" fmla="*/ 3430080 w 3534601"/>
              <a:gd name="connsiteY5" fmla="*/ 552450 h 2209800"/>
              <a:gd name="connsiteX6" fmla="*/ 3534601 w 3534601"/>
              <a:gd name="connsiteY6" fmla="*/ 656971 h 2209800"/>
              <a:gd name="connsiteX7" fmla="*/ 3534601 w 3534601"/>
              <a:gd name="connsiteY7" fmla="*/ 1555623 h 2209800"/>
              <a:gd name="connsiteX8" fmla="*/ 3430080 w 3534601"/>
              <a:gd name="connsiteY8" fmla="*/ 1658747 h 2209800"/>
              <a:gd name="connsiteX9" fmla="*/ 3325559 w 3534601"/>
              <a:gd name="connsiteY9" fmla="*/ 1761871 h 2209800"/>
              <a:gd name="connsiteX10" fmla="*/ 3325559 w 3534601"/>
              <a:gd name="connsiteY10" fmla="*/ 2082800 h 2209800"/>
              <a:gd name="connsiteX11" fmla="*/ 3198559 w 3534601"/>
              <a:gd name="connsiteY11" fmla="*/ 2209800 h 2209800"/>
              <a:gd name="connsiteX12" fmla="*/ 23813 w 3534601"/>
              <a:gd name="connsiteY12" fmla="*/ 2209800 h 2209800"/>
              <a:gd name="connsiteX13" fmla="*/ 0 w 3534601"/>
              <a:gd name="connsiteY13" fmla="*/ 2207514 h 2209800"/>
              <a:gd name="connsiteX14" fmla="*/ 0 w 3534601"/>
              <a:gd name="connsiteY14" fmla="*/ 698500 h 2209800"/>
              <a:gd name="connsiteX15" fmla="*/ 1611249 w 3534601"/>
              <a:gd name="connsiteY15" fmla="*/ 698500 h 2209800"/>
              <a:gd name="connsiteX16" fmla="*/ 1738249 w 3534601"/>
              <a:gd name="connsiteY16" fmla="*/ 571500 h 2209800"/>
              <a:gd name="connsiteX17" fmla="*/ 1738249 w 3534601"/>
              <a:gd name="connsiteY17" fmla="*/ 127000 h 2209800"/>
              <a:gd name="connsiteX18" fmla="*/ 1865249 w 3534601"/>
              <a:gd name="connsiteY18"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34601" h="2209800">
                <a:moveTo>
                  <a:pt x="1865249" y="0"/>
                </a:moveTo>
                <a:lnTo>
                  <a:pt x="3198495" y="0"/>
                </a:lnTo>
                <a:cubicBezTo>
                  <a:pt x="3268663" y="0"/>
                  <a:pt x="3325495" y="56833"/>
                  <a:pt x="3325495" y="127000"/>
                </a:cubicBezTo>
                <a:lnTo>
                  <a:pt x="3325495" y="447929"/>
                </a:lnTo>
                <a:cubicBezTo>
                  <a:pt x="3325495" y="505650"/>
                  <a:pt x="3372295" y="552450"/>
                  <a:pt x="3430016" y="552450"/>
                </a:cubicBezTo>
                <a:lnTo>
                  <a:pt x="3430080" y="552450"/>
                </a:lnTo>
                <a:cubicBezTo>
                  <a:pt x="3487801" y="552450"/>
                  <a:pt x="3534601" y="599250"/>
                  <a:pt x="3534601" y="656971"/>
                </a:cubicBezTo>
                <a:lnTo>
                  <a:pt x="3534601" y="1555623"/>
                </a:lnTo>
                <a:cubicBezTo>
                  <a:pt x="3534601" y="1613091"/>
                  <a:pt x="3487611" y="1659509"/>
                  <a:pt x="3430080" y="1658747"/>
                </a:cubicBezTo>
                <a:cubicBezTo>
                  <a:pt x="3372612" y="1657985"/>
                  <a:pt x="3325559" y="1704340"/>
                  <a:pt x="3325559" y="1761871"/>
                </a:cubicBezTo>
                <a:lnTo>
                  <a:pt x="3325559" y="2082800"/>
                </a:lnTo>
                <a:cubicBezTo>
                  <a:pt x="3325559" y="2152968"/>
                  <a:pt x="3268726" y="2209800"/>
                  <a:pt x="3198559" y="2209800"/>
                </a:cubicBezTo>
                <a:lnTo>
                  <a:pt x="23813" y="2209800"/>
                </a:lnTo>
                <a:cubicBezTo>
                  <a:pt x="15685" y="2209800"/>
                  <a:pt x="7747" y="2208975"/>
                  <a:pt x="0" y="2207514"/>
                </a:cubicBezTo>
                <a:lnTo>
                  <a:pt x="0" y="698500"/>
                </a:lnTo>
                <a:lnTo>
                  <a:pt x="1611249" y="698500"/>
                </a:lnTo>
                <a:cubicBezTo>
                  <a:pt x="1681417" y="698500"/>
                  <a:pt x="1738249" y="641668"/>
                  <a:pt x="1738249" y="571500"/>
                </a:cubicBezTo>
                <a:lnTo>
                  <a:pt x="1738249" y="127000"/>
                </a:lnTo>
                <a:cubicBezTo>
                  <a:pt x="1738249" y="56833"/>
                  <a:pt x="1795082" y="0"/>
                  <a:pt x="1865249"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48" name="Tijdelijke aanduiding voor afbeelding 47">
            <a:extLst>
              <a:ext uri="{FF2B5EF4-FFF2-40B4-BE49-F238E27FC236}">
                <a16:creationId xmlns:a16="http://schemas.microsoft.com/office/drawing/2014/main" id="{CED9B4A9-9D66-B925-082E-833A9A227AB6}"/>
              </a:ext>
            </a:extLst>
          </p:cNvPr>
          <p:cNvSpPr>
            <a:spLocks noGrp="1" noRot="1" noMove="1" noResize="1" noEditPoints="1" noAdjustHandles="1" noChangeArrowheads="1" noChangeShapeType="1"/>
          </p:cNvSpPr>
          <p:nvPr>
            <p:ph type="pic" sz="quarter" idx="20" hasCustomPrompt="1"/>
          </p:nvPr>
        </p:nvSpPr>
        <p:spPr>
          <a:xfrm>
            <a:off x="11311317" y="4597400"/>
            <a:ext cx="880746" cy="2209800"/>
          </a:xfrm>
          <a:custGeom>
            <a:avLst/>
            <a:gdLst>
              <a:gd name="connsiteX0" fmla="*/ 333821 w 880746"/>
              <a:gd name="connsiteY0" fmla="*/ 0 h 2209800"/>
              <a:gd name="connsiteX1" fmla="*/ 880683 w 880746"/>
              <a:gd name="connsiteY1" fmla="*/ 0 h 2209800"/>
              <a:gd name="connsiteX2" fmla="*/ 880746 w 880746"/>
              <a:gd name="connsiteY2" fmla="*/ 0 h 2209800"/>
              <a:gd name="connsiteX3" fmla="*/ 880746 w 880746"/>
              <a:gd name="connsiteY3" fmla="*/ 2209800 h 2209800"/>
              <a:gd name="connsiteX4" fmla="*/ 333884 w 880746"/>
              <a:gd name="connsiteY4" fmla="*/ 2209800 h 2209800"/>
              <a:gd name="connsiteX5" fmla="*/ 206884 w 880746"/>
              <a:gd name="connsiteY5" fmla="*/ 2082800 h 2209800"/>
              <a:gd name="connsiteX6" fmla="*/ 206884 w 880746"/>
              <a:gd name="connsiteY6" fmla="*/ 1697800 h 2209800"/>
              <a:gd name="connsiteX7" fmla="*/ 103443 w 880746"/>
              <a:gd name="connsiteY7" fmla="*/ 1594358 h 2209800"/>
              <a:gd name="connsiteX8" fmla="*/ 2 w 880746"/>
              <a:gd name="connsiteY8" fmla="*/ 1490409 h 2209800"/>
              <a:gd name="connsiteX9" fmla="*/ 4001 w 880746"/>
              <a:gd name="connsiteY9" fmla="*/ 716280 h 2209800"/>
              <a:gd name="connsiteX10" fmla="*/ 105411 w 880746"/>
              <a:gd name="connsiteY10" fmla="*/ 615378 h 2209800"/>
              <a:gd name="connsiteX11" fmla="*/ 206821 w 880746"/>
              <a:gd name="connsiteY11" fmla="*/ 513969 h 2209800"/>
              <a:gd name="connsiteX12" fmla="*/ 206821 w 880746"/>
              <a:gd name="connsiteY12" fmla="*/ 127000 h 2209800"/>
              <a:gd name="connsiteX13" fmla="*/ 333821 w 880746"/>
              <a:gd name="connsiteY13" fmla="*/ 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0746" h="2209800">
                <a:moveTo>
                  <a:pt x="333821" y="0"/>
                </a:moveTo>
                <a:lnTo>
                  <a:pt x="880683" y="0"/>
                </a:lnTo>
                <a:lnTo>
                  <a:pt x="880746" y="0"/>
                </a:lnTo>
                <a:lnTo>
                  <a:pt x="880746" y="2209800"/>
                </a:lnTo>
                <a:lnTo>
                  <a:pt x="333884" y="2209800"/>
                </a:lnTo>
                <a:cubicBezTo>
                  <a:pt x="263717" y="2209800"/>
                  <a:pt x="206884" y="2152968"/>
                  <a:pt x="206884" y="2082800"/>
                </a:cubicBezTo>
                <a:lnTo>
                  <a:pt x="206884" y="1697800"/>
                </a:lnTo>
                <a:cubicBezTo>
                  <a:pt x="206884" y="1640650"/>
                  <a:pt x="160783" y="1594358"/>
                  <a:pt x="103443" y="1594358"/>
                </a:cubicBezTo>
                <a:cubicBezTo>
                  <a:pt x="46102" y="1594358"/>
                  <a:pt x="-316" y="1547749"/>
                  <a:pt x="2" y="1490409"/>
                </a:cubicBezTo>
                <a:lnTo>
                  <a:pt x="4001" y="716280"/>
                </a:lnTo>
                <a:cubicBezTo>
                  <a:pt x="4319" y="660464"/>
                  <a:pt x="49404" y="615378"/>
                  <a:pt x="105411" y="615378"/>
                </a:cubicBezTo>
                <a:cubicBezTo>
                  <a:pt x="161418" y="615378"/>
                  <a:pt x="206821" y="569976"/>
                  <a:pt x="206821" y="513969"/>
                </a:cubicBezTo>
                <a:lnTo>
                  <a:pt x="206821" y="127000"/>
                </a:lnTo>
                <a:cubicBezTo>
                  <a:pt x="206821" y="56833"/>
                  <a:pt x="263653" y="0"/>
                  <a:pt x="333821" y="0"/>
                </a:cubicBezTo>
                <a:close/>
              </a:path>
            </a:pathLst>
          </a:custGeom>
          <a:solidFill>
            <a:schemeClr val="bg1">
              <a:lumMod val="95000"/>
            </a:schemeClr>
          </a:solidFill>
        </p:spPr>
        <p:txBody>
          <a:bodyPr wrap="square" bIns="684000" anchor="ctr" anchorCtr="0">
            <a:noAutofit/>
          </a:bodyPr>
          <a:lstStyle>
            <a:lvl1pPr algn="ctr">
              <a:defRPr/>
            </a:lvl1pPr>
          </a:lstStyle>
          <a:p>
            <a:r>
              <a:rPr lang="nl-NL"/>
              <a:t>Afbeelding</a:t>
            </a:r>
            <a:endParaRPr lang="nl-NL" dirty="0"/>
          </a:p>
        </p:txBody>
      </p:sp>
    </p:spTree>
    <p:extLst>
      <p:ext uri="{BB962C8B-B14F-4D97-AF65-F5344CB8AC3E}">
        <p14:creationId xmlns:p14="http://schemas.microsoft.com/office/powerpoint/2010/main" val="1463101612"/>
      </p:ext>
    </p:extLst>
  </p:cSld>
  <p:clrMapOvr>
    <a:masterClrMapping/>
  </p:clrMapOvr>
  <p:extLst>
    <p:ext uri="{DCECCB84-F9BA-43D5-87BE-67443E8EF086}">
      <p15:sldGuideLst xmlns:p15="http://schemas.microsoft.com/office/powerpoint/2012/main">
        <p15:guide id="1" orient="horz" pos="572">
          <p15:clr>
            <a:srgbClr val="FBAE40"/>
          </p15:clr>
        </p15:guide>
        <p15:guide id="2" pos="438">
          <p15:clr>
            <a:srgbClr val="FBAE40"/>
          </p15:clr>
        </p15:guide>
        <p15:guide id="3" pos="728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kst en grafiek/tabel">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D20E5EB7-F853-235F-6A5A-7D3F25165E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ADBF9F9-AAFB-8E85-55BE-0B683D91B62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9" name="Tijdelijke aanduiding voor tekst 8">
            <a:extLst>
              <a:ext uri="{FF2B5EF4-FFF2-40B4-BE49-F238E27FC236}">
                <a16:creationId xmlns:a16="http://schemas.microsoft.com/office/drawing/2014/main" id="{4337174E-FB38-E335-BEBF-937946DC82E2}"/>
              </a:ext>
            </a:extLst>
          </p:cNvPr>
          <p:cNvSpPr>
            <a:spLocks noGrp="1"/>
          </p:cNvSpPr>
          <p:nvPr>
            <p:ph type="body" sz="quarter" idx="13"/>
          </p:nvPr>
        </p:nvSpPr>
        <p:spPr>
          <a:xfrm>
            <a:off x="695324" y="2744787"/>
            <a:ext cx="5148000" cy="28800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a:extLst>
              <a:ext uri="{FF2B5EF4-FFF2-40B4-BE49-F238E27FC236}">
                <a16:creationId xmlns:a16="http://schemas.microsoft.com/office/drawing/2014/main" id="{FF3B1F70-8B1E-6DA8-9F21-4C8B113B95A7}"/>
              </a:ext>
            </a:extLst>
          </p:cNvPr>
          <p:cNvSpPr>
            <a:spLocks noGrp="1"/>
          </p:cNvSpPr>
          <p:nvPr>
            <p:ph type="title" hasCustomPrompt="1"/>
          </p:nvPr>
        </p:nvSpPr>
        <p:spPr/>
        <p:txBody>
          <a:bodyPr/>
          <a:lstStyle>
            <a:lvl1pPr>
              <a:defRPr/>
            </a:lvl1pPr>
          </a:lstStyle>
          <a:p>
            <a:r>
              <a:rPr lang="nl-NL"/>
              <a:t>Titel</a:t>
            </a:r>
            <a:endParaRPr lang="nl-NL" dirty="0"/>
          </a:p>
        </p:txBody>
      </p:sp>
      <p:sp>
        <p:nvSpPr>
          <p:cNvPr id="8" name="Tijdelijke aanduiding voor inhoud 7">
            <a:extLst>
              <a:ext uri="{FF2B5EF4-FFF2-40B4-BE49-F238E27FC236}">
                <a16:creationId xmlns:a16="http://schemas.microsoft.com/office/drawing/2014/main" id="{4865FA58-AE6F-92E5-6725-AE237036B5AC}"/>
              </a:ext>
            </a:extLst>
          </p:cNvPr>
          <p:cNvSpPr>
            <a:spLocks noGrp="1"/>
          </p:cNvSpPr>
          <p:nvPr>
            <p:ph sz="quarter" idx="14" hasCustomPrompt="1"/>
          </p:nvPr>
        </p:nvSpPr>
        <p:spPr>
          <a:xfrm>
            <a:off x="6420113" y="2744788"/>
            <a:ext cx="5148000" cy="2880000"/>
          </a:xfrm>
        </p:spPr>
        <p:txBody>
          <a:bodyPr/>
          <a:lstStyle>
            <a:lvl1pPr>
              <a:defRPr/>
            </a:lvl1pPr>
          </a:lstStyle>
          <a:p>
            <a:pPr lvl="0"/>
            <a:r>
              <a:rPr lang="nl-NL" dirty="0"/>
              <a:t>Klik op het corresponderende icoon om een tabel of grafiek in te voegen</a:t>
            </a:r>
          </a:p>
          <a:p>
            <a:pPr lvl="1"/>
            <a:r>
              <a:rPr lang="nl-NL" dirty="0"/>
              <a:t>Tweede niveau</a:t>
            </a:r>
          </a:p>
          <a:p>
            <a:pPr lvl="2"/>
            <a:r>
              <a:rPr lang="nl-NL" dirty="0"/>
              <a:t>Derde niveau</a:t>
            </a:r>
          </a:p>
          <a:p>
            <a:pPr lvl="3"/>
            <a:r>
              <a:rPr lang="nl-NL" dirty="0"/>
              <a:t>Vierde niveau</a:t>
            </a:r>
          </a:p>
          <a:p>
            <a:pPr lvl="4"/>
            <a:r>
              <a:rPr lang="nl-NL" dirty="0"/>
              <a:t>Vijfde niveau</a:t>
            </a:r>
          </a:p>
        </p:txBody>
      </p:sp>
      <p:pic>
        <p:nvPicPr>
          <p:cNvPr id="13" name="Afbeelding 12">
            <a:extLst>
              <a:ext uri="{FF2B5EF4-FFF2-40B4-BE49-F238E27FC236}">
                <a16:creationId xmlns:a16="http://schemas.microsoft.com/office/drawing/2014/main" id="{290DC24E-08A4-D3B8-F53A-ECD870D2BAF9}"/>
              </a:ext>
            </a:extLst>
          </p:cNvPr>
          <p:cNvPicPr>
            <a:picLocks noChangeAspect="1"/>
          </p:cNvPicPr>
          <p:nvPr userDrawn="1"/>
        </p:nvPicPr>
        <p:blipFill>
          <a:blip r:embed="rId2"/>
          <a:stretch>
            <a:fillRect/>
          </a:stretch>
        </p:blipFill>
        <p:spPr>
          <a:xfrm>
            <a:off x="-1731414" y="2744787"/>
            <a:ext cx="1731414" cy="2853175"/>
          </a:xfrm>
          <a:prstGeom prst="rect">
            <a:avLst/>
          </a:prstGeom>
        </p:spPr>
      </p:pic>
    </p:spTree>
    <p:extLst>
      <p:ext uri="{BB962C8B-B14F-4D97-AF65-F5344CB8AC3E}">
        <p14:creationId xmlns:p14="http://schemas.microsoft.com/office/powerpoint/2010/main" val="3689195429"/>
      </p:ext>
    </p:extLst>
  </p:cSld>
  <p:clrMapOvr>
    <a:masterClrMapping/>
  </p:clrMapOvr>
  <p:extLst>
    <p:ext uri="{DCECCB84-F9BA-43D5-87BE-67443E8EF086}">
      <p15:sldGuideLst xmlns:p15="http://schemas.microsoft.com/office/powerpoint/2012/main">
        <p15:guide id="1" orient="horz" pos="1729">
          <p15:clr>
            <a:srgbClr val="FBAE40"/>
          </p15:clr>
        </p15:guide>
        <p15:guide id="2" pos="438">
          <p15:clr>
            <a:srgbClr val="FBAE40"/>
          </p15:clr>
        </p15:guide>
        <p15:guide id="3" pos="728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lleen titel - 1">
    <p:spTree>
      <p:nvGrpSpPr>
        <p:cNvPr id="1" name=""/>
        <p:cNvGrpSpPr/>
        <p:nvPr/>
      </p:nvGrpSpPr>
      <p:grpSpPr>
        <a:xfrm>
          <a:off x="0" y="0"/>
          <a:ext cx="0" cy="0"/>
          <a:chOff x="0" y="0"/>
          <a:chExt cx="0" cy="0"/>
        </a:xfrm>
      </p:grpSpPr>
      <p:sp>
        <p:nvSpPr>
          <p:cNvPr id="8" name="Vrije vorm: vorm 7">
            <a:extLst>
              <a:ext uri="{FF2B5EF4-FFF2-40B4-BE49-F238E27FC236}">
                <a16:creationId xmlns:a16="http://schemas.microsoft.com/office/drawing/2014/main" id="{D94C0A5D-59B9-0BE2-50E9-11C2BB9FF121}"/>
              </a:ext>
            </a:extLst>
          </p:cNvPr>
          <p:cNvSpPr>
            <a:spLocks noGrp="1" noRot="1" noMove="1" noResize="1" noEditPoints="1" noAdjustHandles="1" noChangeArrowheads="1" noChangeShapeType="1"/>
          </p:cNvSpPr>
          <p:nvPr/>
        </p:nvSpPr>
        <p:spPr>
          <a:xfrm>
            <a:off x="63626"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11433048 w 12064873"/>
              <a:gd name="connsiteY14" fmla="*/ 6223000 h 6731000"/>
              <a:gd name="connsiteX15" fmla="*/ 11306048 w 12064873"/>
              <a:gd name="connsiteY15" fmla="*/ 6350000 h 6731000"/>
              <a:gd name="connsiteX16" fmla="*/ 11306048 w 12064873"/>
              <a:gd name="connsiteY16" fmla="*/ 6604000 h 6731000"/>
              <a:gd name="connsiteX17" fmla="*/ 11179048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11433048" y="6223000"/>
                </a:lnTo>
                <a:cubicBezTo>
                  <a:pt x="11362880" y="6223000"/>
                  <a:pt x="11306048" y="6279833"/>
                  <a:pt x="11306048" y="6350000"/>
                </a:cubicBezTo>
                <a:lnTo>
                  <a:pt x="11306048" y="6604000"/>
                </a:lnTo>
                <a:cubicBezTo>
                  <a:pt x="11306048" y="6674168"/>
                  <a:pt x="11249216" y="6731000"/>
                  <a:pt x="11179048" y="6731000"/>
                </a:cubicBezTo>
                <a:lnTo>
                  <a:pt x="133096" y="6731000"/>
                </a:lnTo>
                <a:cubicBezTo>
                  <a:pt x="62992" y="6731000"/>
                  <a:pt x="6160" y="6674232"/>
                  <a:pt x="6096" y="6604127"/>
                </a:cubicBezTo>
                <a:lnTo>
                  <a:pt x="0" y="806577"/>
                </a:lnTo>
                <a:close/>
              </a:path>
            </a:pathLst>
          </a:custGeom>
          <a:solidFill>
            <a:schemeClr val="bg1"/>
          </a:solidFill>
          <a:ln w="0" cap="flat">
            <a:noFill/>
            <a:prstDash val="solid"/>
            <a:miter/>
          </a:ln>
        </p:spPr>
        <p:txBody>
          <a:bodyPr rtlCol="0" anchor="ctr"/>
          <a:lstStyle/>
          <a:p>
            <a:endParaRPr lang="nl-NL" dirty="0"/>
          </a:p>
        </p:txBody>
      </p:sp>
      <p:sp>
        <p:nvSpPr>
          <p:cNvPr id="4" name="Tijdelijke aanduiding voor voettekst 3">
            <a:extLst>
              <a:ext uri="{FF2B5EF4-FFF2-40B4-BE49-F238E27FC236}">
                <a16:creationId xmlns:a16="http://schemas.microsoft.com/office/drawing/2014/main" id="{55EA9843-550B-D8F8-794A-178E81DD9C2B}"/>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C4757F9E-3BBF-D0FF-CFA1-A33581CFD1BD}"/>
              </a:ext>
            </a:extLst>
          </p:cNvPr>
          <p:cNvSpPr>
            <a:spLocks noGrp="1"/>
          </p:cNvSpPr>
          <p:nvPr>
            <p:ph type="sldNum" sz="quarter" idx="12"/>
          </p:nvPr>
        </p:nvSpPr>
        <p:spPr>
          <a:xfrm>
            <a:off x="11568113" y="6469662"/>
            <a:ext cx="219611" cy="138499"/>
          </a:xfrm>
        </p:spPr>
        <p:txBody>
          <a:bodyPr/>
          <a:lstStyle/>
          <a:p>
            <a:fld id="{DD6527FB-D334-4076-8B97-2824752A4342}" type="slidenum">
              <a:rPr lang="nl-NL" smtClean="0"/>
              <a:t>‹#›</a:t>
            </a:fld>
            <a:endParaRPr lang="nl-NL" dirty="0"/>
          </a:p>
        </p:txBody>
      </p:sp>
      <p:sp>
        <p:nvSpPr>
          <p:cNvPr id="6" name="Titel 5">
            <a:extLst>
              <a:ext uri="{FF2B5EF4-FFF2-40B4-BE49-F238E27FC236}">
                <a16:creationId xmlns:a16="http://schemas.microsoft.com/office/drawing/2014/main" id="{9D224E02-4F43-8B35-2EA3-70B8C5607D20}"/>
              </a:ext>
            </a:extLst>
          </p:cNvPr>
          <p:cNvSpPr>
            <a:spLocks noGrp="1"/>
          </p:cNvSpPr>
          <p:nvPr>
            <p:ph type="title" hasCustomPrompt="1"/>
          </p:nvPr>
        </p:nvSpPr>
        <p:spPr>
          <a:xfrm>
            <a:off x="152997" y="3177008"/>
            <a:ext cx="4680000" cy="503984"/>
          </a:xfrm>
        </p:spPr>
        <p:txBody>
          <a:bodyPr anchor="ctr" anchorCtr="0"/>
          <a:lstStyle>
            <a:lvl1pPr>
              <a:defRPr/>
            </a:lvl1pPr>
          </a:lstStyle>
          <a:p>
            <a:r>
              <a:rPr lang="nl-NL" dirty="0"/>
              <a:t>Titel</a:t>
            </a:r>
          </a:p>
        </p:txBody>
      </p:sp>
      <p:pic>
        <p:nvPicPr>
          <p:cNvPr id="10" name="Logo">
            <a:extLst>
              <a:ext uri="{FF2B5EF4-FFF2-40B4-BE49-F238E27FC236}">
                <a16:creationId xmlns:a16="http://schemas.microsoft.com/office/drawing/2014/main" id="{5B1D227C-53AB-7CDD-6B4B-3E98010D77A7}"/>
              </a:ext>
            </a:extLst>
          </p:cNvPr>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Tree>
    <p:extLst>
      <p:ext uri="{BB962C8B-B14F-4D97-AF65-F5344CB8AC3E}">
        <p14:creationId xmlns:p14="http://schemas.microsoft.com/office/powerpoint/2010/main" val="1918666668"/>
      </p:ext>
    </p:extLst>
  </p:cSld>
  <p:clrMapOvr>
    <a:masterClrMapping/>
  </p:clrMapOvr>
  <p:extLst>
    <p:ext uri="{DCECCB84-F9BA-43D5-87BE-67443E8EF086}">
      <p15:sldGuideLst xmlns:p15="http://schemas.microsoft.com/office/powerpoint/2012/main">
        <p15:guide id="1" orient="horz" pos="663">
          <p15:clr>
            <a:srgbClr val="FBAE40"/>
          </p15:clr>
        </p15:guide>
        <p15:guide id="2" pos="98">
          <p15:clr>
            <a:srgbClr val="FBAE40"/>
          </p15:clr>
        </p15:guide>
        <p15:guide id="3" pos="7287">
          <p15:clr>
            <a:srgbClr val="FBAE40"/>
          </p15:clr>
        </p15:guide>
        <p15:guide id="4" orient="horz" pos="365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Lege slide">
    <p:spTree>
      <p:nvGrpSpPr>
        <p:cNvPr id="1" name=""/>
        <p:cNvGrpSpPr/>
        <p:nvPr/>
      </p:nvGrpSpPr>
      <p:grpSpPr>
        <a:xfrm>
          <a:off x="0" y="0"/>
          <a:ext cx="0" cy="0"/>
          <a:chOff x="0" y="0"/>
          <a:chExt cx="0" cy="0"/>
        </a:xfrm>
      </p:grpSpPr>
      <p:sp>
        <p:nvSpPr>
          <p:cNvPr id="6" name="Tijdelijke aanduiding voor dianummer 2">
            <a:extLst>
              <a:ext uri="{FF2B5EF4-FFF2-40B4-BE49-F238E27FC236}">
                <a16:creationId xmlns:a16="http://schemas.microsoft.com/office/drawing/2014/main" id="{CBB0D247-D604-ABEC-04B2-FFF2F96EC294}"/>
              </a:ext>
            </a:extLst>
          </p:cNvPr>
          <p:cNvSpPr txBox="1">
            <a:spLocks/>
          </p:cNvSpPr>
          <p:nvPr userDrawn="1"/>
        </p:nvSpPr>
        <p:spPr>
          <a:xfrm>
            <a:off x="11465560" y="6573205"/>
            <a:ext cx="559101" cy="175775"/>
          </a:xfrm>
          <a:prstGeom prst="rect">
            <a:avLst/>
          </a:prstGeom>
        </p:spPr>
        <p:txBody>
          <a:bodyPr anchor="ctr" anchorCtr="0"/>
          <a:lstStyle>
            <a:defPPr>
              <a:defRPr lang="en-US"/>
            </a:defPPr>
            <a:lvl1pPr marL="0" algn="l" defTabSz="914400" rtl="0" eaLnBrk="1" latinLnBrk="0" hangingPunct="1">
              <a:defRPr sz="800" i="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sz="1000" b="1" i="0">
                <a:solidFill>
                  <a:schemeClr val="accent1"/>
                </a:solidFill>
                <a:latin typeface="Muli" panose="00000500000000000000" pitchFamily="2" charset="0"/>
              </a:rPr>
              <a:t>|  </a:t>
            </a:r>
            <a:fld id="{45E449D3-B577-44D2-89AE-17D980B37AF7}" type="slidenum">
              <a:rPr lang="nl-NL" sz="1000" b="1" i="0" smtClean="0">
                <a:solidFill>
                  <a:schemeClr val="accent1"/>
                </a:solidFill>
                <a:latin typeface="Muli" panose="00000500000000000000" pitchFamily="2" charset="0"/>
              </a:rPr>
              <a:pPr algn="r"/>
              <a:t>‹#›</a:t>
            </a:fld>
            <a:r>
              <a:rPr lang="nl-NL" sz="1000" i="0">
                <a:solidFill>
                  <a:schemeClr val="bg2"/>
                </a:solidFill>
                <a:latin typeface="Muli" panose="00000500000000000000" pitchFamily="2" charset="0"/>
              </a:rPr>
              <a:t> </a:t>
            </a:r>
          </a:p>
        </p:txBody>
      </p:sp>
      <p:sp>
        <p:nvSpPr>
          <p:cNvPr id="7" name="Tijdelijke aanduiding voor tekst 10">
            <a:extLst>
              <a:ext uri="{FF2B5EF4-FFF2-40B4-BE49-F238E27FC236}">
                <a16:creationId xmlns:a16="http://schemas.microsoft.com/office/drawing/2014/main" id="{79100318-6945-6B48-BBE0-BD0D67ACA63E}"/>
              </a:ext>
            </a:extLst>
          </p:cNvPr>
          <p:cNvSpPr>
            <a:spLocks noGrp="1"/>
          </p:cNvSpPr>
          <p:nvPr>
            <p:ph type="body" sz="quarter" idx="14" hasCustomPrompt="1"/>
          </p:nvPr>
        </p:nvSpPr>
        <p:spPr>
          <a:xfrm>
            <a:off x="7485062" y="6573205"/>
            <a:ext cx="4183697" cy="175775"/>
          </a:xfrm>
          <a:prstGeom prst="rect">
            <a:avLst/>
          </a:prstGeom>
        </p:spPr>
        <p:txBody>
          <a:bodyPr anchor="ctr">
            <a:noAutofit/>
          </a:bodyPr>
          <a:lstStyle>
            <a:lvl1pPr marL="0" indent="0" algn="r">
              <a:buNone/>
              <a:defRPr sz="1000">
                <a:solidFill>
                  <a:schemeClr val="accent1"/>
                </a:solidFill>
              </a:defRPr>
            </a:lvl1pPr>
            <a:lvl2pPr marL="457200" indent="0" algn="r">
              <a:buNone/>
              <a:defRPr sz="1000">
                <a:solidFill>
                  <a:schemeClr val="accent1"/>
                </a:solidFill>
              </a:defRPr>
            </a:lvl2pPr>
            <a:lvl3pPr marL="914400" indent="0" algn="r">
              <a:buNone/>
              <a:defRPr sz="1000">
                <a:solidFill>
                  <a:schemeClr val="accent1"/>
                </a:solidFill>
              </a:defRPr>
            </a:lvl3pPr>
            <a:lvl4pPr marL="1371600" indent="0" algn="r">
              <a:buNone/>
              <a:defRPr sz="1000">
                <a:solidFill>
                  <a:schemeClr val="accent1"/>
                </a:solidFill>
              </a:defRPr>
            </a:lvl4pPr>
            <a:lvl5pPr marL="1828800" indent="0" algn="r">
              <a:buNone/>
              <a:defRPr sz="1000">
                <a:solidFill>
                  <a:schemeClr val="accent1"/>
                </a:solidFill>
              </a:defRPr>
            </a:lvl5pPr>
          </a:lstStyle>
          <a:p>
            <a:pPr lvl="0"/>
            <a:r>
              <a:rPr lang="nl-NL"/>
              <a:t>Hoofdstuk aanduiding</a:t>
            </a:r>
          </a:p>
        </p:txBody>
      </p:sp>
    </p:spTree>
    <p:extLst>
      <p:ext uri="{BB962C8B-B14F-4D97-AF65-F5344CB8AC3E}">
        <p14:creationId xmlns:p14="http://schemas.microsoft.com/office/powerpoint/2010/main" val="3020392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lleen titel - 2">
    <p:spTree>
      <p:nvGrpSpPr>
        <p:cNvPr id="1" name=""/>
        <p:cNvGrpSpPr/>
        <p:nvPr/>
      </p:nvGrpSpPr>
      <p:grpSpPr>
        <a:xfrm>
          <a:off x="0" y="0"/>
          <a:ext cx="0" cy="0"/>
          <a:chOff x="0" y="0"/>
          <a:chExt cx="0" cy="0"/>
        </a:xfrm>
      </p:grpSpPr>
      <p:sp>
        <p:nvSpPr>
          <p:cNvPr id="7" name="Vrije vorm: vorm 6">
            <a:extLst>
              <a:ext uri="{FF2B5EF4-FFF2-40B4-BE49-F238E27FC236}">
                <a16:creationId xmlns:a16="http://schemas.microsoft.com/office/drawing/2014/main" id="{E7C18C33-0B1F-4E21-2734-5009925F4EB0}"/>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179048 w 12064873"/>
              <a:gd name="connsiteY6" fmla="*/ 0 h 6731000"/>
              <a:gd name="connsiteX7" fmla="*/ 11306048 w 12064873"/>
              <a:gd name="connsiteY7" fmla="*/ 127000 h 6731000"/>
              <a:gd name="connsiteX8" fmla="*/ 11306048 w 12064873"/>
              <a:gd name="connsiteY8" fmla="*/ 635000 h 6731000"/>
              <a:gd name="connsiteX9" fmla="*/ 11433048 w 12064873"/>
              <a:gd name="connsiteY9" fmla="*/ 762000 h 6731000"/>
              <a:gd name="connsiteX10" fmla="*/ 11937873 w 12064873"/>
              <a:gd name="connsiteY10" fmla="*/ 762000 h 6731000"/>
              <a:gd name="connsiteX11" fmla="*/ 12064873 w 12064873"/>
              <a:gd name="connsiteY11" fmla="*/ 889000 h 6731000"/>
              <a:gd name="connsiteX12" fmla="*/ 12064873 w 12064873"/>
              <a:gd name="connsiteY12" fmla="*/ 6096000 h 6731000"/>
              <a:gd name="connsiteX13" fmla="*/ 11937873 w 12064873"/>
              <a:gd name="connsiteY13" fmla="*/ 6223000 h 6731000"/>
              <a:gd name="connsiteX14" fmla="*/ 11433048 w 12064873"/>
              <a:gd name="connsiteY14" fmla="*/ 6223000 h 6731000"/>
              <a:gd name="connsiteX15" fmla="*/ 11306048 w 12064873"/>
              <a:gd name="connsiteY15" fmla="*/ 6350000 h 6731000"/>
              <a:gd name="connsiteX16" fmla="*/ 11306048 w 12064873"/>
              <a:gd name="connsiteY16" fmla="*/ 6604000 h 6731000"/>
              <a:gd name="connsiteX17" fmla="*/ 11179048 w 12064873"/>
              <a:gd name="connsiteY17" fmla="*/ 6731000 h 6731000"/>
              <a:gd name="connsiteX18" fmla="*/ 133096 w 12064873"/>
              <a:gd name="connsiteY18" fmla="*/ 6731000 h 6731000"/>
              <a:gd name="connsiteX19" fmla="*/ 6096 w 12064873"/>
              <a:gd name="connsiteY19" fmla="*/ 6604127 h 6731000"/>
              <a:gd name="connsiteX20" fmla="*/ 0 w 12064873"/>
              <a:gd name="connsiteY20"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179048" y="0"/>
                </a:lnTo>
                <a:cubicBezTo>
                  <a:pt x="11249216" y="0"/>
                  <a:pt x="11306048" y="56833"/>
                  <a:pt x="11306048" y="127000"/>
                </a:cubicBezTo>
                <a:lnTo>
                  <a:pt x="11306048" y="635000"/>
                </a:lnTo>
                <a:cubicBezTo>
                  <a:pt x="11306048" y="705168"/>
                  <a:pt x="11362880" y="762000"/>
                  <a:pt x="11433048" y="762000"/>
                </a:cubicBezTo>
                <a:lnTo>
                  <a:pt x="11937873" y="762000"/>
                </a:lnTo>
                <a:cubicBezTo>
                  <a:pt x="12008041" y="762000"/>
                  <a:pt x="12064873" y="818833"/>
                  <a:pt x="12064873" y="889000"/>
                </a:cubicBezTo>
                <a:lnTo>
                  <a:pt x="12064873" y="6096000"/>
                </a:lnTo>
                <a:cubicBezTo>
                  <a:pt x="12064873" y="6166168"/>
                  <a:pt x="12008041" y="6223000"/>
                  <a:pt x="11937873" y="6223000"/>
                </a:cubicBezTo>
                <a:lnTo>
                  <a:pt x="11433048" y="6223000"/>
                </a:lnTo>
                <a:cubicBezTo>
                  <a:pt x="11362880" y="6223000"/>
                  <a:pt x="11306048" y="6279833"/>
                  <a:pt x="11306048" y="6350000"/>
                </a:cubicBezTo>
                <a:lnTo>
                  <a:pt x="11306048" y="6604000"/>
                </a:lnTo>
                <a:cubicBezTo>
                  <a:pt x="11306048" y="6674168"/>
                  <a:pt x="11249216" y="6731000"/>
                  <a:pt x="11179048" y="6731000"/>
                </a:cubicBezTo>
                <a:lnTo>
                  <a:pt x="133096" y="6731000"/>
                </a:lnTo>
                <a:cubicBezTo>
                  <a:pt x="62992" y="6731000"/>
                  <a:pt x="6160" y="6674232"/>
                  <a:pt x="6096" y="6604127"/>
                </a:cubicBezTo>
                <a:lnTo>
                  <a:pt x="0" y="806577"/>
                </a:lnTo>
                <a:close/>
              </a:path>
            </a:pathLst>
          </a:custGeom>
          <a:solidFill>
            <a:srgbClr val="212154"/>
          </a:solidFill>
          <a:ln w="0" cap="flat">
            <a:noFill/>
            <a:prstDash val="solid"/>
            <a:miter/>
          </a:ln>
        </p:spPr>
        <p:txBody>
          <a:bodyPr rtlCol="0" anchor="ctr"/>
          <a:lstStyle/>
          <a:p>
            <a:endParaRPr lang="nl-NL" dirty="0"/>
          </a:p>
        </p:txBody>
      </p:sp>
      <p:pic>
        <p:nvPicPr>
          <p:cNvPr id="3" name="Logo">
            <a:extLst>
              <a:ext uri="{FF2B5EF4-FFF2-40B4-BE49-F238E27FC236}">
                <a16:creationId xmlns:a16="http://schemas.microsoft.com/office/drawing/2014/main" id="{2970608C-20F7-D86D-2C69-09FECC61B3A0}"/>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255969" y="286902"/>
            <a:ext cx="1302321" cy="268243"/>
          </a:xfrm>
          <a:prstGeom prst="rect">
            <a:avLst/>
          </a:prstGeom>
        </p:spPr>
      </p:pic>
      <p:sp>
        <p:nvSpPr>
          <p:cNvPr id="4" name="Tijdelijke aanduiding voor voettekst 3">
            <a:extLst>
              <a:ext uri="{FF2B5EF4-FFF2-40B4-BE49-F238E27FC236}">
                <a16:creationId xmlns:a16="http://schemas.microsoft.com/office/drawing/2014/main" id="{55EA9843-550B-D8F8-794A-178E81DD9C2B}"/>
              </a:ext>
            </a:extLst>
          </p:cNvPr>
          <p:cNvSpPr>
            <a:spLocks noGrp="1"/>
          </p:cNvSpPr>
          <p:nvPr>
            <p:ph type="ftr" sz="quarter" idx="11"/>
          </p:nvPr>
        </p:nvSpPr>
        <p:spPr/>
        <p:txBody>
          <a:bodyPr/>
          <a:lstStyle>
            <a:lvl1pPr>
              <a:defRPr>
                <a:solidFill>
                  <a:schemeClr val="bg1"/>
                </a:solidFill>
              </a:defRPr>
            </a:lvl1pPr>
          </a:lstStyle>
          <a:p>
            <a:endParaRPr lang="nl-NL" dirty="0"/>
          </a:p>
        </p:txBody>
      </p:sp>
      <p:sp>
        <p:nvSpPr>
          <p:cNvPr id="5" name="Tijdelijke aanduiding voor dianummer 4">
            <a:extLst>
              <a:ext uri="{FF2B5EF4-FFF2-40B4-BE49-F238E27FC236}">
                <a16:creationId xmlns:a16="http://schemas.microsoft.com/office/drawing/2014/main" id="{C4757F9E-3BBF-D0FF-CFA1-A33581CFD1BD}"/>
              </a:ext>
            </a:extLst>
          </p:cNvPr>
          <p:cNvSpPr>
            <a:spLocks noGrp="1"/>
          </p:cNvSpPr>
          <p:nvPr>
            <p:ph type="sldNum" sz="quarter" idx="12"/>
          </p:nvPr>
        </p:nvSpPr>
        <p:spPr>
          <a:xfrm>
            <a:off x="11568113" y="6469662"/>
            <a:ext cx="219611" cy="138499"/>
          </a:xfrm>
        </p:spPr>
        <p:txBody>
          <a:bodyPr/>
          <a:lstStyle>
            <a:lvl1pPr>
              <a:defRPr>
                <a:solidFill>
                  <a:schemeClr val="tx2"/>
                </a:solidFill>
              </a:defRPr>
            </a:lvl1pPr>
          </a:lstStyle>
          <a:p>
            <a:fld id="{DD6527FB-D334-4076-8B97-2824752A4342}" type="slidenum">
              <a:rPr lang="nl-NL" smtClean="0"/>
              <a:pPr/>
              <a:t>‹#›</a:t>
            </a:fld>
            <a:endParaRPr lang="nl-NL" dirty="0"/>
          </a:p>
        </p:txBody>
      </p:sp>
      <p:sp>
        <p:nvSpPr>
          <p:cNvPr id="6" name="Titel 5">
            <a:extLst>
              <a:ext uri="{FF2B5EF4-FFF2-40B4-BE49-F238E27FC236}">
                <a16:creationId xmlns:a16="http://schemas.microsoft.com/office/drawing/2014/main" id="{9D224E02-4F43-8B35-2EA3-70B8C5607D20}"/>
              </a:ext>
            </a:extLst>
          </p:cNvPr>
          <p:cNvSpPr>
            <a:spLocks noGrp="1"/>
          </p:cNvSpPr>
          <p:nvPr>
            <p:ph type="title" hasCustomPrompt="1"/>
          </p:nvPr>
        </p:nvSpPr>
        <p:spPr>
          <a:xfrm>
            <a:off x="152997" y="3177008"/>
            <a:ext cx="4680000" cy="503984"/>
          </a:xfrm>
        </p:spPr>
        <p:txBody>
          <a:bodyPr anchor="ctr" anchorCtr="0"/>
          <a:lstStyle>
            <a:lvl1pPr>
              <a:defRPr>
                <a:solidFill>
                  <a:schemeClr val="bg1"/>
                </a:solidFill>
              </a:defRPr>
            </a:lvl1pPr>
          </a:lstStyle>
          <a:p>
            <a:r>
              <a:rPr lang="nl-NL" dirty="0"/>
              <a:t>Titel</a:t>
            </a:r>
          </a:p>
        </p:txBody>
      </p:sp>
    </p:spTree>
    <p:extLst>
      <p:ext uri="{BB962C8B-B14F-4D97-AF65-F5344CB8AC3E}">
        <p14:creationId xmlns:p14="http://schemas.microsoft.com/office/powerpoint/2010/main" val="1953355896"/>
      </p:ext>
    </p:extLst>
  </p:cSld>
  <p:clrMapOvr>
    <a:masterClrMapping/>
  </p:clrMapOvr>
  <p:extLst>
    <p:ext uri="{DCECCB84-F9BA-43D5-87BE-67443E8EF086}">
      <p15:sldGuideLst xmlns:p15="http://schemas.microsoft.com/office/powerpoint/2012/main">
        <p15:guide id="1" orient="horz" pos="663">
          <p15:clr>
            <a:srgbClr val="FBAE40"/>
          </p15:clr>
        </p15:guide>
        <p15:guide id="2" pos="98">
          <p15:clr>
            <a:srgbClr val="FBAE40"/>
          </p15:clr>
        </p15:guide>
        <p15:guide id="3" pos="7287">
          <p15:clr>
            <a:srgbClr val="FBAE40"/>
          </p15:clr>
        </p15:guide>
        <p15:guide id="4" orient="horz" pos="365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lleen titel - 3">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55EA9843-550B-D8F8-794A-178E81DD9C2B}"/>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C4757F9E-3BBF-D0FF-CFA1-A33581CFD1BD}"/>
              </a:ext>
            </a:extLst>
          </p:cNvPr>
          <p:cNvSpPr>
            <a:spLocks noGrp="1"/>
          </p:cNvSpPr>
          <p:nvPr>
            <p:ph type="sldNum" sz="quarter" idx="12"/>
          </p:nvPr>
        </p:nvSpPr>
        <p:spPr/>
        <p:txBody>
          <a:bodyPr/>
          <a:lstStyle/>
          <a:p>
            <a:fld id="{DD6527FB-D334-4076-8B97-2824752A4342}" type="slidenum">
              <a:rPr lang="nl-NL" smtClean="0"/>
              <a:t>‹#›</a:t>
            </a:fld>
            <a:endParaRPr lang="nl-NL" dirty="0"/>
          </a:p>
        </p:txBody>
      </p:sp>
      <p:sp>
        <p:nvSpPr>
          <p:cNvPr id="6" name="Titel 5">
            <a:extLst>
              <a:ext uri="{FF2B5EF4-FFF2-40B4-BE49-F238E27FC236}">
                <a16:creationId xmlns:a16="http://schemas.microsoft.com/office/drawing/2014/main" id="{9D224E02-4F43-8B35-2EA3-70B8C5607D20}"/>
              </a:ext>
            </a:extLst>
          </p:cNvPr>
          <p:cNvSpPr>
            <a:spLocks noGrp="1"/>
          </p:cNvSpPr>
          <p:nvPr>
            <p:ph type="title" hasCustomPrompt="1"/>
          </p:nvPr>
        </p:nvSpPr>
        <p:spPr/>
        <p:txBody>
          <a:bodyPr/>
          <a:lstStyle>
            <a:lvl1pPr>
              <a:defRPr/>
            </a:lvl1pPr>
          </a:lstStyle>
          <a:p>
            <a:r>
              <a:rPr lang="nl-NL"/>
              <a:t>Titel</a:t>
            </a:r>
            <a:endParaRPr lang="nl-NL" dirty="0"/>
          </a:p>
        </p:txBody>
      </p:sp>
    </p:spTree>
    <p:extLst>
      <p:ext uri="{BB962C8B-B14F-4D97-AF65-F5344CB8AC3E}">
        <p14:creationId xmlns:p14="http://schemas.microsoft.com/office/powerpoint/2010/main" val="202620633"/>
      </p:ext>
    </p:extLst>
  </p:cSld>
  <p:clrMapOvr>
    <a:masterClrMapping/>
  </p:clrMapOvr>
  <p:extLst>
    <p:ext uri="{DCECCB84-F9BA-43D5-87BE-67443E8EF086}">
      <p15:sldGuideLst xmlns:p15="http://schemas.microsoft.com/office/powerpoint/2012/main">
        <p15:guide id="1" orient="horz" pos="1729">
          <p15:clr>
            <a:srgbClr val="FBAE40"/>
          </p15:clr>
        </p15:guide>
        <p15:guide id="2" pos="438">
          <p15:clr>
            <a:srgbClr val="FBAE40"/>
          </p15:clr>
        </p15:guide>
        <p15:guide id="3" pos="7287">
          <p15:clr>
            <a:srgbClr val="FBAE40"/>
          </p15:clr>
        </p15:guide>
        <p15:guide id="4" orient="horz" pos="363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fsluiting - 1">
    <p:spTree>
      <p:nvGrpSpPr>
        <p:cNvPr id="1" name=""/>
        <p:cNvGrpSpPr/>
        <p:nvPr/>
      </p:nvGrpSpPr>
      <p:grpSpPr>
        <a:xfrm>
          <a:off x="0" y="0"/>
          <a:ext cx="0" cy="0"/>
          <a:chOff x="0" y="0"/>
          <a:chExt cx="0" cy="0"/>
        </a:xfrm>
      </p:grpSpPr>
      <p:sp>
        <p:nvSpPr>
          <p:cNvPr id="20" name="Tijdelijke aanduiding voor afbeelding 19">
            <a:extLst>
              <a:ext uri="{FF2B5EF4-FFF2-40B4-BE49-F238E27FC236}">
                <a16:creationId xmlns:a16="http://schemas.microsoft.com/office/drawing/2014/main" id="{04F27665-3837-4293-1FA7-7300D840F5C8}"/>
              </a:ext>
            </a:extLst>
          </p:cNvPr>
          <p:cNvSpPr>
            <a:spLocks noGrp="1" noRot="1" noMove="1" noResize="1" noEditPoints="1" noAdjustHandles="1" noChangeArrowheads="1" noChangeShapeType="1"/>
          </p:cNvSpPr>
          <p:nvPr>
            <p:ph type="pic" sz="quarter" idx="15"/>
          </p:nvPr>
        </p:nvSpPr>
        <p:spPr>
          <a:xfrm>
            <a:off x="6381825" y="3274330"/>
            <a:ext cx="5646209" cy="3257328"/>
          </a:xfrm>
          <a:custGeom>
            <a:avLst/>
            <a:gdLst>
              <a:gd name="connsiteX0" fmla="*/ 1228667 w 5646209"/>
              <a:gd name="connsiteY0" fmla="*/ 0 h 3257328"/>
              <a:gd name="connsiteX1" fmla="*/ 4422681 w 5646209"/>
              <a:gd name="connsiteY1" fmla="*/ 0 h 3257328"/>
              <a:gd name="connsiteX2" fmla="*/ 4508517 w 5646209"/>
              <a:gd name="connsiteY2" fmla="*/ 88374 h 3257328"/>
              <a:gd name="connsiteX3" fmla="*/ 4594353 w 5646209"/>
              <a:gd name="connsiteY3" fmla="*/ 176747 h 3257328"/>
              <a:gd name="connsiteX4" fmla="*/ 5519326 w 5646209"/>
              <a:gd name="connsiteY4" fmla="*/ 176747 h 3257328"/>
              <a:gd name="connsiteX5" fmla="*/ 5646209 w 5646209"/>
              <a:gd name="connsiteY5" fmla="*/ 303630 h 3257328"/>
              <a:gd name="connsiteX6" fmla="*/ 5646209 w 5646209"/>
              <a:gd name="connsiteY6" fmla="*/ 2949321 h 3257328"/>
              <a:gd name="connsiteX7" fmla="*/ 5519326 w 5646209"/>
              <a:gd name="connsiteY7" fmla="*/ 3076203 h 3257328"/>
              <a:gd name="connsiteX8" fmla="*/ 4596446 w 5646209"/>
              <a:gd name="connsiteY8" fmla="*/ 3076203 h 3257328"/>
              <a:gd name="connsiteX9" fmla="*/ 4505916 w 5646209"/>
              <a:gd name="connsiteY9" fmla="*/ 3166734 h 3257328"/>
              <a:gd name="connsiteX10" fmla="*/ 4415258 w 5646209"/>
              <a:gd name="connsiteY10" fmla="*/ 3257328 h 3257328"/>
              <a:gd name="connsiteX11" fmla="*/ 1228603 w 5646209"/>
              <a:gd name="connsiteY11" fmla="*/ 3253141 h 3257328"/>
              <a:gd name="connsiteX12" fmla="*/ 1140293 w 5646209"/>
              <a:gd name="connsiteY12" fmla="*/ 3164641 h 3257328"/>
              <a:gd name="connsiteX13" fmla="*/ 1051856 w 5646209"/>
              <a:gd name="connsiteY13" fmla="*/ 3076203 h 3257328"/>
              <a:gd name="connsiteX14" fmla="*/ 126883 w 5646209"/>
              <a:gd name="connsiteY14" fmla="*/ 3076203 h 3257328"/>
              <a:gd name="connsiteX15" fmla="*/ 0 w 5646209"/>
              <a:gd name="connsiteY15" fmla="*/ 2949321 h 3257328"/>
              <a:gd name="connsiteX16" fmla="*/ 0 w 5646209"/>
              <a:gd name="connsiteY16" fmla="*/ 303630 h 3257328"/>
              <a:gd name="connsiteX17" fmla="*/ 126883 w 5646209"/>
              <a:gd name="connsiteY17" fmla="*/ 176747 h 3257328"/>
              <a:gd name="connsiteX18" fmla="*/ 1051920 w 5646209"/>
              <a:gd name="connsiteY18" fmla="*/ 176747 h 3257328"/>
              <a:gd name="connsiteX19" fmla="*/ 1140293 w 5646209"/>
              <a:gd name="connsiteY19" fmla="*/ 88374 h 3257328"/>
              <a:gd name="connsiteX20" fmla="*/ 1228667 w 5646209"/>
              <a:gd name="connsiteY20" fmla="*/ 0 h 32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6209" h="3257328">
                <a:moveTo>
                  <a:pt x="1228667" y="0"/>
                </a:moveTo>
                <a:lnTo>
                  <a:pt x="4422681" y="0"/>
                </a:lnTo>
                <a:cubicBezTo>
                  <a:pt x="4471086" y="0"/>
                  <a:pt x="4509976" y="39968"/>
                  <a:pt x="4508517" y="88374"/>
                </a:cubicBezTo>
                <a:cubicBezTo>
                  <a:pt x="4507121" y="136779"/>
                  <a:pt x="4545947" y="176747"/>
                  <a:pt x="4594353" y="176747"/>
                </a:cubicBezTo>
                <a:lnTo>
                  <a:pt x="5519326" y="176747"/>
                </a:lnTo>
                <a:cubicBezTo>
                  <a:pt x="5589429" y="176747"/>
                  <a:pt x="5646209" y="233527"/>
                  <a:pt x="5646209" y="303630"/>
                </a:cubicBezTo>
                <a:lnTo>
                  <a:pt x="5646209" y="2949321"/>
                </a:lnTo>
                <a:cubicBezTo>
                  <a:pt x="5646209" y="3019423"/>
                  <a:pt x="5589429" y="3076203"/>
                  <a:pt x="5519326" y="3076203"/>
                </a:cubicBezTo>
                <a:lnTo>
                  <a:pt x="4596446" y="3076203"/>
                </a:lnTo>
                <a:cubicBezTo>
                  <a:pt x="4546455" y="3076203"/>
                  <a:pt x="4505916" y="3116742"/>
                  <a:pt x="4505916" y="3166734"/>
                </a:cubicBezTo>
                <a:cubicBezTo>
                  <a:pt x="4505916" y="3216726"/>
                  <a:pt x="4465313" y="3257391"/>
                  <a:pt x="4415258" y="3257328"/>
                </a:cubicBezTo>
                <a:lnTo>
                  <a:pt x="1228603" y="3253141"/>
                </a:lnTo>
                <a:cubicBezTo>
                  <a:pt x="1179817" y="3253078"/>
                  <a:pt x="1140293" y="3213490"/>
                  <a:pt x="1140293" y="3164641"/>
                </a:cubicBezTo>
                <a:cubicBezTo>
                  <a:pt x="1140293" y="3115791"/>
                  <a:pt x="1100706" y="3076203"/>
                  <a:pt x="1051856" y="3076203"/>
                </a:cubicBezTo>
                <a:lnTo>
                  <a:pt x="126883" y="3076203"/>
                </a:lnTo>
                <a:cubicBezTo>
                  <a:pt x="56780" y="3076203"/>
                  <a:pt x="0" y="3019423"/>
                  <a:pt x="0" y="2949321"/>
                </a:cubicBezTo>
                <a:lnTo>
                  <a:pt x="0" y="303630"/>
                </a:lnTo>
                <a:cubicBezTo>
                  <a:pt x="0" y="233527"/>
                  <a:pt x="56780" y="176747"/>
                  <a:pt x="126883" y="176747"/>
                </a:cubicBezTo>
                <a:lnTo>
                  <a:pt x="1051920" y="176747"/>
                </a:lnTo>
                <a:cubicBezTo>
                  <a:pt x="1100769" y="176747"/>
                  <a:pt x="1140293" y="137160"/>
                  <a:pt x="1140293" y="88374"/>
                </a:cubicBezTo>
                <a:cubicBezTo>
                  <a:pt x="1140293" y="39587"/>
                  <a:pt x="1179881" y="0"/>
                  <a:pt x="1228667"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9" name="Tijdelijke aanduiding voor afbeelding 18">
            <a:extLst>
              <a:ext uri="{FF2B5EF4-FFF2-40B4-BE49-F238E27FC236}">
                <a16:creationId xmlns:a16="http://schemas.microsoft.com/office/drawing/2014/main" id="{6975DEEF-BAED-A67D-A1E8-24811E69557A}"/>
              </a:ext>
            </a:extLst>
          </p:cNvPr>
          <p:cNvSpPr>
            <a:spLocks noGrp="1" noRot="1" noMove="1" noResize="1" noEditPoints="1" noAdjustHandles="1" noChangeArrowheads="1" noChangeShapeType="1"/>
          </p:cNvSpPr>
          <p:nvPr>
            <p:ph type="pic" sz="quarter" idx="14"/>
          </p:nvPr>
        </p:nvSpPr>
        <p:spPr>
          <a:xfrm>
            <a:off x="6381824" y="377983"/>
            <a:ext cx="5646336" cy="2896347"/>
          </a:xfrm>
          <a:custGeom>
            <a:avLst/>
            <a:gdLst>
              <a:gd name="connsiteX0" fmla="*/ 126883 w 5646336"/>
              <a:gd name="connsiteY0" fmla="*/ 0 h 2896347"/>
              <a:gd name="connsiteX1" fmla="*/ 935314 w 5646336"/>
              <a:gd name="connsiteY1" fmla="*/ 0 h 2896347"/>
              <a:gd name="connsiteX2" fmla="*/ 1023625 w 5646336"/>
              <a:gd name="connsiteY2" fmla="*/ 88310 h 2896347"/>
              <a:gd name="connsiteX3" fmla="*/ 1111935 w 5646336"/>
              <a:gd name="connsiteY3" fmla="*/ 176620 h 2896347"/>
              <a:gd name="connsiteX4" fmla="*/ 4539476 w 5646336"/>
              <a:gd name="connsiteY4" fmla="*/ 176620 h 2896347"/>
              <a:gd name="connsiteX5" fmla="*/ 4625249 w 5646336"/>
              <a:gd name="connsiteY5" fmla="*/ 88310 h 2896347"/>
              <a:gd name="connsiteX6" fmla="*/ 4711021 w 5646336"/>
              <a:gd name="connsiteY6" fmla="*/ 0 h 2896347"/>
              <a:gd name="connsiteX7" fmla="*/ 5519453 w 5646336"/>
              <a:gd name="connsiteY7" fmla="*/ 0 h 2896347"/>
              <a:gd name="connsiteX8" fmla="*/ 5646336 w 5646336"/>
              <a:gd name="connsiteY8" fmla="*/ 126883 h 2896347"/>
              <a:gd name="connsiteX9" fmla="*/ 5646336 w 5646336"/>
              <a:gd name="connsiteY9" fmla="*/ 2769465 h 2896347"/>
              <a:gd name="connsiteX10" fmla="*/ 5519453 w 5646336"/>
              <a:gd name="connsiteY10" fmla="*/ 2896347 h 2896347"/>
              <a:gd name="connsiteX11" fmla="*/ 4708864 w 5646336"/>
              <a:gd name="connsiteY11" fmla="*/ 2896347 h 2896347"/>
              <a:gd name="connsiteX12" fmla="*/ 4622711 w 5646336"/>
              <a:gd name="connsiteY12" fmla="*/ 2810194 h 2896347"/>
              <a:gd name="connsiteX13" fmla="*/ 4536684 w 5646336"/>
              <a:gd name="connsiteY13" fmla="*/ 2724041 h 2896347"/>
              <a:gd name="connsiteX14" fmla="*/ 1112062 w 5646336"/>
              <a:gd name="connsiteY14" fmla="*/ 2719854 h 2896347"/>
              <a:gd name="connsiteX15" fmla="*/ 1023688 w 5646336"/>
              <a:gd name="connsiteY15" fmla="*/ 2808100 h 2896347"/>
              <a:gd name="connsiteX16" fmla="*/ 935441 w 5646336"/>
              <a:gd name="connsiteY16" fmla="*/ 2896347 h 2896347"/>
              <a:gd name="connsiteX17" fmla="*/ 126883 w 5646336"/>
              <a:gd name="connsiteY17" fmla="*/ 2896347 h 2896347"/>
              <a:gd name="connsiteX18" fmla="*/ 126883 w 5646336"/>
              <a:gd name="connsiteY18" fmla="*/ 2896284 h 2896347"/>
              <a:gd name="connsiteX19" fmla="*/ 0 w 5646336"/>
              <a:gd name="connsiteY19" fmla="*/ 2769401 h 2896347"/>
              <a:gd name="connsiteX20" fmla="*/ 0 w 5646336"/>
              <a:gd name="connsiteY20" fmla="*/ 126883 h 2896347"/>
              <a:gd name="connsiteX21" fmla="*/ 126883 w 5646336"/>
              <a:gd name="connsiteY21" fmla="*/ 0 h 289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46336" h="2896347">
                <a:moveTo>
                  <a:pt x="126883" y="0"/>
                </a:moveTo>
                <a:lnTo>
                  <a:pt x="935314" y="0"/>
                </a:lnTo>
                <a:cubicBezTo>
                  <a:pt x="984101" y="0"/>
                  <a:pt x="1023625" y="39524"/>
                  <a:pt x="1023625" y="88310"/>
                </a:cubicBezTo>
                <a:cubicBezTo>
                  <a:pt x="1023625" y="137097"/>
                  <a:pt x="1063149" y="176620"/>
                  <a:pt x="1111935" y="176620"/>
                </a:cubicBezTo>
                <a:lnTo>
                  <a:pt x="4539476" y="176620"/>
                </a:lnTo>
                <a:cubicBezTo>
                  <a:pt x="4587818" y="176620"/>
                  <a:pt x="4626645" y="136652"/>
                  <a:pt x="4625249" y="88310"/>
                </a:cubicBezTo>
                <a:cubicBezTo>
                  <a:pt x="4623853" y="39968"/>
                  <a:pt x="4662616" y="0"/>
                  <a:pt x="4711021" y="0"/>
                </a:cubicBezTo>
                <a:lnTo>
                  <a:pt x="5519453" y="0"/>
                </a:lnTo>
                <a:cubicBezTo>
                  <a:pt x="5589556" y="0"/>
                  <a:pt x="5646336" y="56780"/>
                  <a:pt x="5646336" y="126883"/>
                </a:cubicBezTo>
                <a:lnTo>
                  <a:pt x="5646336" y="2769465"/>
                </a:lnTo>
                <a:cubicBezTo>
                  <a:pt x="5646336" y="2839567"/>
                  <a:pt x="5589556" y="2896347"/>
                  <a:pt x="5519453" y="2896347"/>
                </a:cubicBezTo>
                <a:lnTo>
                  <a:pt x="4708864" y="2896347"/>
                </a:lnTo>
                <a:cubicBezTo>
                  <a:pt x="4661283" y="2896347"/>
                  <a:pt x="4622711" y="2857775"/>
                  <a:pt x="4622711" y="2810194"/>
                </a:cubicBezTo>
                <a:cubicBezTo>
                  <a:pt x="4622711" y="2762613"/>
                  <a:pt x="4584202" y="2724104"/>
                  <a:pt x="4536684" y="2724041"/>
                </a:cubicBezTo>
                <a:lnTo>
                  <a:pt x="1112062" y="2719854"/>
                </a:lnTo>
                <a:cubicBezTo>
                  <a:pt x="1063276" y="2719854"/>
                  <a:pt x="1023688" y="2759314"/>
                  <a:pt x="1023688" y="2808100"/>
                </a:cubicBezTo>
                <a:cubicBezTo>
                  <a:pt x="1023688" y="2856887"/>
                  <a:pt x="984164" y="2896347"/>
                  <a:pt x="935441" y="2896347"/>
                </a:cubicBezTo>
                <a:lnTo>
                  <a:pt x="126883" y="2896347"/>
                </a:lnTo>
                <a:lnTo>
                  <a:pt x="126883" y="2896284"/>
                </a:lnTo>
                <a:cubicBezTo>
                  <a:pt x="56780" y="2896284"/>
                  <a:pt x="0" y="2839504"/>
                  <a:pt x="0" y="2769401"/>
                </a:cubicBezTo>
                <a:lnTo>
                  <a:pt x="0" y="126883"/>
                </a:lnTo>
                <a:cubicBezTo>
                  <a:pt x="0" y="56780"/>
                  <a:pt x="56780" y="0"/>
                  <a:pt x="126883"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16" name="Vrije vorm: vorm 15">
            <a:extLst>
              <a:ext uri="{FF2B5EF4-FFF2-40B4-BE49-F238E27FC236}">
                <a16:creationId xmlns:a16="http://schemas.microsoft.com/office/drawing/2014/main" id="{9FBEED26-39BA-F10D-A3F6-4163747517D5}"/>
              </a:ext>
            </a:extLst>
          </p:cNvPr>
          <p:cNvSpPr>
            <a:spLocks noGrp="1" noRot="1" noMove="1" noResize="1" noEditPoints="1" noAdjustHandles="1" noChangeArrowheads="1" noChangeShapeType="1"/>
          </p:cNvSpPr>
          <p:nvPr/>
        </p:nvSpPr>
        <p:spPr>
          <a:xfrm>
            <a:off x="6381824" y="0"/>
            <a:ext cx="5646208" cy="377792"/>
          </a:xfrm>
          <a:custGeom>
            <a:avLst/>
            <a:gdLst>
              <a:gd name="connsiteX0" fmla="*/ 0 w 5646208"/>
              <a:gd name="connsiteY0" fmla="*/ 0 h 377792"/>
              <a:gd name="connsiteX1" fmla="*/ 0 w 5646208"/>
              <a:gd name="connsiteY1" fmla="*/ 69849 h 377792"/>
              <a:gd name="connsiteX2" fmla="*/ 126883 w 5646208"/>
              <a:gd name="connsiteY2" fmla="*/ 196731 h 377792"/>
              <a:gd name="connsiteX3" fmla="*/ 1051856 w 5646208"/>
              <a:gd name="connsiteY3" fmla="*/ 196731 h 377792"/>
              <a:gd name="connsiteX4" fmla="*/ 1140293 w 5646208"/>
              <a:gd name="connsiteY4" fmla="*/ 285168 h 377792"/>
              <a:gd name="connsiteX5" fmla="*/ 1228603 w 5646208"/>
              <a:gd name="connsiteY5" fmla="*/ 373606 h 377792"/>
              <a:gd name="connsiteX6" fmla="*/ 4415258 w 5646208"/>
              <a:gd name="connsiteY6" fmla="*/ 377793 h 377792"/>
              <a:gd name="connsiteX7" fmla="*/ 4505916 w 5646208"/>
              <a:gd name="connsiteY7" fmla="*/ 287262 h 377792"/>
              <a:gd name="connsiteX8" fmla="*/ 4596446 w 5646208"/>
              <a:gd name="connsiteY8" fmla="*/ 196731 h 377792"/>
              <a:gd name="connsiteX9" fmla="*/ 5519326 w 5646208"/>
              <a:gd name="connsiteY9" fmla="*/ 196731 h 377792"/>
              <a:gd name="connsiteX10" fmla="*/ 5646209 w 5646208"/>
              <a:gd name="connsiteY10" fmla="*/ 69849 h 377792"/>
              <a:gd name="connsiteX11" fmla="*/ 5646209 w 5646208"/>
              <a:gd name="connsiteY11" fmla="*/ 0 h 377792"/>
              <a:gd name="connsiteX12" fmla="*/ 0 w 5646208"/>
              <a:gd name="connsiteY12" fmla="*/ 0 h 377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46208" h="377792">
                <a:moveTo>
                  <a:pt x="0" y="0"/>
                </a:moveTo>
                <a:lnTo>
                  <a:pt x="0" y="69849"/>
                </a:lnTo>
                <a:cubicBezTo>
                  <a:pt x="0" y="139951"/>
                  <a:pt x="56780" y="196731"/>
                  <a:pt x="126883" y="196731"/>
                </a:cubicBezTo>
                <a:lnTo>
                  <a:pt x="1051856" y="196731"/>
                </a:lnTo>
                <a:cubicBezTo>
                  <a:pt x="1100706" y="196731"/>
                  <a:pt x="1140293" y="236319"/>
                  <a:pt x="1140293" y="285168"/>
                </a:cubicBezTo>
                <a:cubicBezTo>
                  <a:pt x="1140293" y="334018"/>
                  <a:pt x="1179817" y="373542"/>
                  <a:pt x="1228603" y="373606"/>
                </a:cubicBezTo>
                <a:lnTo>
                  <a:pt x="4415258" y="377793"/>
                </a:lnTo>
                <a:cubicBezTo>
                  <a:pt x="4465313" y="377856"/>
                  <a:pt x="4505916" y="337317"/>
                  <a:pt x="4505916" y="287262"/>
                </a:cubicBezTo>
                <a:cubicBezTo>
                  <a:pt x="4505916" y="237207"/>
                  <a:pt x="4546455" y="196731"/>
                  <a:pt x="4596446" y="196731"/>
                </a:cubicBezTo>
                <a:lnTo>
                  <a:pt x="5519326" y="196731"/>
                </a:lnTo>
                <a:cubicBezTo>
                  <a:pt x="5589429" y="196731"/>
                  <a:pt x="5646209" y="139951"/>
                  <a:pt x="5646209" y="69849"/>
                </a:cubicBezTo>
                <a:lnTo>
                  <a:pt x="5646209" y="0"/>
                </a:lnTo>
                <a:lnTo>
                  <a:pt x="0" y="0"/>
                </a:lnTo>
                <a:close/>
              </a:path>
            </a:pathLst>
          </a:custGeom>
          <a:solidFill>
            <a:srgbClr val="F1F0EF"/>
          </a:solidFill>
          <a:ln w="0" cap="flat">
            <a:noFill/>
            <a:prstDash val="solid"/>
            <a:miter/>
          </a:ln>
        </p:spPr>
        <p:txBody>
          <a:bodyPr rtlCol="0" anchor="ctr"/>
          <a:lstStyle/>
          <a:p>
            <a:endParaRPr lang="nl-NL" dirty="0"/>
          </a:p>
        </p:txBody>
      </p:sp>
      <p:pic>
        <p:nvPicPr>
          <p:cNvPr id="22" name="Afbeelding 21">
            <a:extLst>
              <a:ext uri="{FF2B5EF4-FFF2-40B4-BE49-F238E27FC236}">
                <a16:creationId xmlns:a16="http://schemas.microsoft.com/office/drawing/2014/main" id="{B90E9B15-2AD1-A227-37EB-170FA9D4484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6383232" y="0"/>
            <a:ext cx="5644800" cy="380548"/>
          </a:xfrm>
          <a:prstGeom prst="rect">
            <a:avLst/>
          </a:prstGeom>
        </p:spPr>
      </p:pic>
      <p:sp>
        <p:nvSpPr>
          <p:cNvPr id="14" name="Vrije vorm: vorm 13">
            <a:extLst>
              <a:ext uri="{FF2B5EF4-FFF2-40B4-BE49-F238E27FC236}">
                <a16:creationId xmlns:a16="http://schemas.microsoft.com/office/drawing/2014/main" id="{DE32B7E7-8A80-8C2C-86A9-9BE23FE81EC0}"/>
              </a:ext>
            </a:extLst>
          </p:cNvPr>
          <p:cNvSpPr>
            <a:spLocks noGrp="1" noRot="1" noMove="1" noResize="1" noEditPoints="1" noAdjustHandles="1" noChangeArrowheads="1" noChangeShapeType="1"/>
          </p:cNvSpPr>
          <p:nvPr/>
        </p:nvSpPr>
        <p:spPr>
          <a:xfrm>
            <a:off x="6381824" y="6531784"/>
            <a:ext cx="5646272" cy="324121"/>
          </a:xfrm>
          <a:custGeom>
            <a:avLst/>
            <a:gdLst>
              <a:gd name="connsiteX0" fmla="*/ 5646272 w 5646272"/>
              <a:gd name="connsiteY0" fmla="*/ 324122 h 324121"/>
              <a:gd name="connsiteX1" fmla="*/ 5646272 w 5646272"/>
              <a:gd name="connsiteY1" fmla="*/ 126883 h 324121"/>
              <a:gd name="connsiteX2" fmla="*/ 5519390 w 5646272"/>
              <a:gd name="connsiteY2" fmla="*/ 0 h 324121"/>
              <a:gd name="connsiteX3" fmla="*/ 4710958 w 5646272"/>
              <a:gd name="connsiteY3" fmla="*/ 0 h 324121"/>
              <a:gd name="connsiteX4" fmla="*/ 4625185 w 5646272"/>
              <a:gd name="connsiteY4" fmla="*/ 88247 h 324121"/>
              <a:gd name="connsiteX5" fmla="*/ 4539413 w 5646272"/>
              <a:gd name="connsiteY5" fmla="*/ 176558 h 324121"/>
              <a:gd name="connsiteX6" fmla="*/ 1111935 w 5646272"/>
              <a:gd name="connsiteY6" fmla="*/ 176558 h 324121"/>
              <a:gd name="connsiteX7" fmla="*/ 1023625 w 5646272"/>
              <a:gd name="connsiteY7" fmla="*/ 88247 h 324121"/>
              <a:gd name="connsiteX8" fmla="*/ 935314 w 5646272"/>
              <a:gd name="connsiteY8" fmla="*/ 0 h 324121"/>
              <a:gd name="connsiteX9" fmla="*/ 126883 w 5646272"/>
              <a:gd name="connsiteY9" fmla="*/ 0 h 324121"/>
              <a:gd name="connsiteX10" fmla="*/ 0 w 5646272"/>
              <a:gd name="connsiteY10" fmla="*/ 126883 h 324121"/>
              <a:gd name="connsiteX11" fmla="*/ 0 w 5646272"/>
              <a:gd name="connsiteY11" fmla="*/ 324122 h 324121"/>
              <a:gd name="connsiteX12" fmla="*/ 5646272 w 5646272"/>
              <a:gd name="connsiteY12" fmla="*/ 324122 h 32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46272" h="324121">
                <a:moveTo>
                  <a:pt x="5646272" y="324122"/>
                </a:moveTo>
                <a:lnTo>
                  <a:pt x="5646272" y="126883"/>
                </a:lnTo>
                <a:cubicBezTo>
                  <a:pt x="5646272" y="56780"/>
                  <a:pt x="5589492" y="0"/>
                  <a:pt x="5519390" y="0"/>
                </a:cubicBezTo>
                <a:lnTo>
                  <a:pt x="4710958" y="0"/>
                </a:lnTo>
                <a:cubicBezTo>
                  <a:pt x="4662616" y="0"/>
                  <a:pt x="4623790" y="39905"/>
                  <a:pt x="4625185" y="88247"/>
                </a:cubicBezTo>
                <a:cubicBezTo>
                  <a:pt x="4626581" y="136589"/>
                  <a:pt x="4587818" y="176558"/>
                  <a:pt x="4539413" y="176558"/>
                </a:cubicBezTo>
                <a:lnTo>
                  <a:pt x="1111935" y="176558"/>
                </a:lnTo>
                <a:cubicBezTo>
                  <a:pt x="1063149" y="176558"/>
                  <a:pt x="1023625" y="137034"/>
                  <a:pt x="1023625" y="88247"/>
                </a:cubicBezTo>
                <a:cubicBezTo>
                  <a:pt x="1023625" y="39461"/>
                  <a:pt x="984101" y="0"/>
                  <a:pt x="935314" y="0"/>
                </a:cubicBezTo>
                <a:lnTo>
                  <a:pt x="126883" y="0"/>
                </a:lnTo>
                <a:cubicBezTo>
                  <a:pt x="56780" y="0"/>
                  <a:pt x="0" y="56780"/>
                  <a:pt x="0" y="126883"/>
                </a:cubicBezTo>
                <a:lnTo>
                  <a:pt x="0" y="324122"/>
                </a:lnTo>
                <a:lnTo>
                  <a:pt x="5646272" y="324122"/>
                </a:lnTo>
                <a:close/>
              </a:path>
            </a:pathLst>
          </a:custGeom>
          <a:solidFill>
            <a:srgbClr val="F1F0EF"/>
          </a:solidFill>
          <a:ln w="0" cap="flat">
            <a:noFill/>
            <a:prstDash val="solid"/>
            <a:miter/>
          </a:ln>
        </p:spPr>
        <p:txBody>
          <a:bodyPr rtlCol="0" anchor="ctr"/>
          <a:lstStyle/>
          <a:p>
            <a:endParaRPr lang="nl-NL" dirty="0"/>
          </a:p>
        </p:txBody>
      </p:sp>
      <p:pic>
        <p:nvPicPr>
          <p:cNvPr id="26" name="Afbeelding 25">
            <a:extLst>
              <a:ext uri="{FF2B5EF4-FFF2-40B4-BE49-F238E27FC236}">
                <a16:creationId xmlns:a16="http://schemas.microsoft.com/office/drawing/2014/main" id="{3D6AF57A-24CD-A0A5-4477-D48139884280}"/>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Lst>
          </a:blip>
          <a:stretch>
            <a:fillRect/>
          </a:stretch>
        </p:blipFill>
        <p:spPr>
          <a:xfrm>
            <a:off x="6383296" y="6532439"/>
            <a:ext cx="5644800" cy="323466"/>
          </a:xfrm>
          <a:prstGeom prst="rect">
            <a:avLst/>
          </a:prstGeom>
        </p:spPr>
      </p:pic>
      <p:pic>
        <p:nvPicPr>
          <p:cNvPr id="7" name="Logo">
            <a:extLst>
              <a:ext uri="{FF2B5EF4-FFF2-40B4-BE49-F238E27FC236}">
                <a16:creationId xmlns:a16="http://schemas.microsoft.com/office/drawing/2014/main" id="{AC489F20-3F13-1ABA-CB92-285A2026B888}"/>
              </a:ext>
            </a:extLst>
          </p:cNvPr>
          <p:cNvPicPr>
            <a:picLocks noGrp="1" noRo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255969"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2341260"/>
            <a:ext cx="4536000" cy="503984"/>
          </a:xfrm>
        </p:spPr>
        <p:txBody>
          <a:bodyPr anchor="t" anchorCtr="0"/>
          <a:lstStyle>
            <a:lvl1pPr algn="l">
              <a:defRPr sz="3000"/>
            </a:lvl1pPr>
          </a:lstStyle>
          <a:p>
            <a:r>
              <a:rPr lang="nl-NL" dirty="0"/>
              <a:t>Afsluitende tekst</a:t>
            </a:r>
          </a:p>
        </p:txBody>
      </p:sp>
      <p:sp>
        <p:nvSpPr>
          <p:cNvPr id="10" name="Tijdelijke aanduiding voor tekst 2">
            <a:extLst>
              <a:ext uri="{FF2B5EF4-FFF2-40B4-BE49-F238E27FC236}">
                <a16:creationId xmlns:a16="http://schemas.microsoft.com/office/drawing/2014/main" id="{AB85A975-35A9-825D-45B3-2088523CD9A1}"/>
              </a:ext>
            </a:extLst>
          </p:cNvPr>
          <p:cNvSpPr>
            <a:spLocks noGrp="1"/>
          </p:cNvSpPr>
          <p:nvPr>
            <p:ph type="body" idx="10" hasCustomPrompt="1"/>
          </p:nvPr>
        </p:nvSpPr>
        <p:spPr>
          <a:xfrm>
            <a:off x="152998" y="2066925"/>
            <a:ext cx="1485302" cy="183600"/>
          </a:xfrm>
          <a:prstGeom prst="roundRect">
            <a:avLst>
              <a:gd name="adj" fmla="val 50000"/>
            </a:avLst>
          </a:prstGeom>
          <a:solidFill>
            <a:schemeClr val="accent1"/>
          </a:solidFill>
        </p:spPr>
        <p:txBody>
          <a:bodyPr wrap="none" anchor="ctr" anchorCtr="0">
            <a:noAutofit/>
          </a:bodyPr>
          <a:lstStyle>
            <a:lvl1pPr marL="0" indent="0" algn="ctr">
              <a:lnSpc>
                <a:spcPct val="100000"/>
              </a:lnSpc>
              <a:buNone/>
              <a:defRPr sz="75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Datum | PLAATS</a:t>
            </a:r>
          </a:p>
        </p:txBody>
      </p:sp>
      <p:sp>
        <p:nvSpPr>
          <p:cNvPr id="2" name="Tijdelijke aanduiding voor tekst 2">
            <a:extLst>
              <a:ext uri="{FF2B5EF4-FFF2-40B4-BE49-F238E27FC236}">
                <a16:creationId xmlns:a16="http://schemas.microsoft.com/office/drawing/2014/main" id="{0ABA58EC-3B35-1CC0-F210-120DC6A27C6D}"/>
              </a:ext>
            </a:extLst>
          </p:cNvPr>
          <p:cNvSpPr>
            <a:spLocks noGrp="1"/>
          </p:cNvSpPr>
          <p:nvPr>
            <p:ph type="body" idx="1" hasCustomPrompt="1"/>
          </p:nvPr>
        </p:nvSpPr>
        <p:spPr>
          <a:xfrm>
            <a:off x="152998" y="4547552"/>
            <a:ext cx="4536000" cy="222305"/>
          </a:xfrm>
        </p:spPr>
        <p:txBody>
          <a:bodyPr anchor="t" anchorCtr="0">
            <a:spAutoFit/>
          </a:bodyPr>
          <a:lstStyle>
            <a:lvl1pPr marL="0" indent="0">
              <a:buNone/>
              <a:defRPr sz="1400" b="0" spc="2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ekst (Adres, website adres, e-mail adres, etc.)</a:t>
            </a:r>
          </a:p>
        </p:txBody>
      </p:sp>
    </p:spTree>
    <p:extLst>
      <p:ext uri="{BB962C8B-B14F-4D97-AF65-F5344CB8AC3E}">
        <p14:creationId xmlns:p14="http://schemas.microsoft.com/office/powerpoint/2010/main" val="3432770701"/>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fsluiting - 2">
    <p:spTree>
      <p:nvGrpSpPr>
        <p:cNvPr id="1" name=""/>
        <p:cNvGrpSpPr/>
        <p:nvPr/>
      </p:nvGrpSpPr>
      <p:grpSpPr>
        <a:xfrm>
          <a:off x="0" y="0"/>
          <a:ext cx="0" cy="0"/>
          <a:chOff x="0" y="0"/>
          <a:chExt cx="0" cy="0"/>
        </a:xfrm>
      </p:grpSpPr>
      <p:sp>
        <p:nvSpPr>
          <p:cNvPr id="2" name="Vrije vorm: vorm 1">
            <a:extLst>
              <a:ext uri="{FF2B5EF4-FFF2-40B4-BE49-F238E27FC236}">
                <a16:creationId xmlns:a16="http://schemas.microsoft.com/office/drawing/2014/main" id="{1F1B54BB-6033-705E-85A1-EDA5088A80B2}"/>
              </a:ext>
            </a:extLst>
          </p:cNvPr>
          <p:cNvSpPr>
            <a:spLocks noGrp="1" noRot="1" noMove="1" noResize="1" noEditPoints="1" noAdjustHandles="1" noChangeArrowheads="1" noChangeShapeType="1"/>
          </p:cNvSpPr>
          <p:nvPr userDrawn="1"/>
        </p:nvSpPr>
        <p:spPr>
          <a:xfrm>
            <a:off x="63626" y="63500"/>
            <a:ext cx="12064873" cy="6731000"/>
          </a:xfrm>
          <a:custGeom>
            <a:avLst/>
            <a:gdLst>
              <a:gd name="connsiteX0" fmla="*/ 127000 w 12064873"/>
              <a:gd name="connsiteY0" fmla="*/ 0 h 6731000"/>
              <a:gd name="connsiteX1" fmla="*/ 1787398 w 12064873"/>
              <a:gd name="connsiteY1" fmla="*/ 0 h 6731000"/>
              <a:gd name="connsiteX2" fmla="*/ 7298591 w 12064873"/>
              <a:gd name="connsiteY2" fmla="*/ 0 h 6731000"/>
              <a:gd name="connsiteX3" fmla="*/ 11937873 w 12064873"/>
              <a:gd name="connsiteY3" fmla="*/ 0 h 6731000"/>
              <a:gd name="connsiteX4" fmla="*/ 12064873 w 12064873"/>
              <a:gd name="connsiteY4" fmla="*/ 127000 h 6731000"/>
              <a:gd name="connsiteX5" fmla="*/ 12064873 w 12064873"/>
              <a:gd name="connsiteY5" fmla="*/ 6604000 h 6731000"/>
              <a:gd name="connsiteX6" fmla="*/ 11937873 w 12064873"/>
              <a:gd name="connsiteY6" fmla="*/ 6731000 h 6731000"/>
              <a:gd name="connsiteX7" fmla="*/ 7298591 w 12064873"/>
              <a:gd name="connsiteY7" fmla="*/ 6731000 h 6731000"/>
              <a:gd name="connsiteX8" fmla="*/ 133096 w 12064873"/>
              <a:gd name="connsiteY8" fmla="*/ 6731000 h 6731000"/>
              <a:gd name="connsiteX9" fmla="*/ 127000 w 12064873"/>
              <a:gd name="connsiteY9" fmla="*/ 6731000 h 6731000"/>
              <a:gd name="connsiteX10" fmla="*/ 0 w 12064873"/>
              <a:gd name="connsiteY10" fmla="*/ 6604000 h 6731000"/>
              <a:gd name="connsiteX11" fmla="*/ 0 w 12064873"/>
              <a:gd name="connsiteY11" fmla="*/ 806577 h 6731000"/>
              <a:gd name="connsiteX12" fmla="*/ 0 w 12064873"/>
              <a:gd name="connsiteY12" fmla="*/ 127000 h 6731000"/>
              <a:gd name="connsiteX13" fmla="*/ 127000 w 12064873"/>
              <a:gd name="connsiteY13" fmla="*/ 0 h 6731000"/>
              <a:gd name="connsiteX0" fmla="*/ 127000 w 12064873"/>
              <a:gd name="connsiteY0" fmla="*/ 0 h 6731000"/>
              <a:gd name="connsiteX1" fmla="*/ 7298591 w 12064873"/>
              <a:gd name="connsiteY1" fmla="*/ 0 h 6731000"/>
              <a:gd name="connsiteX2" fmla="*/ 11937873 w 12064873"/>
              <a:gd name="connsiteY2" fmla="*/ 0 h 6731000"/>
              <a:gd name="connsiteX3" fmla="*/ 12064873 w 12064873"/>
              <a:gd name="connsiteY3" fmla="*/ 127000 h 6731000"/>
              <a:gd name="connsiteX4" fmla="*/ 12064873 w 12064873"/>
              <a:gd name="connsiteY4" fmla="*/ 6604000 h 6731000"/>
              <a:gd name="connsiteX5" fmla="*/ 11937873 w 12064873"/>
              <a:gd name="connsiteY5" fmla="*/ 6731000 h 6731000"/>
              <a:gd name="connsiteX6" fmla="*/ 7298591 w 12064873"/>
              <a:gd name="connsiteY6" fmla="*/ 6731000 h 6731000"/>
              <a:gd name="connsiteX7" fmla="*/ 133096 w 12064873"/>
              <a:gd name="connsiteY7" fmla="*/ 6731000 h 6731000"/>
              <a:gd name="connsiteX8" fmla="*/ 127000 w 12064873"/>
              <a:gd name="connsiteY8" fmla="*/ 6731000 h 6731000"/>
              <a:gd name="connsiteX9" fmla="*/ 0 w 12064873"/>
              <a:gd name="connsiteY9" fmla="*/ 6604000 h 6731000"/>
              <a:gd name="connsiteX10" fmla="*/ 0 w 12064873"/>
              <a:gd name="connsiteY10" fmla="*/ 806577 h 6731000"/>
              <a:gd name="connsiteX11" fmla="*/ 0 w 12064873"/>
              <a:gd name="connsiteY11" fmla="*/ 127000 h 6731000"/>
              <a:gd name="connsiteX12" fmla="*/ 127000 w 12064873"/>
              <a:gd name="connsiteY12"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7298591 w 12064873"/>
              <a:gd name="connsiteY5" fmla="*/ 6731000 h 6731000"/>
              <a:gd name="connsiteX6" fmla="*/ 133096 w 12064873"/>
              <a:gd name="connsiteY6" fmla="*/ 6731000 h 6731000"/>
              <a:gd name="connsiteX7" fmla="*/ 127000 w 12064873"/>
              <a:gd name="connsiteY7" fmla="*/ 6731000 h 6731000"/>
              <a:gd name="connsiteX8" fmla="*/ 0 w 12064873"/>
              <a:gd name="connsiteY8" fmla="*/ 6604000 h 6731000"/>
              <a:gd name="connsiteX9" fmla="*/ 0 w 12064873"/>
              <a:gd name="connsiteY9" fmla="*/ 806577 h 6731000"/>
              <a:gd name="connsiteX10" fmla="*/ 0 w 12064873"/>
              <a:gd name="connsiteY10" fmla="*/ 127000 h 6731000"/>
              <a:gd name="connsiteX11" fmla="*/ 127000 w 12064873"/>
              <a:gd name="connsiteY11"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806577 h 6731000"/>
              <a:gd name="connsiteX9" fmla="*/ 0 w 12064873"/>
              <a:gd name="connsiteY9" fmla="*/ 127000 h 6731000"/>
              <a:gd name="connsiteX10" fmla="*/ 127000 w 12064873"/>
              <a:gd name="connsiteY10" fmla="*/ 0 h 6731000"/>
              <a:gd name="connsiteX0" fmla="*/ 127000 w 12064873"/>
              <a:gd name="connsiteY0" fmla="*/ 0 h 6731000"/>
              <a:gd name="connsiteX1" fmla="*/ 11937873 w 12064873"/>
              <a:gd name="connsiteY1" fmla="*/ 0 h 6731000"/>
              <a:gd name="connsiteX2" fmla="*/ 12064873 w 12064873"/>
              <a:gd name="connsiteY2" fmla="*/ 127000 h 6731000"/>
              <a:gd name="connsiteX3" fmla="*/ 12064873 w 12064873"/>
              <a:gd name="connsiteY3" fmla="*/ 6604000 h 6731000"/>
              <a:gd name="connsiteX4" fmla="*/ 11937873 w 12064873"/>
              <a:gd name="connsiteY4" fmla="*/ 6731000 h 6731000"/>
              <a:gd name="connsiteX5" fmla="*/ 133096 w 12064873"/>
              <a:gd name="connsiteY5" fmla="*/ 6731000 h 6731000"/>
              <a:gd name="connsiteX6" fmla="*/ 127000 w 12064873"/>
              <a:gd name="connsiteY6" fmla="*/ 6731000 h 6731000"/>
              <a:gd name="connsiteX7" fmla="*/ 0 w 12064873"/>
              <a:gd name="connsiteY7" fmla="*/ 6604000 h 6731000"/>
              <a:gd name="connsiteX8" fmla="*/ 0 w 12064873"/>
              <a:gd name="connsiteY8" fmla="*/ 127000 h 6731000"/>
              <a:gd name="connsiteX9" fmla="*/ 127000 w 12064873"/>
              <a:gd name="connsiteY9"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4873" h="6731000">
                <a:moveTo>
                  <a:pt x="127000" y="0"/>
                </a:moveTo>
                <a:lnTo>
                  <a:pt x="11937873" y="0"/>
                </a:lnTo>
                <a:cubicBezTo>
                  <a:pt x="12008041" y="0"/>
                  <a:pt x="12064873" y="56833"/>
                  <a:pt x="12064873" y="127000"/>
                </a:cubicBezTo>
                <a:lnTo>
                  <a:pt x="12064873" y="6604000"/>
                </a:lnTo>
                <a:cubicBezTo>
                  <a:pt x="12064873" y="6674168"/>
                  <a:pt x="12008041" y="6731000"/>
                  <a:pt x="11937873" y="6731000"/>
                </a:cubicBezTo>
                <a:lnTo>
                  <a:pt x="133096" y="6731000"/>
                </a:lnTo>
                <a:lnTo>
                  <a:pt x="127000" y="6731000"/>
                </a:lnTo>
                <a:cubicBezTo>
                  <a:pt x="56832" y="6731000"/>
                  <a:pt x="0" y="6674168"/>
                  <a:pt x="0" y="6604000"/>
                </a:cubicBezTo>
                <a:lnTo>
                  <a:pt x="0" y="127000"/>
                </a:lnTo>
                <a:cubicBezTo>
                  <a:pt x="0" y="56833"/>
                  <a:pt x="56832" y="0"/>
                  <a:pt x="127000" y="0"/>
                </a:cubicBezTo>
                <a:close/>
              </a:path>
            </a:pathLst>
          </a:custGeom>
          <a:solidFill>
            <a:srgbClr val="FFFFFF"/>
          </a:solidFill>
          <a:ln w="0" cap="flat">
            <a:noFill/>
            <a:prstDash val="solid"/>
            <a:miter/>
          </a:ln>
        </p:spPr>
        <p:txBody>
          <a:bodyPr rtlCol="0" anchor="ctr"/>
          <a:lstStyle/>
          <a:p>
            <a:endParaRPr lang="nl-NL" dirty="0"/>
          </a:p>
        </p:txBody>
      </p:sp>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152998" y="4428124"/>
            <a:ext cx="5940000" cy="503984"/>
          </a:xfrm>
        </p:spPr>
        <p:txBody>
          <a:bodyPr anchor="b" anchorCtr="0"/>
          <a:lstStyle>
            <a:lvl1pPr algn="l">
              <a:defRPr sz="3000"/>
            </a:lvl1pPr>
          </a:lstStyle>
          <a:p>
            <a:r>
              <a:rPr lang="nl-NL" dirty="0"/>
              <a:t>Titel over </a:t>
            </a:r>
            <a:r>
              <a:rPr lang="nl-NL"/>
              <a:t>maximaal 2 </a:t>
            </a:r>
            <a:r>
              <a:rPr lang="nl-NL" dirty="0"/>
              <a:t>regels</a:t>
            </a:r>
          </a:p>
        </p:txBody>
      </p:sp>
      <p:sp>
        <p:nvSpPr>
          <p:cNvPr id="4" name="Afbeeldingsplaceholder">
            <a:extLst>
              <a:ext uri="{FF2B5EF4-FFF2-40B4-BE49-F238E27FC236}">
                <a16:creationId xmlns:a16="http://schemas.microsoft.com/office/drawing/2014/main" id="{65B1B5DF-E43D-996E-1C0F-F750280012E5}"/>
              </a:ext>
            </a:extLst>
          </p:cNvPr>
          <p:cNvSpPr>
            <a:spLocks noGrp="1"/>
          </p:cNvSpPr>
          <p:nvPr>
            <p:ph type="pic" sz="quarter" idx="14"/>
          </p:nvPr>
        </p:nvSpPr>
        <p:spPr>
          <a:xfrm>
            <a:off x="6772275" y="127000"/>
            <a:ext cx="5289550" cy="6604000"/>
          </a:xfrm>
          <a:custGeom>
            <a:avLst/>
            <a:gdLst>
              <a:gd name="connsiteX0" fmla="*/ 127000 w 5289550"/>
              <a:gd name="connsiteY0" fmla="*/ 0 h 6604000"/>
              <a:gd name="connsiteX1" fmla="*/ 3514725 w 5289550"/>
              <a:gd name="connsiteY1" fmla="*/ 0 h 6604000"/>
              <a:gd name="connsiteX2" fmla="*/ 3641725 w 5289550"/>
              <a:gd name="connsiteY2" fmla="*/ 127000 h 6604000"/>
              <a:gd name="connsiteX3" fmla="*/ 3641725 w 5289550"/>
              <a:gd name="connsiteY3" fmla="*/ 558800 h 6604000"/>
              <a:gd name="connsiteX4" fmla="*/ 3768725 w 5289550"/>
              <a:gd name="connsiteY4" fmla="*/ 685800 h 6604000"/>
              <a:gd name="connsiteX5" fmla="*/ 5162550 w 5289550"/>
              <a:gd name="connsiteY5" fmla="*/ 685800 h 6604000"/>
              <a:gd name="connsiteX6" fmla="*/ 5289550 w 5289550"/>
              <a:gd name="connsiteY6" fmla="*/ 812800 h 6604000"/>
              <a:gd name="connsiteX7" fmla="*/ 5289550 w 5289550"/>
              <a:gd name="connsiteY7" fmla="*/ 6477000 h 6604000"/>
              <a:gd name="connsiteX8" fmla="*/ 5162550 w 5289550"/>
              <a:gd name="connsiteY8" fmla="*/ 6604000 h 6604000"/>
              <a:gd name="connsiteX9" fmla="*/ 127000 w 5289550"/>
              <a:gd name="connsiteY9" fmla="*/ 6604000 h 6604000"/>
              <a:gd name="connsiteX10" fmla="*/ 0 w 5289550"/>
              <a:gd name="connsiteY10" fmla="*/ 6477000 h 6604000"/>
              <a:gd name="connsiteX11" fmla="*/ 0 w 5289550"/>
              <a:gd name="connsiteY11" fmla="*/ 127000 h 6604000"/>
              <a:gd name="connsiteX12" fmla="*/ 127000 w 5289550"/>
              <a:gd name="connsiteY12" fmla="*/ 0 h 66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9550" h="6604000">
                <a:moveTo>
                  <a:pt x="127000" y="0"/>
                </a:moveTo>
                <a:lnTo>
                  <a:pt x="3514725" y="0"/>
                </a:lnTo>
                <a:cubicBezTo>
                  <a:pt x="3584575" y="0"/>
                  <a:pt x="3641725" y="56833"/>
                  <a:pt x="3641725" y="127000"/>
                </a:cubicBezTo>
                <a:lnTo>
                  <a:pt x="3641725" y="558800"/>
                </a:lnTo>
                <a:cubicBezTo>
                  <a:pt x="3641725" y="628968"/>
                  <a:pt x="3698875" y="685800"/>
                  <a:pt x="3768725" y="685800"/>
                </a:cubicBezTo>
                <a:lnTo>
                  <a:pt x="5162550" y="685800"/>
                </a:lnTo>
                <a:cubicBezTo>
                  <a:pt x="5232400" y="685800"/>
                  <a:pt x="5289550" y="742633"/>
                  <a:pt x="5289550" y="812800"/>
                </a:cubicBezTo>
                <a:lnTo>
                  <a:pt x="5289550" y="6477000"/>
                </a:lnTo>
                <a:cubicBezTo>
                  <a:pt x="5289550" y="6547168"/>
                  <a:pt x="5232400" y="6604000"/>
                  <a:pt x="5162550" y="6604000"/>
                </a:cubicBezTo>
                <a:lnTo>
                  <a:pt x="127000" y="6604000"/>
                </a:lnTo>
                <a:cubicBezTo>
                  <a:pt x="57150" y="6604000"/>
                  <a:pt x="0" y="6547168"/>
                  <a:pt x="0" y="6477000"/>
                </a:cubicBezTo>
                <a:lnTo>
                  <a:pt x="0" y="127000"/>
                </a:lnTo>
                <a:cubicBezTo>
                  <a:pt x="0" y="56833"/>
                  <a:pt x="57150" y="0"/>
                  <a:pt x="12700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pic>
        <p:nvPicPr>
          <p:cNvPr id="6" name="Graphic 5">
            <a:extLst>
              <a:ext uri="{FF2B5EF4-FFF2-40B4-BE49-F238E27FC236}">
                <a16:creationId xmlns:a16="http://schemas.microsoft.com/office/drawing/2014/main" id="{F056BD35-F1CB-BCA0-C1F7-05FD78AE9C68}"/>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210641" y="5141596"/>
            <a:ext cx="229414" cy="1288732"/>
          </a:xfrm>
          <a:prstGeom prst="rect">
            <a:avLst/>
          </a:prstGeom>
        </p:spPr>
      </p:pic>
      <p:sp>
        <p:nvSpPr>
          <p:cNvPr id="7" name="Tijdelijke aanduiding voor tekst 8">
            <a:extLst>
              <a:ext uri="{FF2B5EF4-FFF2-40B4-BE49-F238E27FC236}">
                <a16:creationId xmlns:a16="http://schemas.microsoft.com/office/drawing/2014/main" id="{09FC232A-C893-83F6-4E02-5E67A20A4787}"/>
              </a:ext>
            </a:extLst>
          </p:cNvPr>
          <p:cNvSpPr>
            <a:spLocks noGrp="1"/>
          </p:cNvSpPr>
          <p:nvPr>
            <p:ph type="body" sz="quarter" idx="13" hasCustomPrompt="1"/>
          </p:nvPr>
        </p:nvSpPr>
        <p:spPr>
          <a:xfrm>
            <a:off x="621030" y="517391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LinkedIn</a:t>
            </a:r>
            <a:endParaRPr lang="nl-NL" dirty="0"/>
          </a:p>
        </p:txBody>
      </p:sp>
      <p:sp>
        <p:nvSpPr>
          <p:cNvPr id="11" name="Tijdelijke aanduiding voor tekst 8">
            <a:extLst>
              <a:ext uri="{FF2B5EF4-FFF2-40B4-BE49-F238E27FC236}">
                <a16:creationId xmlns:a16="http://schemas.microsoft.com/office/drawing/2014/main" id="{9047013F-A44B-FEAE-B5FB-1DA7C5D039BF}"/>
              </a:ext>
            </a:extLst>
          </p:cNvPr>
          <p:cNvSpPr>
            <a:spLocks noGrp="1"/>
          </p:cNvSpPr>
          <p:nvPr>
            <p:ph type="body" sz="quarter" idx="15" hasCustomPrompt="1"/>
          </p:nvPr>
        </p:nvSpPr>
        <p:spPr>
          <a:xfrm>
            <a:off x="621030" y="552443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PEPPER podcast</a:t>
            </a:r>
            <a:endParaRPr lang="nl-NL" dirty="0"/>
          </a:p>
        </p:txBody>
      </p:sp>
      <p:sp>
        <p:nvSpPr>
          <p:cNvPr id="12" name="Tijdelijke aanduiding voor tekst 8">
            <a:extLst>
              <a:ext uri="{FF2B5EF4-FFF2-40B4-BE49-F238E27FC236}">
                <a16:creationId xmlns:a16="http://schemas.microsoft.com/office/drawing/2014/main" id="{A92BA6E2-7D56-1BF6-4EDF-2C5ADB119435}"/>
              </a:ext>
            </a:extLst>
          </p:cNvPr>
          <p:cNvSpPr>
            <a:spLocks noGrp="1"/>
          </p:cNvSpPr>
          <p:nvPr>
            <p:ph type="body" sz="quarter" idx="16" hasCustomPrompt="1"/>
          </p:nvPr>
        </p:nvSpPr>
        <p:spPr>
          <a:xfrm>
            <a:off x="621030" y="587495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Website</a:t>
            </a:r>
            <a:endParaRPr lang="nl-NL" dirty="0"/>
          </a:p>
        </p:txBody>
      </p:sp>
      <p:sp>
        <p:nvSpPr>
          <p:cNvPr id="13" name="Tijdelijke aanduiding voor tekst 8">
            <a:extLst>
              <a:ext uri="{FF2B5EF4-FFF2-40B4-BE49-F238E27FC236}">
                <a16:creationId xmlns:a16="http://schemas.microsoft.com/office/drawing/2014/main" id="{1F195676-ECA0-54EE-F94D-E4A5F8A647FF}"/>
              </a:ext>
            </a:extLst>
          </p:cNvPr>
          <p:cNvSpPr>
            <a:spLocks noGrp="1"/>
          </p:cNvSpPr>
          <p:nvPr>
            <p:ph type="body" sz="quarter" idx="17" hasCustomPrompt="1"/>
          </p:nvPr>
        </p:nvSpPr>
        <p:spPr>
          <a:xfrm>
            <a:off x="621030" y="622547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Nieuwsbrief</a:t>
            </a:r>
            <a:endParaRPr lang="nl-NL" dirty="0"/>
          </a:p>
        </p:txBody>
      </p:sp>
    </p:spTree>
    <p:extLst>
      <p:ext uri="{BB962C8B-B14F-4D97-AF65-F5344CB8AC3E}">
        <p14:creationId xmlns:p14="http://schemas.microsoft.com/office/powerpoint/2010/main" val="269033533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fsluiting Persoonlijk">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0635CD33-D1B6-93D4-659F-D35A77EE4FE5}"/>
              </a:ext>
            </a:extLst>
          </p:cNvPr>
          <p:cNvPicPr>
            <a:picLocks noGrp="1" noRo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10572966" y="286902"/>
            <a:ext cx="1302321" cy="268243"/>
          </a:xfrm>
          <a:prstGeom prst="rect">
            <a:avLst/>
          </a:prstGeom>
        </p:spPr>
      </p:pic>
      <p:sp>
        <p:nvSpPr>
          <p:cNvPr id="17" name="Vrije vorm: vorm 16">
            <a:extLst>
              <a:ext uri="{FF2B5EF4-FFF2-40B4-BE49-F238E27FC236}">
                <a16:creationId xmlns:a16="http://schemas.microsoft.com/office/drawing/2014/main" id="{F34E8976-65F4-FF05-FB21-43A8304950FD}"/>
              </a:ext>
            </a:extLst>
          </p:cNvPr>
          <p:cNvSpPr>
            <a:spLocks noGrp="1" noRot="1" noMove="1" noResize="1" noEditPoints="1" noAdjustHandles="1" noChangeArrowheads="1" noChangeShapeType="1"/>
          </p:cNvSpPr>
          <p:nvPr userDrawn="1"/>
        </p:nvSpPr>
        <p:spPr>
          <a:xfrm flipH="1">
            <a:off x="5611338" y="63499"/>
            <a:ext cx="6516685" cy="6731000"/>
          </a:xfrm>
          <a:custGeom>
            <a:avLst/>
            <a:gdLst>
              <a:gd name="connsiteX0" fmla="*/ 6389685 w 6516685"/>
              <a:gd name="connsiteY0" fmla="*/ 0 h 6731000"/>
              <a:gd name="connsiteX1" fmla="*/ 2313463 w 6516685"/>
              <a:gd name="connsiteY1" fmla="*/ 0 h 6731000"/>
              <a:gd name="connsiteX2" fmla="*/ 2313463 w 6516685"/>
              <a:gd name="connsiteY2" fmla="*/ 781 h 6731000"/>
              <a:gd name="connsiteX3" fmla="*/ 1787191 w 6516685"/>
              <a:gd name="connsiteY3" fmla="*/ 781 h 6731000"/>
              <a:gd name="connsiteX4" fmla="*/ 1660206 w 6516685"/>
              <a:gd name="connsiteY4" fmla="*/ 127766 h 6731000"/>
              <a:gd name="connsiteX5" fmla="*/ 1660206 w 6516685"/>
              <a:gd name="connsiteY5" fmla="*/ 553167 h 6731000"/>
              <a:gd name="connsiteX6" fmla="*/ 1533220 w 6516685"/>
              <a:gd name="connsiteY6" fmla="*/ 680152 h 6731000"/>
              <a:gd name="connsiteX7" fmla="*/ 126985 w 6516685"/>
              <a:gd name="connsiteY7" fmla="*/ 680152 h 6731000"/>
              <a:gd name="connsiteX8" fmla="*/ 0 w 6516685"/>
              <a:gd name="connsiteY8" fmla="*/ 807264 h 6731000"/>
              <a:gd name="connsiteX9" fmla="*/ 6095 w 6516685"/>
              <a:gd name="connsiteY9" fmla="*/ 6604142 h 6731000"/>
              <a:gd name="connsiteX10" fmla="*/ 133081 w 6516685"/>
              <a:gd name="connsiteY10" fmla="*/ 6731000 h 6731000"/>
              <a:gd name="connsiteX11" fmla="*/ 2313463 w 6516685"/>
              <a:gd name="connsiteY11" fmla="*/ 6731000 h 6731000"/>
              <a:gd name="connsiteX12" fmla="*/ 3852703 w 6516685"/>
              <a:gd name="connsiteY12" fmla="*/ 6731000 h 6731000"/>
              <a:gd name="connsiteX13" fmla="*/ 6383589 w 6516685"/>
              <a:gd name="connsiteY13" fmla="*/ 6731000 h 6731000"/>
              <a:gd name="connsiteX14" fmla="*/ 6389685 w 6516685"/>
              <a:gd name="connsiteY14" fmla="*/ 6731000 h 6731000"/>
              <a:gd name="connsiteX15" fmla="*/ 6516685 w 6516685"/>
              <a:gd name="connsiteY15" fmla="*/ 6604000 h 6731000"/>
              <a:gd name="connsiteX16" fmla="*/ 6516685 w 6516685"/>
              <a:gd name="connsiteY16" fmla="*/ 127000 h 6731000"/>
              <a:gd name="connsiteX17" fmla="*/ 6389685 w 6516685"/>
              <a:gd name="connsiteY17" fmla="*/ 0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16685" h="6731000">
                <a:moveTo>
                  <a:pt x="6389685" y="0"/>
                </a:moveTo>
                <a:lnTo>
                  <a:pt x="2313463" y="0"/>
                </a:lnTo>
                <a:lnTo>
                  <a:pt x="2313463" y="781"/>
                </a:lnTo>
                <a:lnTo>
                  <a:pt x="1787191" y="781"/>
                </a:lnTo>
                <a:cubicBezTo>
                  <a:pt x="1717031" y="781"/>
                  <a:pt x="1660206" y="57607"/>
                  <a:pt x="1660206" y="127766"/>
                </a:cubicBezTo>
                <a:lnTo>
                  <a:pt x="1660206" y="553167"/>
                </a:lnTo>
                <a:cubicBezTo>
                  <a:pt x="1660206" y="623326"/>
                  <a:pt x="1603380" y="680152"/>
                  <a:pt x="1533220" y="680152"/>
                </a:cubicBezTo>
                <a:lnTo>
                  <a:pt x="126985" y="680152"/>
                </a:lnTo>
                <a:cubicBezTo>
                  <a:pt x="56826" y="680152"/>
                  <a:pt x="-63" y="737105"/>
                  <a:pt x="0" y="807264"/>
                </a:cubicBezTo>
                <a:cubicBezTo>
                  <a:pt x="2032" y="2739557"/>
                  <a:pt x="4063" y="4671849"/>
                  <a:pt x="6095" y="6604142"/>
                </a:cubicBezTo>
                <a:cubicBezTo>
                  <a:pt x="6159" y="6674238"/>
                  <a:pt x="62985" y="6731000"/>
                  <a:pt x="133081" y="6731000"/>
                </a:cubicBezTo>
                <a:lnTo>
                  <a:pt x="2313463" y="6731000"/>
                </a:lnTo>
                <a:lnTo>
                  <a:pt x="3852703" y="6731000"/>
                </a:lnTo>
                <a:lnTo>
                  <a:pt x="6383589" y="6731000"/>
                </a:lnTo>
                <a:lnTo>
                  <a:pt x="6389685" y="6731000"/>
                </a:lnTo>
                <a:cubicBezTo>
                  <a:pt x="6459853" y="6731000"/>
                  <a:pt x="6516685" y="6674168"/>
                  <a:pt x="6516685" y="6604000"/>
                </a:cubicBezTo>
                <a:lnTo>
                  <a:pt x="6516685" y="127000"/>
                </a:lnTo>
                <a:cubicBezTo>
                  <a:pt x="6516685" y="56833"/>
                  <a:pt x="6459853" y="0"/>
                  <a:pt x="6389685" y="0"/>
                </a:cubicBezTo>
                <a:close/>
              </a:path>
            </a:pathLst>
          </a:custGeom>
          <a:solidFill>
            <a:schemeClr val="bg1"/>
          </a:solidFill>
          <a:ln w="0" cap="flat">
            <a:noFill/>
            <a:prstDash val="solid"/>
            <a:miter/>
          </a:ln>
        </p:spPr>
        <p:txBody>
          <a:bodyPr rtlCol="0" anchor="ctr"/>
          <a:lstStyle/>
          <a:p>
            <a:endParaRPr lang="en-GB"/>
          </a:p>
        </p:txBody>
      </p:sp>
      <p:sp>
        <p:nvSpPr>
          <p:cNvPr id="20" name="Tijdelijke aanduiding voor afbeelding 19">
            <a:extLst>
              <a:ext uri="{FF2B5EF4-FFF2-40B4-BE49-F238E27FC236}">
                <a16:creationId xmlns:a16="http://schemas.microsoft.com/office/drawing/2014/main" id="{043B140F-0759-0C0C-5A8C-B135DBB82085}"/>
              </a:ext>
            </a:extLst>
          </p:cNvPr>
          <p:cNvSpPr>
            <a:spLocks noGrp="1"/>
          </p:cNvSpPr>
          <p:nvPr>
            <p:ph type="pic" sz="quarter" idx="19"/>
          </p:nvPr>
        </p:nvSpPr>
        <p:spPr>
          <a:xfrm>
            <a:off x="156208" y="107576"/>
            <a:ext cx="5283127" cy="6624920"/>
          </a:xfrm>
          <a:custGeom>
            <a:avLst/>
            <a:gdLst>
              <a:gd name="connsiteX0" fmla="*/ 152630 w 5283127"/>
              <a:gd name="connsiteY0" fmla="*/ 0 h 6624920"/>
              <a:gd name="connsiteX1" fmla="*/ 5130497 w 5283127"/>
              <a:gd name="connsiteY1" fmla="*/ 0 h 6624920"/>
              <a:gd name="connsiteX2" fmla="*/ 5283127 w 5283127"/>
              <a:gd name="connsiteY2" fmla="*/ 152630 h 6624920"/>
              <a:gd name="connsiteX3" fmla="*/ 5283127 w 5283127"/>
              <a:gd name="connsiteY3" fmla="*/ 6472290 h 6624920"/>
              <a:gd name="connsiteX4" fmla="*/ 5130497 w 5283127"/>
              <a:gd name="connsiteY4" fmla="*/ 6624920 h 6624920"/>
              <a:gd name="connsiteX5" fmla="*/ 152630 w 5283127"/>
              <a:gd name="connsiteY5" fmla="*/ 6624920 h 6624920"/>
              <a:gd name="connsiteX6" fmla="*/ 0 w 5283127"/>
              <a:gd name="connsiteY6" fmla="*/ 6472290 h 6624920"/>
              <a:gd name="connsiteX7" fmla="*/ 0 w 5283127"/>
              <a:gd name="connsiteY7" fmla="*/ 152630 h 6624920"/>
              <a:gd name="connsiteX8" fmla="*/ 152630 w 5283127"/>
              <a:gd name="connsiteY8" fmla="*/ 0 h 662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83127" h="6624920">
                <a:moveTo>
                  <a:pt x="152630" y="0"/>
                </a:moveTo>
                <a:lnTo>
                  <a:pt x="5130497" y="0"/>
                </a:lnTo>
                <a:cubicBezTo>
                  <a:pt x="5214792" y="0"/>
                  <a:pt x="5283127" y="68335"/>
                  <a:pt x="5283127" y="152630"/>
                </a:cubicBezTo>
                <a:lnTo>
                  <a:pt x="5283127" y="6472290"/>
                </a:lnTo>
                <a:cubicBezTo>
                  <a:pt x="5283127" y="6556585"/>
                  <a:pt x="5214792" y="6624920"/>
                  <a:pt x="5130497" y="6624920"/>
                </a:cubicBezTo>
                <a:lnTo>
                  <a:pt x="152630" y="6624920"/>
                </a:lnTo>
                <a:cubicBezTo>
                  <a:pt x="68335" y="6624920"/>
                  <a:pt x="0" y="6556585"/>
                  <a:pt x="0" y="6472290"/>
                </a:cubicBezTo>
                <a:lnTo>
                  <a:pt x="0" y="152630"/>
                </a:lnTo>
                <a:cubicBezTo>
                  <a:pt x="0" y="68335"/>
                  <a:pt x="68335" y="0"/>
                  <a:pt x="152630" y="0"/>
                </a:cubicBezTo>
                <a:close/>
              </a:path>
            </a:pathLst>
          </a:custGeom>
          <a:solidFill>
            <a:schemeClr val="bg1">
              <a:lumMod val="95000"/>
            </a:schemeClr>
          </a:solidFill>
        </p:spPr>
        <p:txBody>
          <a:bodyPr wrap="square" bIns="684000" anchor="ctr" anchorCtr="0">
            <a:noAutofit/>
          </a:bodyPr>
          <a:lstStyle>
            <a:lvl1pPr algn="ctr">
              <a:defRPr/>
            </a:lvl1pPr>
          </a:lstStyle>
          <a:p>
            <a:r>
              <a:rPr lang="nl-NL"/>
              <a:t>Klik op het pictogram als u een afbeelding wilt toevoegen</a:t>
            </a:r>
            <a:endParaRPr lang="nl-NL" dirty="0"/>
          </a:p>
        </p:txBody>
      </p:sp>
      <p:sp>
        <p:nvSpPr>
          <p:cNvPr id="8" name="Titel 1">
            <a:extLst>
              <a:ext uri="{FF2B5EF4-FFF2-40B4-BE49-F238E27FC236}">
                <a16:creationId xmlns:a16="http://schemas.microsoft.com/office/drawing/2014/main" id="{C2CF920E-5107-73A7-2634-05D1DBC0D3BC}"/>
              </a:ext>
            </a:extLst>
          </p:cNvPr>
          <p:cNvSpPr>
            <a:spLocks noGrp="1"/>
          </p:cNvSpPr>
          <p:nvPr>
            <p:ph type="ctrTitle" hasCustomPrompt="1"/>
          </p:nvPr>
        </p:nvSpPr>
        <p:spPr>
          <a:xfrm>
            <a:off x="5779452" y="4478924"/>
            <a:ext cx="5940000" cy="503984"/>
          </a:xfrm>
        </p:spPr>
        <p:txBody>
          <a:bodyPr anchor="b" anchorCtr="0"/>
          <a:lstStyle>
            <a:lvl1pPr algn="l">
              <a:defRPr sz="3000"/>
            </a:lvl1pPr>
          </a:lstStyle>
          <a:p>
            <a:r>
              <a:rPr lang="nl-NL" dirty="0"/>
              <a:t>Titel over </a:t>
            </a:r>
            <a:r>
              <a:rPr lang="nl-NL"/>
              <a:t>maximaal 2 </a:t>
            </a:r>
            <a:r>
              <a:rPr lang="nl-NL" dirty="0"/>
              <a:t>regels</a:t>
            </a:r>
          </a:p>
        </p:txBody>
      </p:sp>
      <p:pic>
        <p:nvPicPr>
          <p:cNvPr id="6" name="Graphic 5">
            <a:extLst>
              <a:ext uri="{FF2B5EF4-FFF2-40B4-BE49-F238E27FC236}">
                <a16:creationId xmlns:a16="http://schemas.microsoft.com/office/drawing/2014/main" id="{F056BD35-F1CB-BCA0-C1F7-05FD78AE9C6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37095" y="5141596"/>
            <a:ext cx="229414" cy="1288732"/>
          </a:xfrm>
          <a:prstGeom prst="rect">
            <a:avLst/>
          </a:prstGeom>
        </p:spPr>
      </p:pic>
      <p:sp>
        <p:nvSpPr>
          <p:cNvPr id="7" name="Tijdelijke aanduiding voor tekst 8">
            <a:extLst>
              <a:ext uri="{FF2B5EF4-FFF2-40B4-BE49-F238E27FC236}">
                <a16:creationId xmlns:a16="http://schemas.microsoft.com/office/drawing/2014/main" id="{09FC232A-C893-83F6-4E02-5E67A20A4787}"/>
              </a:ext>
            </a:extLst>
          </p:cNvPr>
          <p:cNvSpPr>
            <a:spLocks noGrp="1"/>
          </p:cNvSpPr>
          <p:nvPr>
            <p:ph type="body" sz="quarter" idx="13" hasCustomPrompt="1"/>
          </p:nvPr>
        </p:nvSpPr>
        <p:spPr>
          <a:xfrm>
            <a:off x="6247484" y="517391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LinkedIn</a:t>
            </a:r>
            <a:endParaRPr lang="nl-NL" dirty="0"/>
          </a:p>
        </p:txBody>
      </p:sp>
      <p:sp>
        <p:nvSpPr>
          <p:cNvPr id="11" name="Tijdelijke aanduiding voor tekst 8">
            <a:extLst>
              <a:ext uri="{FF2B5EF4-FFF2-40B4-BE49-F238E27FC236}">
                <a16:creationId xmlns:a16="http://schemas.microsoft.com/office/drawing/2014/main" id="{9047013F-A44B-FEAE-B5FB-1DA7C5D039BF}"/>
              </a:ext>
            </a:extLst>
          </p:cNvPr>
          <p:cNvSpPr>
            <a:spLocks noGrp="1"/>
          </p:cNvSpPr>
          <p:nvPr>
            <p:ph type="body" sz="quarter" idx="15" hasCustomPrompt="1"/>
          </p:nvPr>
        </p:nvSpPr>
        <p:spPr>
          <a:xfrm>
            <a:off x="6247484" y="552443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PEPPER podcast</a:t>
            </a:r>
            <a:endParaRPr lang="nl-NL" dirty="0"/>
          </a:p>
        </p:txBody>
      </p:sp>
      <p:sp>
        <p:nvSpPr>
          <p:cNvPr id="12" name="Tijdelijke aanduiding voor tekst 8">
            <a:extLst>
              <a:ext uri="{FF2B5EF4-FFF2-40B4-BE49-F238E27FC236}">
                <a16:creationId xmlns:a16="http://schemas.microsoft.com/office/drawing/2014/main" id="{A92BA6E2-7D56-1BF6-4EDF-2C5ADB119435}"/>
              </a:ext>
            </a:extLst>
          </p:cNvPr>
          <p:cNvSpPr>
            <a:spLocks noGrp="1"/>
          </p:cNvSpPr>
          <p:nvPr>
            <p:ph type="body" sz="quarter" idx="16" hasCustomPrompt="1"/>
          </p:nvPr>
        </p:nvSpPr>
        <p:spPr>
          <a:xfrm>
            <a:off x="6247484" y="587495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Website</a:t>
            </a:r>
            <a:endParaRPr lang="nl-NL" dirty="0"/>
          </a:p>
        </p:txBody>
      </p:sp>
      <p:sp>
        <p:nvSpPr>
          <p:cNvPr id="13" name="Tijdelijke aanduiding voor tekst 8">
            <a:extLst>
              <a:ext uri="{FF2B5EF4-FFF2-40B4-BE49-F238E27FC236}">
                <a16:creationId xmlns:a16="http://schemas.microsoft.com/office/drawing/2014/main" id="{1F195676-ECA0-54EE-F94D-E4A5F8A647FF}"/>
              </a:ext>
            </a:extLst>
          </p:cNvPr>
          <p:cNvSpPr>
            <a:spLocks noGrp="1"/>
          </p:cNvSpPr>
          <p:nvPr>
            <p:ph type="body" sz="quarter" idx="17" hasCustomPrompt="1"/>
          </p:nvPr>
        </p:nvSpPr>
        <p:spPr>
          <a:xfrm>
            <a:off x="6247484" y="6225476"/>
            <a:ext cx="5471968" cy="150875"/>
          </a:xfrm>
        </p:spPr>
        <p:txBody>
          <a:bodyPr wrap="square" anchor="ctr" anchorCtr="0">
            <a:spAutoFit/>
          </a:bodyPr>
          <a:lstStyle>
            <a:lvl1pPr>
              <a:defRPr sz="95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Nieuwsbrief</a:t>
            </a:r>
            <a:endParaRPr lang="nl-NL" dirty="0"/>
          </a:p>
        </p:txBody>
      </p:sp>
      <p:sp>
        <p:nvSpPr>
          <p:cNvPr id="21" name="Tijdelijke aanduiding voor tekst 8">
            <a:extLst>
              <a:ext uri="{FF2B5EF4-FFF2-40B4-BE49-F238E27FC236}">
                <a16:creationId xmlns:a16="http://schemas.microsoft.com/office/drawing/2014/main" id="{66375388-B9DD-0ACC-3EA5-7E3004C97DD3}"/>
              </a:ext>
            </a:extLst>
          </p:cNvPr>
          <p:cNvSpPr>
            <a:spLocks noGrp="1"/>
          </p:cNvSpPr>
          <p:nvPr>
            <p:ph type="body" sz="quarter" idx="20" hasCustomPrompt="1"/>
          </p:nvPr>
        </p:nvSpPr>
        <p:spPr>
          <a:xfrm>
            <a:off x="454379" y="5351081"/>
            <a:ext cx="4680000" cy="381066"/>
          </a:xfrm>
        </p:spPr>
        <p:txBody>
          <a:bodyPr wrap="square" anchor="b" anchorCtr="0">
            <a:spAutoFit/>
          </a:bodyPr>
          <a:lstStyle>
            <a:lvl1pPr>
              <a:defRPr sz="2400">
                <a:solidFill>
                  <a:schemeClr val="bg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Voornaam Achternaam</a:t>
            </a:r>
            <a:endParaRPr lang="nl-NL" dirty="0"/>
          </a:p>
        </p:txBody>
      </p:sp>
      <p:sp>
        <p:nvSpPr>
          <p:cNvPr id="23" name="Ondertitel 2">
            <a:extLst>
              <a:ext uri="{FF2B5EF4-FFF2-40B4-BE49-F238E27FC236}">
                <a16:creationId xmlns:a16="http://schemas.microsoft.com/office/drawing/2014/main" id="{A792F1D8-9189-9CBD-1DFE-F1CC31C997B7}"/>
              </a:ext>
            </a:extLst>
          </p:cNvPr>
          <p:cNvSpPr>
            <a:spLocks noGrp="1"/>
          </p:cNvSpPr>
          <p:nvPr>
            <p:ph type="subTitle" idx="1" hasCustomPrompt="1"/>
          </p:nvPr>
        </p:nvSpPr>
        <p:spPr>
          <a:xfrm>
            <a:off x="454379" y="5787072"/>
            <a:ext cx="4680000" cy="198516"/>
          </a:xfrm>
        </p:spPr>
        <p:txBody>
          <a:bodyPr wrap="square">
            <a:spAutoFit/>
          </a:bodyPr>
          <a:lstStyle>
            <a:lvl1pPr marL="0" indent="0" algn="l">
              <a:buNone/>
              <a:defRPr sz="1250" b="1" cap="all" spc="19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Functie</a:t>
            </a:r>
            <a:endParaRPr lang="nl-NL" dirty="0"/>
          </a:p>
        </p:txBody>
      </p:sp>
      <p:sp>
        <p:nvSpPr>
          <p:cNvPr id="24" name="Tijdelijke aanduiding voor tekst 8">
            <a:extLst>
              <a:ext uri="{FF2B5EF4-FFF2-40B4-BE49-F238E27FC236}">
                <a16:creationId xmlns:a16="http://schemas.microsoft.com/office/drawing/2014/main" id="{7D0D8537-1C9B-DDCD-FF44-B187A871376D}"/>
              </a:ext>
            </a:extLst>
          </p:cNvPr>
          <p:cNvSpPr>
            <a:spLocks noGrp="1"/>
          </p:cNvSpPr>
          <p:nvPr>
            <p:ph type="body" sz="quarter" idx="21" hasCustomPrompt="1"/>
          </p:nvPr>
        </p:nvSpPr>
        <p:spPr>
          <a:xfrm>
            <a:off x="512314" y="6180988"/>
            <a:ext cx="198251" cy="198251"/>
          </a:xfrm>
          <a:blipFill>
            <a:blip r:embed="rId6">
              <a:extLst>
                <a:ext uri="{96DAC541-7B7A-43D3-8B79-37D633B846F1}">
                  <asvg:svgBlip xmlns:asvg="http://schemas.microsoft.com/office/drawing/2016/SVG/main" r:embed="rId7"/>
                </a:ext>
              </a:extLst>
            </a:blip>
            <a:stretch>
              <a:fillRect/>
            </a:stretch>
          </a:blipFill>
        </p:spPr>
        <p:txBody>
          <a:bodyPr wrap="none" anchor="ctr" anchorCtr="0">
            <a:noAutofit/>
          </a:bodyPr>
          <a:lstStyle>
            <a:lvl1pPr>
              <a:defRPr sz="100">
                <a:solidFill>
                  <a:schemeClr val="bg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 </a:t>
            </a:r>
            <a:endParaRPr lang="nl-NL" dirty="0"/>
          </a:p>
        </p:txBody>
      </p:sp>
      <p:sp>
        <p:nvSpPr>
          <p:cNvPr id="25" name="Tijdelijke aanduiding voor tekst 8">
            <a:extLst>
              <a:ext uri="{FF2B5EF4-FFF2-40B4-BE49-F238E27FC236}">
                <a16:creationId xmlns:a16="http://schemas.microsoft.com/office/drawing/2014/main" id="{B8CE160F-8ACC-4A98-BAEC-2813500F5868}"/>
              </a:ext>
            </a:extLst>
          </p:cNvPr>
          <p:cNvSpPr>
            <a:spLocks noGrp="1"/>
          </p:cNvSpPr>
          <p:nvPr>
            <p:ph type="body" sz="quarter" idx="22" hasCustomPrompt="1"/>
          </p:nvPr>
        </p:nvSpPr>
        <p:spPr>
          <a:xfrm>
            <a:off x="988564" y="6180988"/>
            <a:ext cx="198251" cy="198251"/>
          </a:xfrm>
          <a:blipFill>
            <a:blip r:embed="rId8">
              <a:extLst>
                <a:ext uri="{96DAC541-7B7A-43D3-8B79-37D633B846F1}">
                  <asvg:svgBlip xmlns:asvg="http://schemas.microsoft.com/office/drawing/2016/SVG/main" r:embed="rId9"/>
                </a:ext>
              </a:extLst>
            </a:blip>
            <a:stretch>
              <a:fillRect/>
            </a:stretch>
          </a:blipFill>
        </p:spPr>
        <p:txBody>
          <a:bodyPr wrap="none" anchor="ctr" anchorCtr="0">
            <a:noAutofit/>
          </a:bodyPr>
          <a:lstStyle>
            <a:lvl1pPr>
              <a:defRPr sz="100">
                <a:solidFill>
                  <a:schemeClr val="bg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 </a:t>
            </a:r>
            <a:endParaRPr lang="nl-NL" dirty="0"/>
          </a:p>
        </p:txBody>
      </p:sp>
      <p:sp>
        <p:nvSpPr>
          <p:cNvPr id="26" name="Tijdelijke aanduiding voor tekst 8">
            <a:extLst>
              <a:ext uri="{FF2B5EF4-FFF2-40B4-BE49-F238E27FC236}">
                <a16:creationId xmlns:a16="http://schemas.microsoft.com/office/drawing/2014/main" id="{6AD6DC8B-5F03-5101-6D8B-2B058D0BB670}"/>
              </a:ext>
            </a:extLst>
          </p:cNvPr>
          <p:cNvSpPr>
            <a:spLocks noGrp="1"/>
          </p:cNvSpPr>
          <p:nvPr>
            <p:ph type="body" sz="quarter" idx="23" hasCustomPrompt="1"/>
          </p:nvPr>
        </p:nvSpPr>
        <p:spPr>
          <a:xfrm>
            <a:off x="1432429" y="6180988"/>
            <a:ext cx="198251" cy="198251"/>
          </a:xfrm>
          <a:blipFill>
            <a:blip r:embed="rId10">
              <a:extLst>
                <a:ext uri="{96DAC541-7B7A-43D3-8B79-37D633B846F1}">
                  <asvg:svgBlip xmlns:asvg="http://schemas.microsoft.com/office/drawing/2016/SVG/main" r:embed="rId11"/>
                </a:ext>
              </a:extLst>
            </a:blip>
            <a:stretch>
              <a:fillRect/>
            </a:stretch>
          </a:blipFill>
        </p:spPr>
        <p:txBody>
          <a:bodyPr wrap="none" anchor="ctr" anchorCtr="0">
            <a:noAutofit/>
          </a:bodyPr>
          <a:lstStyle>
            <a:lvl1pPr>
              <a:defRPr sz="100">
                <a:solidFill>
                  <a:schemeClr val="bg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NL"/>
              <a:t> </a:t>
            </a:r>
            <a:endParaRPr lang="nl-NL" dirty="0"/>
          </a:p>
        </p:txBody>
      </p:sp>
    </p:spTree>
    <p:extLst>
      <p:ext uri="{BB962C8B-B14F-4D97-AF65-F5344CB8AC3E}">
        <p14:creationId xmlns:p14="http://schemas.microsoft.com/office/powerpoint/2010/main" val="161994276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Uitleg template">
    <p:spTree>
      <p:nvGrpSpPr>
        <p:cNvPr id="1" name=""/>
        <p:cNvGrpSpPr/>
        <p:nvPr/>
      </p:nvGrpSpPr>
      <p:grpSpPr>
        <a:xfrm>
          <a:off x="0" y="0"/>
          <a:ext cx="0" cy="0"/>
          <a:chOff x="0" y="0"/>
          <a:chExt cx="0" cy="0"/>
        </a:xfrm>
      </p:grpSpPr>
      <p:sp>
        <p:nvSpPr>
          <p:cNvPr id="2" name="Titel 5">
            <a:extLst>
              <a:ext uri="{FF2B5EF4-FFF2-40B4-BE49-F238E27FC236}">
                <a16:creationId xmlns:a16="http://schemas.microsoft.com/office/drawing/2014/main" id="{59FC7B70-8117-4E03-EFE2-AD554BAE816F}"/>
              </a:ext>
            </a:extLst>
          </p:cNvPr>
          <p:cNvSpPr txBox="1">
            <a:spLocks/>
          </p:cNvSpPr>
          <p:nvPr userDrawn="1"/>
        </p:nvSpPr>
        <p:spPr>
          <a:xfrm>
            <a:off x="695324" y="913765"/>
            <a:ext cx="5760000" cy="503984"/>
          </a:xfrm>
          <a:prstGeom prst="rect">
            <a:avLst/>
          </a:prstGeom>
        </p:spPr>
        <p:txBody>
          <a:bodyPr vert="horz" wrap="square" lIns="0" tIns="0" rIns="0" bIns="0" rtlCol="0" anchor="t" anchorCtr="0">
            <a:spAutoFit/>
          </a:bodyPr>
          <a:lstStyle>
            <a:lvl1pPr algn="l" defTabSz="914400" rtl="0" eaLnBrk="1" latinLnBrk="0" hangingPunct="1">
              <a:lnSpc>
                <a:spcPct val="115000"/>
              </a:lnSpc>
              <a:spcBef>
                <a:spcPct val="0"/>
              </a:spcBef>
              <a:buNone/>
              <a:defRPr sz="3000" kern="1200">
                <a:solidFill>
                  <a:schemeClr val="tx2"/>
                </a:solidFill>
                <a:latin typeface="+mj-lt"/>
                <a:ea typeface="+mj-ea"/>
                <a:cs typeface="+mj-cs"/>
              </a:defRPr>
            </a:lvl1pPr>
          </a:lstStyle>
          <a:p>
            <a:r>
              <a:rPr lang="nl-NL"/>
              <a:t>Korte uitleg bij de template</a:t>
            </a:r>
            <a:endParaRPr lang="nl-NL" dirty="0"/>
          </a:p>
        </p:txBody>
      </p:sp>
      <p:sp>
        <p:nvSpPr>
          <p:cNvPr id="3" name="Tijdelijke aanduiding voor tekst 4">
            <a:extLst>
              <a:ext uri="{FF2B5EF4-FFF2-40B4-BE49-F238E27FC236}">
                <a16:creationId xmlns:a16="http://schemas.microsoft.com/office/drawing/2014/main" id="{765AD5B0-6379-C21A-AD1A-082915CE6432}"/>
              </a:ext>
            </a:extLst>
          </p:cNvPr>
          <p:cNvSpPr txBox="1">
            <a:spLocks/>
          </p:cNvSpPr>
          <p:nvPr userDrawn="1"/>
        </p:nvSpPr>
        <p:spPr>
          <a:xfrm>
            <a:off x="695325" y="4000127"/>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Bullets</a:t>
            </a:r>
          </a:p>
        </p:txBody>
      </p:sp>
      <p:sp>
        <p:nvSpPr>
          <p:cNvPr id="7" name="Content Placeholder 4">
            <a:extLst>
              <a:ext uri="{FF2B5EF4-FFF2-40B4-BE49-F238E27FC236}">
                <a16:creationId xmlns:a16="http://schemas.microsoft.com/office/drawing/2014/main" id="{FF64F8D1-3CE4-A2DF-6865-F163A9C379FE}"/>
              </a:ext>
            </a:extLst>
          </p:cNvPr>
          <p:cNvSpPr txBox="1">
            <a:spLocks/>
          </p:cNvSpPr>
          <p:nvPr userDrawn="1"/>
        </p:nvSpPr>
        <p:spPr>
          <a:xfrm>
            <a:off x="5960572" y="1948301"/>
            <a:ext cx="5088428" cy="117788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00" noProof="0" dirty="0">
                <a:solidFill>
                  <a:schemeClr val="tx2"/>
                </a:solidFill>
                <a:latin typeface="+mn-lt"/>
              </a:rPr>
              <a:t>Wanneer een </a:t>
            </a:r>
            <a:r>
              <a:rPr lang="nl-NL" sz="1000" b="0" noProof="0" dirty="0">
                <a:solidFill>
                  <a:schemeClr val="tx2"/>
                </a:solidFill>
                <a:latin typeface="+mn-lt"/>
              </a:rPr>
              <a:t>foto</a:t>
            </a:r>
            <a:r>
              <a:rPr lang="nl-NL" sz="1000" noProof="0" dirty="0">
                <a:solidFill>
                  <a:schemeClr val="tx2"/>
                </a:solidFill>
                <a:latin typeface="+mn-lt"/>
              </a:rPr>
              <a:t> in een </a:t>
            </a:r>
            <a:r>
              <a:rPr lang="nl-NL" sz="1000" noProof="0" dirty="0" err="1">
                <a:solidFill>
                  <a:schemeClr val="tx2"/>
                </a:solidFill>
                <a:latin typeface="+mn-lt"/>
              </a:rPr>
              <a:t>afbeeldingsplaceholder</a:t>
            </a:r>
            <a:r>
              <a:rPr lang="nl-NL" sz="1000" noProof="0" dirty="0">
                <a:solidFill>
                  <a:schemeClr val="tx2"/>
                </a:solidFill>
                <a:latin typeface="+mn-lt"/>
              </a:rPr>
              <a:t> is </a:t>
            </a:r>
            <a:r>
              <a:rPr lang="nl-NL" sz="1000" noProof="0">
                <a:solidFill>
                  <a:schemeClr val="tx2"/>
                </a:solidFill>
                <a:latin typeface="+mn-lt"/>
              </a:rPr>
              <a:t>geplaatst </a:t>
            </a:r>
            <a:br>
              <a:rPr lang="nl-NL" sz="1000" noProof="0">
                <a:solidFill>
                  <a:schemeClr val="tx2"/>
                </a:solidFill>
                <a:latin typeface="+mn-lt"/>
              </a:rPr>
            </a:br>
            <a:r>
              <a:rPr lang="nl-NL" sz="1000" noProof="0">
                <a:solidFill>
                  <a:schemeClr val="tx2"/>
                </a:solidFill>
                <a:latin typeface="+mn-lt"/>
              </a:rPr>
              <a:t>kun </a:t>
            </a:r>
            <a:r>
              <a:rPr lang="nl-NL" sz="1000" noProof="0" dirty="0">
                <a:solidFill>
                  <a:schemeClr val="tx2"/>
                </a:solidFill>
                <a:latin typeface="+mn-lt"/>
              </a:rPr>
              <a:t>je de </a:t>
            </a:r>
            <a:r>
              <a:rPr kumimoji="0" lang="nl-NL" sz="1000" i="0" u="none" strike="noStrike" kern="0" cap="none" spc="0" normalizeH="0" baseline="0" noProof="0" dirty="0">
                <a:ln>
                  <a:noFill/>
                </a:ln>
                <a:solidFill>
                  <a:srgbClr val="39C643"/>
                </a:solidFill>
                <a:effectLst/>
                <a:uLnTx/>
                <a:uFillTx/>
                <a:latin typeface="Syne" pitchFamily="2" charset="0"/>
                <a:ea typeface="+mn-ea"/>
                <a:cs typeface="Calibri" panose="020F0502020204030204" pitchFamily="34" charset="0"/>
              </a:rPr>
              <a:t>uitsnede nog veranderen</a:t>
            </a:r>
            <a:r>
              <a:rPr lang="nl-NL" sz="1000" noProof="0" dirty="0">
                <a:solidFill>
                  <a:schemeClr val="tx2"/>
                </a:solidFill>
                <a:latin typeface="+mn-lt"/>
              </a:rPr>
              <a:t>.</a:t>
            </a:r>
          </a:p>
          <a:p>
            <a:pPr marL="135731" indent="-135731">
              <a:lnSpc>
                <a:spcPct val="110000"/>
              </a:lnSpc>
              <a:buFont typeface="Arial" panose="020B0604020202020204" pitchFamily="34" charset="0"/>
              <a:buChar char="•"/>
            </a:pPr>
            <a:r>
              <a:rPr lang="nl-NL" sz="1000" noProof="0" dirty="0">
                <a:solidFill>
                  <a:schemeClr val="tx2"/>
                </a:solidFill>
                <a:latin typeface="+mn-lt"/>
              </a:rPr>
              <a:t>Selecteer de foto</a:t>
            </a:r>
          </a:p>
          <a:p>
            <a:pPr marL="135731" indent="-135731">
              <a:lnSpc>
                <a:spcPct val="110000"/>
              </a:lnSpc>
              <a:buFont typeface="Arial" panose="020B0604020202020204" pitchFamily="34" charset="0"/>
              <a:buChar char="•"/>
            </a:pPr>
            <a:r>
              <a:rPr lang="nl-NL" sz="1000" noProof="0" dirty="0">
                <a:solidFill>
                  <a:schemeClr val="tx2"/>
                </a:solidFill>
                <a:latin typeface="+mn-lt"/>
              </a:rPr>
              <a:t>Ga in het lint </a:t>
            </a:r>
            <a:r>
              <a:rPr lang="nl-NL" sz="1000" noProof="0">
                <a:solidFill>
                  <a:schemeClr val="tx2"/>
                </a:solidFill>
                <a:latin typeface="+mn-lt"/>
              </a:rPr>
              <a:t>naar Afbeeldingsindeling - Grootte </a:t>
            </a:r>
            <a:endParaRPr lang="nl-NL" sz="1000" noProof="0" dirty="0">
              <a:solidFill>
                <a:schemeClr val="tx2"/>
              </a:solidFill>
              <a:latin typeface="+mn-lt"/>
            </a:endParaRPr>
          </a:p>
          <a:p>
            <a:pPr marL="135731" indent="-135731">
              <a:lnSpc>
                <a:spcPct val="110000"/>
              </a:lnSpc>
              <a:buFont typeface="Arial" panose="020B0604020202020204" pitchFamily="34" charset="0"/>
              <a:buChar char="•"/>
            </a:pPr>
            <a:r>
              <a:rPr lang="nl-NL" sz="1000" noProof="0" dirty="0">
                <a:solidFill>
                  <a:schemeClr val="tx2"/>
                </a:solidFill>
                <a:latin typeface="+mn-lt"/>
              </a:rPr>
              <a:t>Klik op het Bijsnijden gereedschap</a:t>
            </a:r>
          </a:p>
          <a:p>
            <a:pPr marL="135731" indent="-135731">
              <a:lnSpc>
                <a:spcPct val="110000"/>
              </a:lnSpc>
              <a:buFont typeface="Arial" panose="020B0604020202020204" pitchFamily="34" charset="0"/>
              <a:buChar char="•"/>
            </a:pPr>
            <a:r>
              <a:rPr lang="nl-NL" sz="1000" noProof="0" dirty="0">
                <a:solidFill>
                  <a:schemeClr val="tx2"/>
                </a:solidFill>
                <a:latin typeface="+mn-lt"/>
              </a:rPr>
              <a:t>De grijze delen geven aan welke delen van de foto buiten de </a:t>
            </a:r>
            <a:r>
              <a:rPr lang="nl-NL" sz="1000" noProof="0" dirty="0" err="1">
                <a:solidFill>
                  <a:schemeClr val="tx2"/>
                </a:solidFill>
                <a:latin typeface="+mn-lt"/>
              </a:rPr>
              <a:t>placeholder</a:t>
            </a:r>
            <a:r>
              <a:rPr lang="nl-NL" sz="1000" noProof="0" dirty="0">
                <a:solidFill>
                  <a:schemeClr val="tx2"/>
                </a:solidFill>
                <a:latin typeface="+mn-lt"/>
              </a:rPr>
              <a:t> vallen</a:t>
            </a:r>
          </a:p>
          <a:p>
            <a:pPr marL="135731" indent="-135731">
              <a:lnSpc>
                <a:spcPct val="110000"/>
              </a:lnSpc>
              <a:buFont typeface="Arial" panose="020B0604020202020204" pitchFamily="34" charset="0"/>
              <a:buChar char="•"/>
            </a:pPr>
            <a:r>
              <a:rPr lang="nl-NL" sz="1000" noProof="0" dirty="0">
                <a:solidFill>
                  <a:schemeClr val="tx2"/>
                </a:solidFill>
                <a:latin typeface="+mn-lt"/>
              </a:rPr>
              <a:t>Verschuif de foto in de </a:t>
            </a:r>
            <a:r>
              <a:rPr lang="nl-NL" sz="1000" noProof="0" dirty="0" err="1">
                <a:solidFill>
                  <a:schemeClr val="tx2"/>
                </a:solidFill>
                <a:latin typeface="+mn-lt"/>
              </a:rPr>
              <a:t>placeholder</a:t>
            </a:r>
            <a:endParaRPr lang="nl-NL" sz="1000" noProof="0" dirty="0">
              <a:solidFill>
                <a:schemeClr val="tx2"/>
              </a:solidFill>
              <a:latin typeface="+mn-lt"/>
            </a:endParaRPr>
          </a:p>
        </p:txBody>
      </p:sp>
      <p:pic>
        <p:nvPicPr>
          <p:cNvPr id="8" name="Afbeelding 3">
            <a:extLst>
              <a:ext uri="{FF2B5EF4-FFF2-40B4-BE49-F238E27FC236}">
                <a16:creationId xmlns:a16="http://schemas.microsoft.com/office/drawing/2014/main" id="{0C098277-F6F4-E395-432E-DEA5463DF30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17659"/>
          <a:stretch/>
        </p:blipFill>
        <p:spPr>
          <a:xfrm>
            <a:off x="11148192" y="1948301"/>
            <a:ext cx="419921" cy="476920"/>
          </a:xfrm>
          <a:prstGeom prst="rect">
            <a:avLst/>
          </a:prstGeom>
          <a:effectLst>
            <a:outerShdw blurRad="63500" sx="102000" sy="102000" algn="ctr" rotWithShape="0">
              <a:prstClr val="black">
                <a:alpha val="20000"/>
              </a:prstClr>
            </a:outerShdw>
          </a:effectLst>
        </p:spPr>
      </p:pic>
      <p:cxnSp>
        <p:nvCxnSpPr>
          <p:cNvPr id="9" name="Rechte verbindingslijn 14">
            <a:extLst>
              <a:ext uri="{FF2B5EF4-FFF2-40B4-BE49-F238E27FC236}">
                <a16:creationId xmlns:a16="http://schemas.microsoft.com/office/drawing/2014/main" id="{DE91D669-E8C9-D53D-E4E5-0CEBA6AC8A44}"/>
              </a:ext>
            </a:extLst>
          </p:cNvPr>
          <p:cNvCxnSpPr>
            <a:cxnSpLocks/>
          </p:cNvCxnSpPr>
          <p:nvPr userDrawn="1"/>
        </p:nvCxnSpPr>
        <p:spPr>
          <a:xfrm>
            <a:off x="695324" y="3938204"/>
            <a:ext cx="4716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Groep 15">
            <a:extLst>
              <a:ext uri="{FF2B5EF4-FFF2-40B4-BE49-F238E27FC236}">
                <a16:creationId xmlns:a16="http://schemas.microsoft.com/office/drawing/2014/main" id="{0F1FB3F1-4999-2D10-81FC-578270F6D520}"/>
              </a:ext>
            </a:extLst>
          </p:cNvPr>
          <p:cNvGrpSpPr/>
          <p:nvPr userDrawn="1"/>
        </p:nvGrpSpPr>
        <p:grpSpPr>
          <a:xfrm>
            <a:off x="2489199" y="4074926"/>
            <a:ext cx="1430529" cy="913510"/>
            <a:chOff x="-1603261" y="3756031"/>
            <a:chExt cx="1245474" cy="795337"/>
          </a:xfrm>
        </p:grpSpPr>
        <p:pic>
          <p:nvPicPr>
            <p:cNvPr id="14" name="Afbeelding 19">
              <a:extLst>
                <a:ext uri="{FF2B5EF4-FFF2-40B4-BE49-F238E27FC236}">
                  <a16:creationId xmlns:a16="http://schemas.microsoft.com/office/drawing/2014/main" id="{46DE3F06-4A3E-CD9B-4B6C-F3160296B57E}"/>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b="6146"/>
            <a:stretch/>
          </p:blipFill>
          <p:spPr>
            <a:xfrm>
              <a:off x="-1603261" y="3935363"/>
              <a:ext cx="1007844" cy="616005"/>
            </a:xfrm>
            <a:prstGeom prst="rect">
              <a:avLst/>
            </a:prstGeom>
            <a:solidFill>
              <a:schemeClr val="bg2"/>
            </a:solidFill>
            <a:effectLst>
              <a:outerShdw blurRad="50800" dist="38100" dir="2700000" algn="tl" rotWithShape="0">
                <a:prstClr val="black">
                  <a:alpha val="20000"/>
                </a:prstClr>
              </a:outerShdw>
            </a:effectLst>
          </p:spPr>
        </p:pic>
        <p:sp>
          <p:nvSpPr>
            <p:cNvPr id="15" name="Tekstvak 20">
              <a:extLst>
                <a:ext uri="{FF2B5EF4-FFF2-40B4-BE49-F238E27FC236}">
                  <a16:creationId xmlns:a16="http://schemas.microsoft.com/office/drawing/2014/main" id="{84D911F6-1BEB-6026-A2B0-AE0CE0312216}"/>
                </a:ext>
              </a:extLst>
            </p:cNvPr>
            <p:cNvSpPr txBox="1"/>
            <p:nvPr/>
          </p:nvSpPr>
          <p:spPr>
            <a:xfrm>
              <a:off x="-1257235" y="4415637"/>
              <a:ext cx="272510" cy="123111"/>
            </a:xfrm>
            <a:prstGeom prst="rect">
              <a:avLst/>
            </a:prstGeom>
            <a:noFill/>
          </p:spPr>
          <p:txBody>
            <a:bodyPr wrap="none" lIns="0" tIns="0" rIns="0" bIns="0" rtlCol="0">
              <a:spAutoFit/>
            </a:bodyPr>
            <a:lstStyle/>
            <a:p>
              <a:pPr algn="ctr"/>
              <a:r>
                <a:rPr lang="nl-NL" sz="800" noProof="0" dirty="0">
                  <a:solidFill>
                    <a:schemeClr val="tx2"/>
                  </a:solidFill>
                </a:rPr>
                <a:t>Alinea</a:t>
              </a:r>
            </a:p>
          </p:txBody>
        </p:sp>
        <p:pic>
          <p:nvPicPr>
            <p:cNvPr id="16" name="Graphic 15" descr="Vergrootglas">
              <a:extLst>
                <a:ext uri="{FF2B5EF4-FFF2-40B4-BE49-F238E27FC236}">
                  <a16:creationId xmlns:a16="http://schemas.microsoft.com/office/drawing/2014/main" id="{F8D487EF-FE09-7F8F-AAE2-175CC82821B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8362" y="3756031"/>
              <a:ext cx="790575" cy="790575"/>
            </a:xfrm>
            <a:prstGeom prst="rect">
              <a:avLst/>
            </a:prstGeom>
          </p:spPr>
        </p:pic>
      </p:grpSp>
      <p:cxnSp>
        <p:nvCxnSpPr>
          <p:cNvPr id="17" name="Rechte verbindingslijn 14">
            <a:extLst>
              <a:ext uri="{FF2B5EF4-FFF2-40B4-BE49-F238E27FC236}">
                <a16:creationId xmlns:a16="http://schemas.microsoft.com/office/drawing/2014/main" id="{E4166C7A-301C-713B-EC8C-3CEB0FF55FD9}"/>
              </a:ext>
            </a:extLst>
          </p:cNvPr>
          <p:cNvCxnSpPr>
            <a:cxnSpLocks/>
          </p:cNvCxnSpPr>
          <p:nvPr userDrawn="1"/>
        </p:nvCxnSpPr>
        <p:spPr>
          <a:xfrm>
            <a:off x="5960573" y="3222851"/>
            <a:ext cx="560754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Afbeelding 26">
            <a:extLst>
              <a:ext uri="{FF2B5EF4-FFF2-40B4-BE49-F238E27FC236}">
                <a16:creationId xmlns:a16="http://schemas.microsoft.com/office/drawing/2014/main" id="{8DE28149-FB3B-B11C-E65E-967AA9E33B0C}"/>
              </a:ext>
            </a:extLst>
          </p:cNvPr>
          <p:cNvPicPr>
            <a:picLocks noChangeAspect="1"/>
          </p:cNvPicPr>
          <p:nvPr userDrawn="1"/>
        </p:nvPicPr>
        <p:blipFill rotWithShape="1">
          <a:blip r:embed="rId8"/>
          <a:srcRect b="16088"/>
          <a:stretch/>
        </p:blipFill>
        <p:spPr>
          <a:xfrm>
            <a:off x="695325" y="4282515"/>
            <a:ext cx="1573200" cy="705920"/>
          </a:xfrm>
          <a:prstGeom prst="rect">
            <a:avLst/>
          </a:prstGeom>
          <a:solidFill>
            <a:srgbClr val="FFFFFF"/>
          </a:solidFill>
          <a:effectLst>
            <a:outerShdw blurRad="50800" dist="38100" dir="2700000" algn="tl" rotWithShape="0">
              <a:prstClr val="black">
                <a:alpha val="20000"/>
              </a:prstClr>
            </a:outerShdw>
          </a:effectLst>
        </p:spPr>
      </p:pic>
      <p:sp>
        <p:nvSpPr>
          <p:cNvPr id="42" name="Tijdelijke aanduiding voor tekst 4">
            <a:extLst>
              <a:ext uri="{FF2B5EF4-FFF2-40B4-BE49-F238E27FC236}">
                <a16:creationId xmlns:a16="http://schemas.microsoft.com/office/drawing/2014/main" id="{277B35EC-99D6-EA88-4D11-79A56F4842D4}"/>
              </a:ext>
            </a:extLst>
          </p:cNvPr>
          <p:cNvSpPr txBox="1">
            <a:spLocks/>
          </p:cNvSpPr>
          <p:nvPr userDrawn="1"/>
        </p:nvSpPr>
        <p:spPr>
          <a:xfrm>
            <a:off x="695325" y="5116232"/>
            <a:ext cx="4716463" cy="652743"/>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kumimoji="0" lang="nl-NL" sz="1000" b="0" i="0" u="none" strike="noStrike" kern="0" cap="none" spc="0" normalizeH="0" baseline="0" noProof="0">
                <a:ln>
                  <a:noFill/>
                </a:ln>
                <a:solidFill>
                  <a:prstClr val="black"/>
                </a:solidFill>
                <a:effectLst/>
                <a:uLnTx/>
                <a:uFillTx/>
                <a:latin typeface="Syne" pitchFamily="2" charset="0"/>
                <a:cs typeface="Calibri" panose="020F0502020204030204" pitchFamily="34" charset="0"/>
              </a:rPr>
              <a:t>Het eerste tekstniveau heeft geen opsommings-teken en springt niet in. Om een opsommingslijst te starten, klik op de knop </a:t>
            </a:r>
            <a:r>
              <a:rPr kumimoji="0" lang="nl-NL" sz="1000" i="0" u="none" strike="noStrike" kern="0" cap="none" spc="0" normalizeH="0" baseline="0" noProof="0">
                <a:ln>
                  <a:noFill/>
                </a:ln>
                <a:solidFill>
                  <a:srgbClr val="39C643"/>
                </a:solidFill>
                <a:effectLst/>
                <a:uLnTx/>
                <a:uFillTx/>
                <a:latin typeface="Syne" pitchFamily="2" charset="0"/>
                <a:cs typeface="Calibri" panose="020F0502020204030204" pitchFamily="34" charset="0"/>
              </a:rPr>
              <a:t>‘Lijstniveau verhogen’ </a:t>
            </a:r>
            <a:r>
              <a:rPr kumimoji="0" lang="nl-NL" sz="1000" b="0" i="0" u="none" strike="noStrike" kern="0" cap="none" spc="0" normalizeH="0" baseline="0" noProof="0">
                <a:ln>
                  <a:noFill/>
                </a:ln>
                <a:solidFill>
                  <a:prstClr val="black"/>
                </a:solidFill>
                <a:effectLst/>
                <a:uLnTx/>
                <a:uFillTx/>
                <a:latin typeface="Syne" pitchFamily="2" charset="0"/>
                <a:cs typeface="Calibri" panose="020F0502020204030204" pitchFamily="34" charset="0"/>
              </a:rPr>
              <a:t>op het tabblad Start. Deze uitleg staat ook aan de zijkant van elke dia waar tekst op geplaatst kan worden.</a:t>
            </a:r>
          </a:p>
        </p:txBody>
      </p:sp>
      <p:sp>
        <p:nvSpPr>
          <p:cNvPr id="43" name="Tijdelijke aanduiding voor tekst 4">
            <a:extLst>
              <a:ext uri="{FF2B5EF4-FFF2-40B4-BE49-F238E27FC236}">
                <a16:creationId xmlns:a16="http://schemas.microsoft.com/office/drawing/2014/main" id="{A5FB5174-C4B6-4E61-94FA-6399361305F6}"/>
              </a:ext>
            </a:extLst>
          </p:cNvPr>
          <p:cNvSpPr txBox="1">
            <a:spLocks/>
          </p:cNvSpPr>
          <p:nvPr userDrawn="1"/>
        </p:nvSpPr>
        <p:spPr>
          <a:xfrm>
            <a:off x="5960574" y="1700213"/>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Afbeeldingen plaatsen</a:t>
            </a:r>
          </a:p>
        </p:txBody>
      </p:sp>
      <p:sp>
        <p:nvSpPr>
          <p:cNvPr id="44" name="Content Placeholder 6">
            <a:extLst>
              <a:ext uri="{FF2B5EF4-FFF2-40B4-BE49-F238E27FC236}">
                <a16:creationId xmlns:a16="http://schemas.microsoft.com/office/drawing/2014/main" id="{76B75749-BDC7-C36C-DE71-4561BEDD6639}"/>
              </a:ext>
            </a:extLst>
          </p:cNvPr>
          <p:cNvSpPr txBox="1">
            <a:spLocks/>
          </p:cNvSpPr>
          <p:nvPr userDrawn="1">
            <p:custDataLst>
              <p:tags r:id="rId1"/>
            </p:custDataLst>
          </p:nvPr>
        </p:nvSpPr>
        <p:spPr>
          <a:xfrm>
            <a:off x="5960110" y="5101977"/>
            <a:ext cx="5608003" cy="543097"/>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nSpc>
                <a:spcPct val="120000"/>
              </a:lnSpc>
            </a:pPr>
            <a:r>
              <a:rPr lang="nl-NL" sz="1000" noProof="0">
                <a:solidFill>
                  <a:schemeClr val="tx2"/>
                </a:solidFill>
                <a:latin typeface="+mn-lt"/>
              </a:rPr>
              <a:t>Vul indien gewenst </a:t>
            </a:r>
            <a:r>
              <a:rPr kumimoji="0" lang="nl-NL" sz="1000" i="0" u="none" strike="noStrike" kern="0" cap="none" spc="0" normalizeH="0" baseline="0" noProof="0" dirty="0">
                <a:ln>
                  <a:noFill/>
                </a:ln>
                <a:solidFill>
                  <a:srgbClr val="39C643"/>
                </a:solidFill>
                <a:effectLst/>
                <a:uLnTx/>
                <a:uFillTx/>
                <a:latin typeface="Syne" pitchFamily="2" charset="0"/>
                <a:ea typeface="+mn-ea"/>
                <a:cs typeface="Calibri" panose="020F0502020204030204" pitchFamily="34" charset="0"/>
              </a:rPr>
              <a:t>het onderwerp va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de presentatie</a:t>
            </a:r>
            <a:r>
              <a:rPr lang="nl-NL" sz="1000" noProof="0">
                <a:solidFill>
                  <a:schemeClr val="tx2"/>
                </a:solidFill>
                <a:latin typeface="+mn-lt"/>
              </a:rPr>
              <a:t> </a:t>
            </a:r>
            <a:r>
              <a:rPr lang="nl-NL" sz="1000" noProof="0" dirty="0">
                <a:solidFill>
                  <a:schemeClr val="tx2"/>
                </a:solidFill>
                <a:latin typeface="+mn-lt"/>
              </a:rPr>
              <a:t>in via tabblad Invoegen – Koptekst en voettekst. Wanneer je geen voettekst wilt, vink je deze </a:t>
            </a:r>
            <a:r>
              <a:rPr lang="nl-NL" sz="1000" noProof="0">
                <a:solidFill>
                  <a:schemeClr val="tx2"/>
                </a:solidFill>
                <a:latin typeface="+mn-lt"/>
              </a:rPr>
              <a:t>uit. Hier kun je ook de paginanummering aan- of uitzetten</a:t>
            </a:r>
            <a:endParaRPr lang="nl-NL" sz="1000" noProof="0" dirty="0">
              <a:solidFill>
                <a:schemeClr val="tx2"/>
              </a:solidFill>
              <a:latin typeface="+mn-lt"/>
            </a:endParaRPr>
          </a:p>
        </p:txBody>
      </p:sp>
      <p:sp>
        <p:nvSpPr>
          <p:cNvPr id="46" name="Vrije vorm: vorm 45">
            <a:extLst>
              <a:ext uri="{FF2B5EF4-FFF2-40B4-BE49-F238E27FC236}">
                <a16:creationId xmlns:a16="http://schemas.microsoft.com/office/drawing/2014/main" id="{DD3A5300-ED16-FCB9-677C-4A25F6F79423}"/>
              </a:ext>
            </a:extLst>
          </p:cNvPr>
          <p:cNvSpPr/>
          <p:nvPr userDrawn="1"/>
        </p:nvSpPr>
        <p:spPr>
          <a:xfrm rot="5400000" flipH="1">
            <a:off x="9810754" y="6126225"/>
            <a:ext cx="540000" cy="0"/>
          </a:xfrm>
          <a:custGeom>
            <a:avLst/>
            <a:gdLst>
              <a:gd name="connsiteX0" fmla="*/ 3479800 w 3479800"/>
              <a:gd name="connsiteY0" fmla="*/ 0 h 358775"/>
              <a:gd name="connsiteX1" fmla="*/ 3479800 w 3479800"/>
              <a:gd name="connsiteY1" fmla="*/ 358775 h 358775"/>
              <a:gd name="connsiteX2" fmla="*/ 0 w 3479800"/>
              <a:gd name="connsiteY2" fmla="*/ 358775 h 358775"/>
              <a:gd name="connsiteX0" fmla="*/ 3479800 w 3479800"/>
              <a:gd name="connsiteY0" fmla="*/ 0 h 0"/>
              <a:gd name="connsiteX1" fmla="*/ 0 w 3479800"/>
              <a:gd name="connsiteY1" fmla="*/ 0 h 0"/>
            </a:gdLst>
            <a:ahLst/>
            <a:cxnLst>
              <a:cxn ang="0">
                <a:pos x="connsiteX0" y="connsiteY0"/>
              </a:cxn>
              <a:cxn ang="0">
                <a:pos x="connsiteX1" y="connsiteY1"/>
              </a:cxn>
            </a:cxnLst>
            <a:rect l="l" t="t" r="r" b="b"/>
            <a:pathLst>
              <a:path w="3479800">
                <a:moveTo>
                  <a:pt x="3479800" y="0"/>
                </a:moveTo>
                <a:lnTo>
                  <a:pt x="0" y="0"/>
                </a:lnTo>
              </a:path>
            </a:pathLst>
          </a:custGeom>
          <a:noFill/>
          <a:ln w="6350">
            <a:solidFill>
              <a:schemeClr val="accent3"/>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49" dirty="0">
              <a:solidFill>
                <a:schemeClr val="tx2"/>
              </a:solidFill>
            </a:endParaRPr>
          </a:p>
        </p:txBody>
      </p:sp>
      <p:pic>
        <p:nvPicPr>
          <p:cNvPr id="47" name="Afbeelding 39">
            <a:extLst>
              <a:ext uri="{FF2B5EF4-FFF2-40B4-BE49-F238E27FC236}">
                <a16:creationId xmlns:a16="http://schemas.microsoft.com/office/drawing/2014/main" id="{077EC65A-E99B-E416-5EAC-F026D5709B4F}"/>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9162461" y="5509745"/>
            <a:ext cx="2405652" cy="259230"/>
          </a:xfrm>
          <a:prstGeom prst="rect">
            <a:avLst/>
          </a:prstGeom>
          <a:effectLst>
            <a:outerShdw blurRad="63500" sx="102000" sy="102000" algn="ctr" rotWithShape="0">
              <a:prstClr val="black">
                <a:alpha val="20000"/>
              </a:prstClr>
            </a:outerShdw>
          </a:effectLst>
        </p:spPr>
      </p:pic>
      <p:cxnSp>
        <p:nvCxnSpPr>
          <p:cNvPr id="48" name="Rechte verbindingslijn 14">
            <a:extLst>
              <a:ext uri="{FF2B5EF4-FFF2-40B4-BE49-F238E27FC236}">
                <a16:creationId xmlns:a16="http://schemas.microsoft.com/office/drawing/2014/main" id="{D00025EA-9950-E0CA-E026-B171D6E4C7E0}"/>
              </a:ext>
            </a:extLst>
          </p:cNvPr>
          <p:cNvCxnSpPr>
            <a:cxnSpLocks/>
          </p:cNvCxnSpPr>
          <p:nvPr userDrawn="1"/>
        </p:nvCxnSpPr>
        <p:spPr>
          <a:xfrm>
            <a:off x="5960573" y="4744698"/>
            <a:ext cx="560754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ijdelijke aanduiding voor tekst 4">
            <a:extLst>
              <a:ext uri="{FF2B5EF4-FFF2-40B4-BE49-F238E27FC236}">
                <a16:creationId xmlns:a16="http://schemas.microsoft.com/office/drawing/2014/main" id="{D0E41A0F-F160-5F31-4E23-D90DA7976ED0}"/>
              </a:ext>
            </a:extLst>
          </p:cNvPr>
          <p:cNvSpPr txBox="1">
            <a:spLocks/>
          </p:cNvSpPr>
          <p:nvPr userDrawn="1"/>
        </p:nvSpPr>
        <p:spPr>
          <a:xfrm>
            <a:off x="5960110" y="4835707"/>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Koptekst en voettekst</a:t>
            </a:r>
          </a:p>
        </p:txBody>
      </p:sp>
      <p:sp>
        <p:nvSpPr>
          <p:cNvPr id="50" name="Tijdelijke aanduiding voor voettekst 3">
            <a:extLst>
              <a:ext uri="{FF2B5EF4-FFF2-40B4-BE49-F238E27FC236}">
                <a16:creationId xmlns:a16="http://schemas.microsoft.com/office/drawing/2014/main" id="{4E23721D-B743-A021-2DB7-392E0A3508B1}"/>
              </a:ext>
            </a:extLst>
          </p:cNvPr>
          <p:cNvSpPr txBox="1">
            <a:spLocks/>
          </p:cNvSpPr>
          <p:nvPr userDrawn="1"/>
        </p:nvSpPr>
        <p:spPr>
          <a:xfrm>
            <a:off x="6947953" y="6469662"/>
            <a:ext cx="4114800" cy="138499"/>
          </a:xfrm>
          <a:prstGeom prst="rect">
            <a:avLst/>
          </a:prstGeom>
        </p:spPr>
        <p:txBody>
          <a:bodyPr vert="horz" lIns="0" tIns="0" rIns="0" bIns="0" rtlCol="0" anchor="ctr">
            <a:spAutoFit/>
          </a:bodyPr>
          <a:lstStyle>
            <a:defPPr>
              <a:defRPr lang="nl-NL"/>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Voettekst (bijvoorbeeld naam van de presentatie)</a:t>
            </a:r>
            <a:endParaRPr lang="nl-NL" dirty="0"/>
          </a:p>
        </p:txBody>
      </p:sp>
      <p:sp>
        <p:nvSpPr>
          <p:cNvPr id="51" name="Tijdelijke aanduiding voor dianummer 4">
            <a:extLst>
              <a:ext uri="{FF2B5EF4-FFF2-40B4-BE49-F238E27FC236}">
                <a16:creationId xmlns:a16="http://schemas.microsoft.com/office/drawing/2014/main" id="{AAE66216-78AE-B3EC-B5D9-226CE77C1F95}"/>
              </a:ext>
            </a:extLst>
          </p:cNvPr>
          <p:cNvSpPr txBox="1">
            <a:spLocks/>
          </p:cNvSpPr>
          <p:nvPr userDrawn="1"/>
        </p:nvSpPr>
        <p:spPr>
          <a:xfrm>
            <a:off x="11459108" y="6469662"/>
            <a:ext cx="109005" cy="138499"/>
          </a:xfrm>
          <a:prstGeom prst="rect">
            <a:avLst/>
          </a:prstGeom>
        </p:spPr>
        <p:txBody>
          <a:bodyPr vert="horz" wrap="none" lIns="0" tIns="0" rIns="0" bIns="0" rtlCol="0" anchor="ctr">
            <a:spAutoFit/>
          </a:bodyPr>
          <a:lstStyle>
            <a:defPPr>
              <a:defRPr lang="nl-NL"/>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28</a:t>
            </a:r>
            <a:endParaRPr lang="nl-NL" dirty="0"/>
          </a:p>
        </p:txBody>
      </p:sp>
      <p:sp>
        <p:nvSpPr>
          <p:cNvPr id="61" name="Content Placeholder 4">
            <a:extLst>
              <a:ext uri="{FF2B5EF4-FFF2-40B4-BE49-F238E27FC236}">
                <a16:creationId xmlns:a16="http://schemas.microsoft.com/office/drawing/2014/main" id="{CD729985-6683-B853-1D1E-C00EE342F092}"/>
              </a:ext>
            </a:extLst>
          </p:cNvPr>
          <p:cNvSpPr txBox="1">
            <a:spLocks/>
          </p:cNvSpPr>
          <p:nvPr userDrawn="1"/>
        </p:nvSpPr>
        <p:spPr>
          <a:xfrm>
            <a:off x="695325" y="1948301"/>
            <a:ext cx="4716000" cy="50077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00" noProof="0">
                <a:solidFill>
                  <a:schemeClr val="tx2"/>
                </a:solidFill>
                <a:latin typeface="+mn-lt"/>
              </a:rPr>
              <a:t>De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lettertypes</a:t>
            </a:r>
            <a:r>
              <a:rPr lang="nl-NL" sz="1000" noProof="0">
                <a:solidFill>
                  <a:schemeClr val="tx2"/>
                </a:solidFill>
                <a:latin typeface="+mn-lt"/>
              </a:rPr>
              <a:t> die worden gebruikt in deze template zij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Syne</a:t>
            </a:r>
            <a:r>
              <a:rPr lang="nl-NL" sz="1000" noProof="0">
                <a:solidFill>
                  <a:schemeClr val="tx2"/>
                </a:solidFill>
                <a:latin typeface="+mn-lt"/>
              </a:rPr>
              <a:t> e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Syne Semibold</a:t>
            </a:r>
            <a:r>
              <a:rPr lang="nl-NL" sz="1000" noProof="0">
                <a:solidFill>
                  <a:schemeClr val="tx2"/>
                </a:solidFill>
                <a:latin typeface="+mn-lt"/>
              </a:rPr>
              <a:t>.</a:t>
            </a:r>
          </a:p>
          <a:p>
            <a:pPr marL="0" indent="0">
              <a:lnSpc>
                <a:spcPct val="110000"/>
              </a:lnSpc>
              <a:buFontTx/>
              <a:buNone/>
            </a:pPr>
            <a:r>
              <a:rPr lang="nl-NL" sz="1000" noProof="0">
                <a:solidFill>
                  <a:schemeClr val="tx2"/>
                </a:solidFill>
                <a:latin typeface="+mn-lt"/>
              </a:rPr>
              <a:t>Het Syne lettertype is een Google lettertype en kan worden gedownload op </a:t>
            </a:r>
            <a:r>
              <a:rPr lang="nl-NL" sz="1000" noProof="0">
                <a:solidFill>
                  <a:schemeClr val="tx2"/>
                </a:solidFill>
                <a:latin typeface="+mn-lt"/>
                <a:hlinkClick r:id="rId10"/>
              </a:rPr>
              <a:t>https://fonts.google.com/</a:t>
            </a:r>
            <a:r>
              <a:rPr lang="nl-NL" sz="1000" noProof="0">
                <a:solidFill>
                  <a:schemeClr val="tx2"/>
                </a:solidFill>
                <a:latin typeface="+mn-lt"/>
              </a:rPr>
              <a:t> </a:t>
            </a:r>
            <a:endParaRPr lang="nl-NL" sz="1000" noProof="0" dirty="0">
              <a:solidFill>
                <a:schemeClr val="tx2"/>
              </a:solidFill>
              <a:latin typeface="+mn-lt"/>
            </a:endParaRPr>
          </a:p>
        </p:txBody>
      </p:sp>
      <p:sp>
        <p:nvSpPr>
          <p:cNvPr id="62" name="Tijdelijke aanduiding voor tekst 4">
            <a:extLst>
              <a:ext uri="{FF2B5EF4-FFF2-40B4-BE49-F238E27FC236}">
                <a16:creationId xmlns:a16="http://schemas.microsoft.com/office/drawing/2014/main" id="{C5A13D8C-A987-CAF6-7B48-F3AE2E4B82C3}"/>
              </a:ext>
            </a:extLst>
          </p:cNvPr>
          <p:cNvSpPr txBox="1">
            <a:spLocks/>
          </p:cNvSpPr>
          <p:nvPr userDrawn="1"/>
        </p:nvSpPr>
        <p:spPr>
          <a:xfrm>
            <a:off x="695327" y="1700213"/>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Thema</a:t>
            </a:r>
          </a:p>
        </p:txBody>
      </p:sp>
      <p:sp>
        <p:nvSpPr>
          <p:cNvPr id="63" name="Content Placeholder 4">
            <a:extLst>
              <a:ext uri="{FF2B5EF4-FFF2-40B4-BE49-F238E27FC236}">
                <a16:creationId xmlns:a16="http://schemas.microsoft.com/office/drawing/2014/main" id="{C10306DC-EBF0-7D04-1FB3-D9E0ECC36A36}"/>
              </a:ext>
            </a:extLst>
          </p:cNvPr>
          <p:cNvSpPr txBox="1">
            <a:spLocks/>
          </p:cNvSpPr>
          <p:nvPr userDrawn="1"/>
        </p:nvSpPr>
        <p:spPr>
          <a:xfrm>
            <a:off x="695325" y="2576098"/>
            <a:ext cx="4716000" cy="16222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00" noProof="0">
                <a:solidFill>
                  <a:schemeClr val="tx2"/>
                </a:solidFill>
                <a:latin typeface="+mn-lt"/>
              </a:rPr>
              <a:t>Het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kleurenschema</a:t>
            </a:r>
            <a:r>
              <a:rPr lang="nl-NL" sz="1000" noProof="0">
                <a:solidFill>
                  <a:schemeClr val="tx2"/>
                </a:solidFill>
                <a:latin typeface="+mn-lt"/>
              </a:rPr>
              <a:t> van deze template ziet er als volgt uit:</a:t>
            </a:r>
            <a:endParaRPr lang="nl-NL" sz="1000" noProof="0" dirty="0">
              <a:solidFill>
                <a:schemeClr val="tx2"/>
              </a:solidFill>
              <a:latin typeface="+mn-lt"/>
            </a:endParaRPr>
          </a:p>
        </p:txBody>
      </p:sp>
      <p:pic>
        <p:nvPicPr>
          <p:cNvPr id="65" name="Afbeelding 64">
            <a:extLst>
              <a:ext uri="{FF2B5EF4-FFF2-40B4-BE49-F238E27FC236}">
                <a16:creationId xmlns:a16="http://schemas.microsoft.com/office/drawing/2014/main" id="{7B026429-D9FC-717F-1A76-4A2C52A482C0}"/>
              </a:ext>
            </a:extLst>
          </p:cNvPr>
          <p:cNvPicPr>
            <a:picLocks noChangeAspect="1"/>
          </p:cNvPicPr>
          <p:nvPr userDrawn="1"/>
        </p:nvPicPr>
        <p:blipFill rotWithShape="1">
          <a:blip r:embed="rId11"/>
          <a:srcRect t="2106"/>
          <a:stretch/>
        </p:blipFill>
        <p:spPr>
          <a:xfrm>
            <a:off x="695325" y="2822448"/>
            <a:ext cx="1294774" cy="1000335"/>
          </a:xfrm>
          <a:prstGeom prst="rect">
            <a:avLst/>
          </a:prstGeom>
          <a:solidFill>
            <a:schemeClr val="bg2"/>
          </a:solidFill>
          <a:effectLst>
            <a:outerShdw blurRad="50800" dist="38100" dir="2700000" algn="tl" rotWithShape="0">
              <a:prstClr val="black">
                <a:alpha val="20000"/>
              </a:prstClr>
            </a:outerShdw>
          </a:effectLst>
        </p:spPr>
      </p:pic>
      <p:sp>
        <p:nvSpPr>
          <p:cNvPr id="66" name="Tijdelijke aanduiding voor tekst 4">
            <a:extLst>
              <a:ext uri="{FF2B5EF4-FFF2-40B4-BE49-F238E27FC236}">
                <a16:creationId xmlns:a16="http://schemas.microsoft.com/office/drawing/2014/main" id="{5D6A9AA8-A4C9-0751-DFE4-C74E92F32248}"/>
              </a:ext>
            </a:extLst>
          </p:cNvPr>
          <p:cNvSpPr txBox="1">
            <a:spLocks/>
          </p:cNvSpPr>
          <p:nvPr userDrawn="1"/>
        </p:nvSpPr>
        <p:spPr>
          <a:xfrm>
            <a:off x="5960574" y="3340037"/>
            <a:ext cx="4716463" cy="190565"/>
          </a:xfrm>
          <a:prstGeom prst="rect">
            <a:avLst/>
          </a:prstGeom>
        </p:spPr>
        <p:txBody>
          <a:bodyPr vert="horz" lIns="0" tIns="0" rIns="0" bIns="0" rtlCol="0">
            <a:spAutoFit/>
          </a:bodyPr>
          <a:lst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solidFill>
                  <a:schemeClr val="accent1"/>
                </a:solidFill>
                <a:latin typeface="+mj-lt"/>
              </a:rPr>
              <a:t>Hulplijnen</a:t>
            </a:r>
          </a:p>
        </p:txBody>
      </p:sp>
      <p:pic>
        <p:nvPicPr>
          <p:cNvPr id="70" name="Afbeelding 69">
            <a:extLst>
              <a:ext uri="{FF2B5EF4-FFF2-40B4-BE49-F238E27FC236}">
                <a16:creationId xmlns:a16="http://schemas.microsoft.com/office/drawing/2014/main" id="{3E215CAD-0BC2-62AA-5721-0A2D68A2D2B2}"/>
              </a:ext>
            </a:extLst>
          </p:cNvPr>
          <p:cNvPicPr>
            <a:picLocks noChangeAspect="1"/>
          </p:cNvPicPr>
          <p:nvPr userDrawn="1"/>
        </p:nvPicPr>
        <p:blipFill rotWithShape="1">
          <a:blip r:embed="rId12"/>
          <a:srcRect l="6167"/>
          <a:stretch/>
        </p:blipFill>
        <p:spPr>
          <a:xfrm>
            <a:off x="10704059" y="3329543"/>
            <a:ext cx="864054" cy="573717"/>
          </a:xfrm>
          <a:prstGeom prst="rect">
            <a:avLst/>
          </a:prstGeom>
          <a:effectLst>
            <a:outerShdw blurRad="63500" sx="102000" sy="102000" algn="ctr" rotWithShape="0">
              <a:prstClr val="black">
                <a:alpha val="20000"/>
              </a:prstClr>
            </a:outerShdw>
          </a:effectLst>
        </p:spPr>
      </p:pic>
      <p:sp>
        <p:nvSpPr>
          <p:cNvPr id="71" name="Content Placeholder 4">
            <a:extLst>
              <a:ext uri="{FF2B5EF4-FFF2-40B4-BE49-F238E27FC236}">
                <a16:creationId xmlns:a16="http://schemas.microsoft.com/office/drawing/2014/main" id="{B6AD2041-583E-CF74-B447-6B10FFAEB100}"/>
              </a:ext>
            </a:extLst>
          </p:cNvPr>
          <p:cNvSpPr txBox="1">
            <a:spLocks/>
          </p:cNvSpPr>
          <p:nvPr userDrawn="1"/>
        </p:nvSpPr>
        <p:spPr>
          <a:xfrm>
            <a:off x="5960571" y="3632321"/>
            <a:ext cx="5607541" cy="1008609"/>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Hulplijnen</a:t>
            </a:r>
            <a:r>
              <a:rPr lang="nl-NL" sz="1000" noProof="0">
                <a:solidFill>
                  <a:schemeClr val="tx2"/>
                </a:solidFill>
                <a:latin typeface="+mn-lt"/>
              </a:rPr>
              <a:t> zijn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gestippelde rode en oranje lijnen </a:t>
            </a:r>
            <a:r>
              <a:rPr lang="nl-NL" sz="1000" noProof="0">
                <a:solidFill>
                  <a:schemeClr val="tx2"/>
                </a:solidFill>
                <a:latin typeface="+mn-lt"/>
              </a:rPr>
              <a:t>in PowerPoint en deze zijn </a:t>
            </a:r>
            <a:br>
              <a:rPr lang="nl-NL" sz="1000" noProof="0">
                <a:solidFill>
                  <a:schemeClr val="tx2"/>
                </a:solidFill>
                <a:latin typeface="+mn-lt"/>
              </a:rPr>
            </a:br>
            <a:r>
              <a:rPr lang="nl-NL" sz="1000" noProof="0">
                <a:solidFill>
                  <a:schemeClr val="tx2"/>
                </a:solidFill>
                <a:latin typeface="+mn-lt"/>
              </a:rPr>
              <a:t>magnetisch. Dit betekent dat wanneer je een object zoals een tekstvak, afbeelding </a:t>
            </a:r>
            <a:br>
              <a:rPr lang="nl-NL" sz="1000" noProof="0">
                <a:solidFill>
                  <a:schemeClr val="tx2"/>
                </a:solidFill>
                <a:latin typeface="+mn-lt"/>
              </a:rPr>
            </a:br>
            <a:r>
              <a:rPr lang="nl-NL" sz="1000" noProof="0">
                <a:solidFill>
                  <a:schemeClr val="tx2"/>
                </a:solidFill>
                <a:latin typeface="+mn-lt"/>
              </a:rPr>
              <a:t>of vorm naar een hulplijn sleept, het object automatisch naar de hulplijn wordt getrokken en zich daaraan uitlijnt. Dit maakt het gemakkelijker om objecten precies te plaatsen en ervoor te zorgen dat ze op één lijn liggen met andere elementen op de dia.</a:t>
            </a:r>
          </a:p>
          <a:p>
            <a:pPr marL="0" indent="0">
              <a:lnSpc>
                <a:spcPct val="110000"/>
              </a:lnSpc>
              <a:buFontTx/>
              <a:buNone/>
            </a:pPr>
            <a:r>
              <a:rPr lang="nl-NL" sz="1000" noProof="0">
                <a:solidFill>
                  <a:schemeClr val="tx2"/>
                </a:solidFill>
                <a:latin typeface="+mn-lt"/>
              </a:rPr>
              <a:t>Zet de hulplijnen aan of uit met de sneltoets </a:t>
            </a:r>
            <a:r>
              <a:rPr kumimoji="0" lang="nl-NL" sz="1000" i="0" u="none" strike="noStrike" kern="0" cap="none" spc="0" normalizeH="0" baseline="0" noProof="0">
                <a:ln>
                  <a:noFill/>
                </a:ln>
                <a:solidFill>
                  <a:srgbClr val="39C643"/>
                </a:solidFill>
                <a:effectLst/>
                <a:uLnTx/>
                <a:uFillTx/>
                <a:latin typeface="Syne" pitchFamily="2" charset="0"/>
                <a:ea typeface="+mn-ea"/>
                <a:cs typeface="Calibri" panose="020F0502020204030204" pitchFamily="34" charset="0"/>
              </a:rPr>
              <a:t>Ctrl-F9. </a:t>
            </a:r>
            <a:endParaRPr kumimoji="0" lang="nl-NL" sz="1000" i="0" u="none" strike="noStrike" kern="0" cap="none" spc="0" normalizeH="0" baseline="0" noProof="0" dirty="0">
              <a:ln>
                <a:noFill/>
              </a:ln>
              <a:solidFill>
                <a:srgbClr val="39C643"/>
              </a:solidFill>
              <a:effectLst/>
              <a:uLnTx/>
              <a:uFillTx/>
              <a:latin typeface="Syne" pitchFamily="2" charset="0"/>
              <a:ea typeface="+mn-ea"/>
              <a:cs typeface="Calibri" panose="020F0502020204030204" pitchFamily="34" charset="0"/>
            </a:endParaRPr>
          </a:p>
        </p:txBody>
      </p:sp>
      <p:sp>
        <p:nvSpPr>
          <p:cNvPr id="75" name="Vrije vorm: vorm 74">
            <a:extLst>
              <a:ext uri="{FF2B5EF4-FFF2-40B4-BE49-F238E27FC236}">
                <a16:creationId xmlns:a16="http://schemas.microsoft.com/office/drawing/2014/main" id="{D325E5B3-4880-6D97-19A8-C01D159294EC}"/>
              </a:ext>
            </a:extLst>
          </p:cNvPr>
          <p:cNvSpPr/>
          <p:nvPr userDrawn="1"/>
        </p:nvSpPr>
        <p:spPr>
          <a:xfrm rot="5400000" flipH="1">
            <a:off x="11237597" y="6126225"/>
            <a:ext cx="540000" cy="0"/>
          </a:xfrm>
          <a:custGeom>
            <a:avLst/>
            <a:gdLst>
              <a:gd name="connsiteX0" fmla="*/ 3479800 w 3479800"/>
              <a:gd name="connsiteY0" fmla="*/ 0 h 358775"/>
              <a:gd name="connsiteX1" fmla="*/ 3479800 w 3479800"/>
              <a:gd name="connsiteY1" fmla="*/ 358775 h 358775"/>
              <a:gd name="connsiteX2" fmla="*/ 0 w 3479800"/>
              <a:gd name="connsiteY2" fmla="*/ 358775 h 358775"/>
              <a:gd name="connsiteX0" fmla="*/ 3479800 w 3479800"/>
              <a:gd name="connsiteY0" fmla="*/ 0 h 0"/>
              <a:gd name="connsiteX1" fmla="*/ 0 w 3479800"/>
              <a:gd name="connsiteY1" fmla="*/ 0 h 0"/>
            </a:gdLst>
            <a:ahLst/>
            <a:cxnLst>
              <a:cxn ang="0">
                <a:pos x="connsiteX0" y="connsiteY0"/>
              </a:cxn>
              <a:cxn ang="0">
                <a:pos x="connsiteX1" y="connsiteY1"/>
              </a:cxn>
            </a:cxnLst>
            <a:rect l="l" t="t" r="r" b="b"/>
            <a:pathLst>
              <a:path w="3479800">
                <a:moveTo>
                  <a:pt x="3479800" y="0"/>
                </a:moveTo>
                <a:lnTo>
                  <a:pt x="0" y="0"/>
                </a:lnTo>
              </a:path>
            </a:pathLst>
          </a:custGeom>
          <a:noFill/>
          <a:ln w="6350">
            <a:solidFill>
              <a:schemeClr val="accent3"/>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49" dirty="0">
              <a:solidFill>
                <a:schemeClr val="tx2"/>
              </a:solidFill>
            </a:endParaRPr>
          </a:p>
        </p:txBody>
      </p:sp>
    </p:spTree>
    <p:extLst>
      <p:ext uri="{BB962C8B-B14F-4D97-AF65-F5344CB8AC3E}">
        <p14:creationId xmlns:p14="http://schemas.microsoft.com/office/powerpoint/2010/main" val="53004001"/>
      </p:ext>
    </p:extLst>
  </p:cSld>
  <p:clrMapOvr>
    <a:masterClrMapping/>
  </p:clrMapOvr>
  <p:extLst>
    <p:ext uri="{DCECCB84-F9BA-43D5-87BE-67443E8EF086}">
      <p15:sldGuideLst xmlns:p15="http://schemas.microsoft.com/office/powerpoint/2012/main">
        <p15:guide id="1" orient="horz" pos="1071">
          <p15:clr>
            <a:srgbClr val="FBAE40"/>
          </p15:clr>
        </p15:guide>
        <p15:guide id="2" pos="438">
          <p15:clr>
            <a:srgbClr val="FBAE40"/>
          </p15:clr>
        </p15:guide>
        <p15:guide id="3" pos="7287">
          <p15:clr>
            <a:srgbClr val="FBAE40"/>
          </p15:clr>
        </p15:guide>
        <p15:guide id="4" orient="horz" pos="36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4F70A9-1EA1-474D-87DC-FDA1EC5A513B}"/>
              </a:ext>
            </a:extLst>
          </p:cNvPr>
          <p:cNvSpPr>
            <a:spLocks noGrp="1"/>
          </p:cNvSpPr>
          <p:nvPr>
            <p:ph type="title" hasCustomPrompt="1"/>
          </p:nvPr>
        </p:nvSpPr>
        <p:spPr>
          <a:xfrm>
            <a:off x="690563" y="566298"/>
            <a:ext cx="10809287" cy="735756"/>
          </a:xfrm>
        </p:spPr>
        <p:txBody>
          <a:bodyPr wrap="square" lIns="90000" tIns="90000" rIns="90000" bIns="90000">
            <a:spAutoFit/>
          </a:bodyPr>
          <a:lstStyle>
            <a:lvl1pPr>
              <a:defRPr sz="4000">
                <a:solidFill>
                  <a:schemeClr val="tx2"/>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0013876C-BF09-DA48-85C4-04960D18A73E}"/>
              </a:ext>
            </a:extLst>
          </p:cNvPr>
          <p:cNvSpPr>
            <a:spLocks noGrp="1"/>
          </p:cNvSpPr>
          <p:nvPr>
            <p:ph idx="1"/>
          </p:nvPr>
        </p:nvSpPr>
        <p:spPr>
          <a:xfrm>
            <a:off x="690563" y="2173976"/>
            <a:ext cx="10809287" cy="3982931"/>
          </a:xfrm>
        </p:spPr>
        <p:txBody>
          <a:bodyPr/>
          <a:lstStyle>
            <a:lvl1pPr>
              <a:lnSpc>
                <a:spcPct val="85000"/>
              </a:lnSpc>
              <a:buClr>
                <a:schemeClr val="tx2"/>
              </a:buClr>
              <a:defRPr sz="2500">
                <a:solidFill>
                  <a:schemeClr val="tx2"/>
                </a:solidFill>
              </a:defRPr>
            </a:lvl1pPr>
            <a:lvl2pPr>
              <a:lnSpc>
                <a:spcPct val="85000"/>
              </a:lnSpc>
              <a:buClr>
                <a:schemeClr val="tx2"/>
              </a:buClr>
              <a:defRPr sz="2500">
                <a:solidFill>
                  <a:schemeClr val="tx2"/>
                </a:solidFill>
              </a:defRPr>
            </a:lvl2pPr>
            <a:lvl3pPr>
              <a:lnSpc>
                <a:spcPct val="85000"/>
              </a:lnSpc>
              <a:buClr>
                <a:schemeClr val="tx2"/>
              </a:buClr>
              <a:defRPr sz="2500">
                <a:solidFill>
                  <a:schemeClr val="tx2"/>
                </a:solidFill>
              </a:defRPr>
            </a:lvl3pPr>
            <a:lvl4pPr>
              <a:lnSpc>
                <a:spcPct val="85000"/>
              </a:lnSpc>
              <a:buClr>
                <a:schemeClr val="tx2"/>
              </a:buClr>
              <a:defRPr sz="2500">
                <a:solidFill>
                  <a:schemeClr val="tx2"/>
                </a:solidFill>
              </a:defRPr>
            </a:lvl4pPr>
            <a:lvl5pPr>
              <a:lnSpc>
                <a:spcPct val="85000"/>
              </a:lnSpc>
              <a:buClr>
                <a:schemeClr val="tx2"/>
              </a:buClr>
              <a:defRPr sz="2500">
                <a:solidFill>
                  <a:schemeClr val="tx2"/>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Right Triangle 6">
            <a:extLst>
              <a:ext uri="{FF2B5EF4-FFF2-40B4-BE49-F238E27FC236}">
                <a16:creationId xmlns:a16="http://schemas.microsoft.com/office/drawing/2014/main" id="{BD8AFEF8-2709-858B-1ED1-A4B87CC80403}"/>
              </a:ext>
            </a:extLst>
          </p:cNvPr>
          <p:cNvSpPr/>
          <p:nvPr userDrawn="1"/>
        </p:nvSpPr>
        <p:spPr>
          <a:xfrm>
            <a:off x="-2" y="6176364"/>
            <a:ext cx="690565" cy="681635"/>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cxnSp>
        <p:nvCxnSpPr>
          <p:cNvPr id="8" name="Straight Connector 7">
            <a:extLst>
              <a:ext uri="{FF2B5EF4-FFF2-40B4-BE49-F238E27FC236}">
                <a16:creationId xmlns:a16="http://schemas.microsoft.com/office/drawing/2014/main" id="{A60218D0-5B19-3C36-F13D-FC1675EB1827}"/>
              </a:ext>
            </a:extLst>
          </p:cNvPr>
          <p:cNvCxnSpPr/>
          <p:nvPr userDrawn="1"/>
        </p:nvCxnSpPr>
        <p:spPr>
          <a:xfrm>
            <a:off x="0" y="1587137"/>
            <a:ext cx="1105770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B7F5628-AAE6-6FE6-342D-E34DE694625E}"/>
              </a:ext>
            </a:extLst>
          </p:cNvPr>
          <p:cNvCxnSpPr>
            <a:cxnSpLocks/>
          </p:cNvCxnSpPr>
          <p:nvPr userDrawn="1"/>
        </p:nvCxnSpPr>
        <p:spPr>
          <a:xfrm flipH="1" flipV="1">
            <a:off x="11057709" y="1587137"/>
            <a:ext cx="1134291" cy="112306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42753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7.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6.png"/><Relationship Id="rId5" Type="http://schemas.openxmlformats.org/officeDocument/2006/relationships/slideLayout" Target="../slideLayouts/slideLayout16.xml"/><Relationship Id="rId10" Type="http://schemas.openxmlformats.org/officeDocument/2006/relationships/image" Target="../media/image3.png"/><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theme" Target="../theme/theme4.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image" Target="../media/image9.sv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image" Target="../media/image8.pn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image" Target="../media/image49.svg"/><Relationship Id="rId7" Type="http://schemas.openxmlformats.org/officeDocument/2006/relationships/slideLayout" Target="../slideLayouts/slideLayout6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41" Type="http://schemas.openxmlformats.org/officeDocument/2006/relationships/image" Target="../media/image8.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theme" Target="../theme/theme5.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 Id="rId8" Type="http://schemas.openxmlformats.org/officeDocument/2006/relationships/slideLayout" Target="../slideLayouts/slideLayout65.xml"/><Relationship Id="rId3" Type="http://schemas.openxmlformats.org/officeDocument/2006/relationships/slideLayout" Target="../slideLayouts/slideLayout60.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73386"/>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71" r:id="rId3"/>
  </p:sldLayoutIdLst>
  <p:hf hdr="0" dt="0"/>
  <p:txStyles>
    <p:titleStyle>
      <a:lvl1pPr algn="l" defTabSz="914400" rtl="0" eaLnBrk="1" latinLnBrk="0" hangingPunct="1">
        <a:lnSpc>
          <a:spcPct val="90000"/>
        </a:lnSpc>
        <a:spcBef>
          <a:spcPct val="0"/>
        </a:spcBef>
        <a:buNone/>
        <a:defRPr sz="4400" b="1" kern="1200">
          <a:solidFill>
            <a:schemeClr val="tx1"/>
          </a:solidFill>
          <a:latin typeface="Muli"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uli"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uli"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uli"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0" userDrawn="1">
          <p15:clr>
            <a:srgbClr val="F26B43"/>
          </p15:clr>
        </p15:guide>
        <p15:guide id="4" pos="529" userDrawn="1">
          <p15:clr>
            <a:srgbClr val="F26B43"/>
          </p15:clr>
        </p15:guide>
        <p15:guide id="5" pos="7151" userDrawn="1">
          <p15:clr>
            <a:srgbClr val="F26B43"/>
          </p15:clr>
        </p15:guide>
        <p15:guide id="6" orient="horz" pos="1071" userDrawn="1">
          <p15:clr>
            <a:srgbClr val="F26B43"/>
          </p15:clr>
        </p15:guide>
        <p15:guide id="7" orient="horz" pos="1139" userDrawn="1">
          <p15:clr>
            <a:srgbClr val="F26B43"/>
          </p15:clr>
        </p15:guide>
        <p15:guide id="8" orient="horz" pos="2160" userDrawn="1">
          <p15:clr>
            <a:srgbClr val="F26B43"/>
          </p15:clr>
        </p15:guide>
        <p15:guide id="9" orient="horz" pos="232" userDrawn="1">
          <p15:clr>
            <a:srgbClr val="F26B43"/>
          </p15:clr>
        </p15:guide>
        <p15:guide id="10" orient="horz" pos="3884" userDrawn="1">
          <p15:clr>
            <a:srgbClr val="F26B43"/>
          </p15:clr>
        </p15:guide>
        <p15:guide id="11" pos="3953" userDrawn="1">
          <p15:clr>
            <a:srgbClr val="F26B43"/>
          </p15:clr>
        </p15:guide>
        <p15:guide id="12" pos="3727" userDrawn="1">
          <p15:clr>
            <a:srgbClr val="F26B43"/>
          </p15:clr>
        </p15:guide>
        <p15:guide id="13" orient="horz" pos="1253" userDrawn="1">
          <p15:clr>
            <a:srgbClr val="F26B43"/>
          </p15:clr>
        </p15:guide>
        <p15:guide id="14"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813665"/>
      </p:ext>
    </p:extLst>
  </p:cSld>
  <p:clrMap bg1="lt1" tx1="dk1" bg2="lt2" tx2="dk2" accent1="accent1" accent2="accent2" accent3="accent3" accent4="accent4" accent5="accent5" accent6="accent6" hlink="hlink" folHlink="folHlink"/>
  <p:sldLayoutIdLst>
    <p:sldLayoutId id="2147483665" r:id="rId1"/>
    <p:sldLayoutId id="2147483676" r:id="rId2"/>
    <p:sldLayoutId id="2147483673" r:id="rId3"/>
    <p:sldLayoutId id="2147483669" r:id="rId4"/>
    <p:sldLayoutId id="2147483672" r:id="rId5"/>
    <p:sldLayoutId id="2147483677" r:id="rId6"/>
    <p:sldLayoutId id="2147483690" r:id="rId7"/>
    <p:sldLayoutId id="2147483691" r:id="rId8"/>
  </p:sldLayoutIdLst>
  <p:hf hdr="0" dt="0"/>
  <p:txStyles>
    <p:titleStyle>
      <a:lvl1pPr algn="l" defTabSz="914400" rtl="0" eaLnBrk="1" latinLnBrk="0" hangingPunct="1">
        <a:lnSpc>
          <a:spcPct val="90000"/>
        </a:lnSpc>
        <a:spcBef>
          <a:spcPct val="0"/>
        </a:spcBef>
        <a:buNone/>
        <a:defRPr sz="4400" b="1" kern="1200">
          <a:solidFill>
            <a:schemeClr val="tx1"/>
          </a:solidFill>
          <a:latin typeface="Muli"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uli"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uli"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529">
          <p15:clr>
            <a:srgbClr val="F26B43"/>
          </p15:clr>
        </p15:guide>
        <p15:guide id="3" pos="7151">
          <p15:clr>
            <a:srgbClr val="F26B43"/>
          </p15:clr>
        </p15:guide>
        <p15:guide id="4" orient="horz" pos="1071">
          <p15:clr>
            <a:srgbClr val="F26B43"/>
          </p15:clr>
        </p15:guide>
        <p15:guide id="5" orient="horz" pos="1139">
          <p15:clr>
            <a:srgbClr val="F26B43"/>
          </p15:clr>
        </p15:guide>
        <p15:guide id="6" orient="horz" pos="2160">
          <p15:clr>
            <a:srgbClr val="F26B43"/>
          </p15:clr>
        </p15:guide>
        <p15:guide id="7" orient="horz" pos="232">
          <p15:clr>
            <a:srgbClr val="F26B43"/>
          </p15:clr>
        </p15:guide>
        <p15:guide id="8" orient="horz" pos="3884">
          <p15:clr>
            <a:srgbClr val="F26B43"/>
          </p15:clr>
        </p15:guide>
        <p15:guide id="9" pos="3953">
          <p15:clr>
            <a:srgbClr val="F26B43"/>
          </p15:clr>
        </p15:guide>
        <p15:guide id="10" pos="3727">
          <p15:clr>
            <a:srgbClr val="F26B43"/>
          </p15:clr>
        </p15:guide>
        <p15:guide id="11" orient="horz" pos="1253">
          <p15:clr>
            <a:srgbClr val="F26B43"/>
          </p15:clr>
        </p15:guide>
        <p15:guide id="12" orient="horz" pos="6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3CE2D7-5D71-B04E-98FE-95A86DC482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9DF7B8-9582-DD4C-8D91-55CAA56EC757}"/>
              </a:ext>
            </a:extLst>
          </p:cNvPr>
          <p:cNvSpPr>
            <a:spLocks noGrp="1"/>
          </p:cNvSpPr>
          <p:nvPr>
            <p:ph type="body" idx="1"/>
          </p:nvPr>
        </p:nvSpPr>
        <p:spPr>
          <a:xfrm>
            <a:off x="849600" y="1989137"/>
            <a:ext cx="10515600" cy="417671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ep 6">
            <a:extLst>
              <a:ext uri="{FF2B5EF4-FFF2-40B4-BE49-F238E27FC236}">
                <a16:creationId xmlns:a16="http://schemas.microsoft.com/office/drawing/2014/main" id="{6C7FC0DE-4A08-BD5A-3B59-8857ACDF5970}"/>
              </a:ext>
            </a:extLst>
          </p:cNvPr>
          <p:cNvGrpSpPr/>
          <p:nvPr userDrawn="1"/>
        </p:nvGrpSpPr>
        <p:grpSpPr>
          <a:xfrm>
            <a:off x="4773785" y="6343944"/>
            <a:ext cx="2644430" cy="354482"/>
            <a:chOff x="4459696" y="6343944"/>
            <a:chExt cx="2644430" cy="354482"/>
          </a:xfrm>
        </p:grpSpPr>
        <p:pic>
          <p:nvPicPr>
            <p:cNvPr id="4" name="Afbeelding 3">
              <a:extLst>
                <a:ext uri="{FF2B5EF4-FFF2-40B4-BE49-F238E27FC236}">
                  <a16:creationId xmlns:a16="http://schemas.microsoft.com/office/drawing/2014/main" id="{FEFBBA76-7744-BBA2-67B0-7288062D7CC8}"/>
                </a:ext>
              </a:extLst>
            </p:cNvPr>
            <p:cNvPicPr>
              <a:picLocks noChangeAspect="1"/>
            </p:cNvPicPr>
            <p:nvPr userDrawn="1"/>
          </p:nvPicPr>
          <p:blipFill>
            <a:blip r:embed="rId10"/>
            <a:stretch>
              <a:fillRect/>
            </a:stretch>
          </p:blipFill>
          <p:spPr>
            <a:xfrm>
              <a:off x="5039517" y="6419465"/>
              <a:ext cx="1012140" cy="203440"/>
            </a:xfrm>
            <a:prstGeom prst="rect">
              <a:avLst/>
            </a:prstGeom>
          </p:spPr>
        </p:pic>
        <p:pic>
          <p:nvPicPr>
            <p:cNvPr id="5" name="Picture 6" descr="W/E Adviseurs - De Afsluitdijk">
              <a:extLst>
                <a:ext uri="{FF2B5EF4-FFF2-40B4-BE49-F238E27FC236}">
                  <a16:creationId xmlns:a16="http://schemas.microsoft.com/office/drawing/2014/main" id="{C283A1BF-B918-FB60-FCF1-FB5730FDE1C1}"/>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27526" r="28866"/>
            <a:stretch/>
          </p:blipFill>
          <p:spPr bwMode="auto">
            <a:xfrm>
              <a:off x="4459696" y="6343944"/>
              <a:ext cx="463750" cy="3544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ROM Utrecht Region | Zorginnovatie">
              <a:extLst>
                <a:ext uri="{FF2B5EF4-FFF2-40B4-BE49-F238E27FC236}">
                  <a16:creationId xmlns:a16="http://schemas.microsoft.com/office/drawing/2014/main" id="{0CE40D1F-994B-52F9-B72F-25D8D9D55004}"/>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167728" y="6358669"/>
              <a:ext cx="936398" cy="3250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9004621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7" r:id="rId7"/>
    <p:sldLayoutId id="2147483689" r:id="rId8"/>
  </p:sldLayoutIdLst>
  <p:txStyles>
    <p:titleStyle>
      <a:lvl1pPr algn="l" defTabSz="914400" rtl="0" eaLnBrk="1" latinLnBrk="0" hangingPunct="1">
        <a:lnSpc>
          <a:spcPct val="90000"/>
        </a:lnSpc>
        <a:spcBef>
          <a:spcPct val="0"/>
        </a:spcBef>
        <a:buNone/>
        <a:defRPr sz="4400" b="1" kern="1200">
          <a:solidFill>
            <a:schemeClr val="tx1"/>
          </a:solidFill>
          <a:latin typeface="Muli"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uli"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uli"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529">
          <p15:clr>
            <a:srgbClr val="F26B43"/>
          </p15:clr>
        </p15:guide>
        <p15:guide id="3" pos="7151">
          <p15:clr>
            <a:srgbClr val="F26B43"/>
          </p15:clr>
        </p15:guide>
        <p15:guide id="4" orient="horz" pos="1071">
          <p15:clr>
            <a:srgbClr val="F26B43"/>
          </p15:clr>
        </p15:guide>
        <p15:guide id="5" orient="horz" pos="1139">
          <p15:clr>
            <a:srgbClr val="F26B43"/>
          </p15:clr>
        </p15:guide>
        <p15:guide id="6" orient="horz" pos="2160">
          <p15:clr>
            <a:srgbClr val="F26B43"/>
          </p15:clr>
        </p15:guide>
        <p15:guide id="7" orient="horz" pos="232">
          <p15:clr>
            <a:srgbClr val="F26B43"/>
          </p15:clr>
        </p15:guide>
        <p15:guide id="8" orient="horz" pos="3884">
          <p15:clr>
            <a:srgbClr val="F26B43"/>
          </p15:clr>
        </p15:guide>
        <p15:guide id="9" pos="3953">
          <p15:clr>
            <a:srgbClr val="F26B43"/>
          </p15:clr>
        </p15:guide>
        <p15:guide id="10" pos="3727">
          <p15:clr>
            <a:srgbClr val="F26B43"/>
          </p15:clr>
        </p15:guide>
        <p15:guide id="11" orient="horz" pos="1253">
          <p15:clr>
            <a:srgbClr val="F26B43"/>
          </p15:clr>
        </p15:guide>
        <p15:guide id="12" orient="horz" pos="6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3F4F6"/>
        </a:solidFill>
        <a:effectLst/>
      </p:bgPr>
    </p:bg>
    <p:spTree>
      <p:nvGrpSpPr>
        <p:cNvPr id="1" name=""/>
        <p:cNvGrpSpPr/>
        <p:nvPr/>
      </p:nvGrpSpPr>
      <p:grpSpPr>
        <a:xfrm>
          <a:off x="0" y="0"/>
          <a:ext cx="0" cy="0"/>
          <a:chOff x="0" y="0"/>
          <a:chExt cx="0" cy="0"/>
        </a:xfrm>
      </p:grpSpPr>
      <p:sp>
        <p:nvSpPr>
          <p:cNvPr id="68" name="Witte vorm achtergrond">
            <a:extLst>
              <a:ext uri="{FF2B5EF4-FFF2-40B4-BE49-F238E27FC236}">
                <a16:creationId xmlns:a16="http://schemas.microsoft.com/office/drawing/2014/main" id="{294A9CFE-CAFA-E2E1-3CEF-5D7F3E611D46}"/>
              </a:ext>
            </a:extLst>
          </p:cNvPr>
          <p:cNvSpPr>
            <a:spLocks noGrp="1" noRot="1" noMove="1" noResize="1" noEditPoints="1" noAdjustHandles="1" noChangeArrowheads="1" noChangeShapeType="1"/>
          </p:cNvSpPr>
          <p:nvPr/>
        </p:nvSpPr>
        <p:spPr>
          <a:xfrm>
            <a:off x="63626"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937873 w 12064873"/>
              <a:gd name="connsiteY6" fmla="*/ 0 h 6731000"/>
              <a:gd name="connsiteX7" fmla="*/ 12064873 w 12064873"/>
              <a:gd name="connsiteY7" fmla="*/ 127000 h 6731000"/>
              <a:gd name="connsiteX8" fmla="*/ 12064873 w 12064873"/>
              <a:gd name="connsiteY8" fmla="*/ 6604000 h 6731000"/>
              <a:gd name="connsiteX9" fmla="*/ 11937873 w 12064873"/>
              <a:gd name="connsiteY9" fmla="*/ 6731000 h 6731000"/>
              <a:gd name="connsiteX10" fmla="*/ 133096 w 12064873"/>
              <a:gd name="connsiteY10" fmla="*/ 6731000 h 6731000"/>
              <a:gd name="connsiteX11" fmla="*/ 6096 w 12064873"/>
              <a:gd name="connsiteY11" fmla="*/ 6604127 h 6731000"/>
              <a:gd name="connsiteX12" fmla="*/ 0 w 12064873"/>
              <a:gd name="connsiteY12"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937873" y="0"/>
                </a:lnTo>
                <a:cubicBezTo>
                  <a:pt x="12008041" y="0"/>
                  <a:pt x="12064873" y="56833"/>
                  <a:pt x="12064873" y="127000"/>
                </a:cubicBezTo>
                <a:lnTo>
                  <a:pt x="12064873" y="6604000"/>
                </a:lnTo>
                <a:cubicBezTo>
                  <a:pt x="12064873" y="6674168"/>
                  <a:pt x="12008041" y="6731000"/>
                  <a:pt x="11937873" y="6731000"/>
                </a:cubicBezTo>
                <a:lnTo>
                  <a:pt x="133096" y="6731000"/>
                </a:lnTo>
                <a:cubicBezTo>
                  <a:pt x="62992" y="6731000"/>
                  <a:pt x="6160" y="6674232"/>
                  <a:pt x="6096" y="6604127"/>
                </a:cubicBezTo>
                <a:lnTo>
                  <a:pt x="0" y="806577"/>
                </a:lnTo>
                <a:close/>
              </a:path>
            </a:pathLst>
          </a:custGeom>
          <a:solidFill>
            <a:srgbClr val="FFFFFF"/>
          </a:solidFill>
          <a:ln w="0" cap="flat">
            <a:noFill/>
            <a:prstDash val="solid"/>
            <a:miter/>
          </a:ln>
        </p:spPr>
        <p:txBody>
          <a:bodyPr rtlCol="0" anchor="ctr"/>
          <a:lstStyle/>
          <a:p>
            <a:endParaRPr lang="nl-NL" dirty="0"/>
          </a:p>
        </p:txBody>
      </p:sp>
      <p:pic>
        <p:nvPicPr>
          <p:cNvPr id="60" name="Logo">
            <a:extLst>
              <a:ext uri="{FF2B5EF4-FFF2-40B4-BE49-F238E27FC236}">
                <a16:creationId xmlns:a16="http://schemas.microsoft.com/office/drawing/2014/main" id="{E390112C-E82B-E317-C773-1F6D777A2132}"/>
              </a:ext>
            </a:extLst>
          </p:cNvPr>
          <p:cNvPicPr>
            <a:picLocks noGrp="1" noRot="1" noChangeAspect="1" noMove="1" noResize="1" noEditPoints="1" noAdjustHandles="1" noChangeArrowheads="1" noChangeShapeType="1" noCrop="1"/>
          </p:cNvPicPr>
          <p:nvPr userDrawn="1"/>
        </p:nvPicPr>
        <p:blipFill>
          <a:blip r:embed="rId40">
            <a:extLst>
              <a:ext uri="{96DAC541-7B7A-43D3-8B79-37D633B846F1}">
                <asvg:svgBlip xmlns:asvg="http://schemas.microsoft.com/office/drawing/2016/SVG/main" r:embed="rId41"/>
              </a:ext>
            </a:extLst>
          </a:blip>
          <a:stretch>
            <a:fillRect/>
          </a:stretch>
        </p:blipFill>
        <p:spPr>
          <a:xfrm>
            <a:off x="255969" y="286902"/>
            <a:ext cx="1302321" cy="268243"/>
          </a:xfrm>
          <a:prstGeom prst="rect">
            <a:avLst/>
          </a:prstGeom>
        </p:spPr>
      </p:pic>
      <p:sp>
        <p:nvSpPr>
          <p:cNvPr id="69" name="Vrije vorm: vorm 68">
            <a:extLst>
              <a:ext uri="{FF2B5EF4-FFF2-40B4-BE49-F238E27FC236}">
                <a16:creationId xmlns:a16="http://schemas.microsoft.com/office/drawing/2014/main" id="{34CAF1D4-BF7C-D7D9-AEC1-FA5B17069B8D}"/>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noFill/>
          <a:ln w="0" cap="flat">
            <a:noFill/>
            <a:prstDash val="solid"/>
            <a:miter/>
          </a:ln>
        </p:spPr>
        <p:txBody>
          <a:bodyPr rtlCol="0" anchor="ctr"/>
          <a:lstStyle/>
          <a:p>
            <a:endParaRPr lang="nl-NL" dirty="0"/>
          </a:p>
        </p:txBody>
      </p:sp>
      <p:sp>
        <p:nvSpPr>
          <p:cNvPr id="2" name="Tijdelijke aanduiding voor titel 1">
            <a:extLst>
              <a:ext uri="{FF2B5EF4-FFF2-40B4-BE49-F238E27FC236}">
                <a16:creationId xmlns:a16="http://schemas.microsoft.com/office/drawing/2014/main" id="{7D264CFE-FD29-87E7-87F2-310FC3E37A19}"/>
              </a:ext>
            </a:extLst>
          </p:cNvPr>
          <p:cNvSpPr>
            <a:spLocks noGrp="1"/>
          </p:cNvSpPr>
          <p:nvPr>
            <p:ph type="title"/>
          </p:nvPr>
        </p:nvSpPr>
        <p:spPr>
          <a:xfrm>
            <a:off x="695324" y="913765"/>
            <a:ext cx="5760000" cy="503984"/>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35105B7-DE3D-FF7E-E501-080FD4F85A88}"/>
              </a:ext>
            </a:extLst>
          </p:cNvPr>
          <p:cNvSpPr>
            <a:spLocks noGrp="1"/>
          </p:cNvSpPr>
          <p:nvPr>
            <p:ph type="body" idx="1"/>
          </p:nvPr>
        </p:nvSpPr>
        <p:spPr>
          <a:xfrm>
            <a:off x="695325" y="2762885"/>
            <a:ext cx="10872788" cy="234000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68940983-8FBF-F630-6CB3-8352E92BBCF1}"/>
              </a:ext>
            </a:extLst>
          </p:cNvPr>
          <p:cNvSpPr>
            <a:spLocks noGrp="1"/>
          </p:cNvSpPr>
          <p:nvPr>
            <p:ph type="ftr" sz="quarter" idx="3"/>
          </p:nvPr>
        </p:nvSpPr>
        <p:spPr>
          <a:xfrm>
            <a:off x="6947953" y="6469662"/>
            <a:ext cx="4114800" cy="138499"/>
          </a:xfrm>
          <a:prstGeom prst="rect">
            <a:avLst/>
          </a:prstGeom>
        </p:spPr>
        <p:txBody>
          <a:bodyPr vert="horz" lIns="0" tIns="0" rIns="0" bIns="0" rtlCol="0" anchor="ctr">
            <a:spAutoFit/>
          </a:bodyPr>
          <a:lstStyle>
            <a:lvl1pPr algn="r">
              <a:defRPr sz="900">
                <a:solidFill>
                  <a:schemeClr val="tx2"/>
                </a:solidFill>
              </a:defRPr>
            </a:lvl1pPr>
          </a:lstStyle>
          <a:p>
            <a:endParaRPr lang="nl-NL" dirty="0"/>
          </a:p>
        </p:txBody>
      </p:sp>
      <p:sp>
        <p:nvSpPr>
          <p:cNvPr id="6" name="Tijdelijke aanduiding voor dianummer 5">
            <a:extLst>
              <a:ext uri="{FF2B5EF4-FFF2-40B4-BE49-F238E27FC236}">
                <a16:creationId xmlns:a16="http://schemas.microsoft.com/office/drawing/2014/main" id="{31D023E1-DACE-D236-848E-3B9C8729B396}"/>
              </a:ext>
            </a:extLst>
          </p:cNvPr>
          <p:cNvSpPr>
            <a:spLocks noGrp="1"/>
          </p:cNvSpPr>
          <p:nvPr>
            <p:ph type="sldNum" sz="quarter" idx="4"/>
          </p:nvPr>
        </p:nvSpPr>
        <p:spPr>
          <a:xfrm>
            <a:off x="11348502" y="6469662"/>
            <a:ext cx="219611" cy="138499"/>
          </a:xfrm>
          <a:prstGeom prst="rect">
            <a:avLst/>
          </a:prstGeom>
        </p:spPr>
        <p:txBody>
          <a:bodyPr vert="horz" wrap="none" lIns="0" tIns="0" rIns="0" bIns="0" rtlCol="0" anchor="ctr">
            <a:spAutoFit/>
          </a:bodyPr>
          <a:lstStyle>
            <a:lvl1pPr algn="r">
              <a:defRPr sz="900">
                <a:solidFill>
                  <a:schemeClr val="tx2"/>
                </a:solidFill>
              </a:defRPr>
            </a:lvl1p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401552099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Lst>
  <p:txStyles>
    <p:titleStyle>
      <a:lvl1pPr algn="l" defTabSz="914400" rtl="0" eaLnBrk="1" latinLnBrk="0" hangingPunct="1">
        <a:lnSpc>
          <a:spcPct val="115000"/>
        </a:lnSpc>
        <a:spcBef>
          <a:spcPct val="0"/>
        </a:spcBef>
        <a:buNone/>
        <a:defRPr sz="3000" kern="1200">
          <a:solidFill>
            <a:schemeClr val="tx2"/>
          </a:solidFill>
          <a:latin typeface="+mj-lt"/>
          <a:ea typeface="+mj-ea"/>
          <a:cs typeface="+mj-cs"/>
        </a:defRPr>
      </a:lvl1pPr>
    </p:titleStyle>
    <p:body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3F4F6"/>
        </a:solidFill>
        <a:effectLst/>
      </p:bgPr>
    </p:bg>
    <p:spTree>
      <p:nvGrpSpPr>
        <p:cNvPr id="1" name=""/>
        <p:cNvGrpSpPr/>
        <p:nvPr/>
      </p:nvGrpSpPr>
      <p:grpSpPr>
        <a:xfrm>
          <a:off x="0" y="0"/>
          <a:ext cx="0" cy="0"/>
          <a:chOff x="0" y="0"/>
          <a:chExt cx="0" cy="0"/>
        </a:xfrm>
      </p:grpSpPr>
      <p:sp>
        <p:nvSpPr>
          <p:cNvPr id="68" name="Witte vorm achtergrond">
            <a:extLst>
              <a:ext uri="{FF2B5EF4-FFF2-40B4-BE49-F238E27FC236}">
                <a16:creationId xmlns:a16="http://schemas.microsoft.com/office/drawing/2014/main" id="{294A9CFE-CAFA-E2E1-3CEF-5D7F3E611D46}"/>
              </a:ext>
            </a:extLst>
          </p:cNvPr>
          <p:cNvSpPr>
            <a:spLocks noGrp="1" noRot="1" noMove="1" noResize="1" noEditPoints="1" noAdjustHandles="1" noChangeArrowheads="1" noChangeShapeType="1"/>
          </p:cNvSpPr>
          <p:nvPr/>
        </p:nvSpPr>
        <p:spPr>
          <a:xfrm>
            <a:off x="63626" y="63500"/>
            <a:ext cx="12064873" cy="6731000"/>
          </a:xfrm>
          <a:custGeom>
            <a:avLst/>
            <a:gdLst>
              <a:gd name="connsiteX0" fmla="*/ 0 w 12064873"/>
              <a:gd name="connsiteY0" fmla="*/ 806577 h 6731000"/>
              <a:gd name="connsiteX1" fmla="*/ 127000 w 12064873"/>
              <a:gd name="connsiteY1" fmla="*/ 679450 h 6731000"/>
              <a:gd name="connsiteX2" fmla="*/ 1533398 w 12064873"/>
              <a:gd name="connsiteY2" fmla="*/ 679450 h 6731000"/>
              <a:gd name="connsiteX3" fmla="*/ 1660398 w 12064873"/>
              <a:gd name="connsiteY3" fmla="*/ 552450 h 6731000"/>
              <a:gd name="connsiteX4" fmla="*/ 1660398 w 12064873"/>
              <a:gd name="connsiteY4" fmla="*/ 127000 h 6731000"/>
              <a:gd name="connsiteX5" fmla="*/ 1787398 w 12064873"/>
              <a:gd name="connsiteY5" fmla="*/ 0 h 6731000"/>
              <a:gd name="connsiteX6" fmla="*/ 11937873 w 12064873"/>
              <a:gd name="connsiteY6" fmla="*/ 0 h 6731000"/>
              <a:gd name="connsiteX7" fmla="*/ 12064873 w 12064873"/>
              <a:gd name="connsiteY7" fmla="*/ 127000 h 6731000"/>
              <a:gd name="connsiteX8" fmla="*/ 12064873 w 12064873"/>
              <a:gd name="connsiteY8" fmla="*/ 6604000 h 6731000"/>
              <a:gd name="connsiteX9" fmla="*/ 11937873 w 12064873"/>
              <a:gd name="connsiteY9" fmla="*/ 6731000 h 6731000"/>
              <a:gd name="connsiteX10" fmla="*/ 133096 w 12064873"/>
              <a:gd name="connsiteY10" fmla="*/ 6731000 h 6731000"/>
              <a:gd name="connsiteX11" fmla="*/ 6096 w 12064873"/>
              <a:gd name="connsiteY11" fmla="*/ 6604127 h 6731000"/>
              <a:gd name="connsiteX12" fmla="*/ 0 w 12064873"/>
              <a:gd name="connsiteY12" fmla="*/ 806577 h 67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64873" h="6731000">
                <a:moveTo>
                  <a:pt x="0" y="806577"/>
                </a:moveTo>
                <a:cubicBezTo>
                  <a:pt x="-63" y="736410"/>
                  <a:pt x="56833" y="679450"/>
                  <a:pt x="127000" y="679450"/>
                </a:cubicBezTo>
                <a:lnTo>
                  <a:pt x="1533398" y="679450"/>
                </a:lnTo>
                <a:cubicBezTo>
                  <a:pt x="1603566" y="679450"/>
                  <a:pt x="1660398" y="622618"/>
                  <a:pt x="1660398" y="552450"/>
                </a:cubicBezTo>
                <a:lnTo>
                  <a:pt x="1660398" y="127000"/>
                </a:lnTo>
                <a:cubicBezTo>
                  <a:pt x="1660398" y="56833"/>
                  <a:pt x="1717231" y="0"/>
                  <a:pt x="1787398" y="0"/>
                </a:cubicBezTo>
                <a:lnTo>
                  <a:pt x="11937873" y="0"/>
                </a:lnTo>
                <a:cubicBezTo>
                  <a:pt x="12008041" y="0"/>
                  <a:pt x="12064873" y="56833"/>
                  <a:pt x="12064873" y="127000"/>
                </a:cubicBezTo>
                <a:lnTo>
                  <a:pt x="12064873" y="6604000"/>
                </a:lnTo>
                <a:cubicBezTo>
                  <a:pt x="12064873" y="6674168"/>
                  <a:pt x="12008041" y="6731000"/>
                  <a:pt x="11937873" y="6731000"/>
                </a:cubicBezTo>
                <a:lnTo>
                  <a:pt x="133096" y="6731000"/>
                </a:lnTo>
                <a:cubicBezTo>
                  <a:pt x="62992" y="6731000"/>
                  <a:pt x="6160" y="6674232"/>
                  <a:pt x="6096" y="6604127"/>
                </a:cubicBezTo>
                <a:lnTo>
                  <a:pt x="0" y="806577"/>
                </a:lnTo>
                <a:close/>
              </a:path>
            </a:pathLst>
          </a:custGeom>
          <a:solidFill>
            <a:srgbClr val="FFFFFF"/>
          </a:solidFill>
          <a:ln w="0" cap="flat">
            <a:noFill/>
            <a:prstDash val="solid"/>
            <a:miter/>
          </a:ln>
        </p:spPr>
        <p:txBody>
          <a:bodyPr rtlCol="0" anchor="ctr"/>
          <a:lstStyle/>
          <a:p>
            <a:endParaRPr lang="nl-NL" dirty="0"/>
          </a:p>
        </p:txBody>
      </p:sp>
      <p:pic>
        <p:nvPicPr>
          <p:cNvPr id="60" name="Logo">
            <a:extLst>
              <a:ext uri="{FF2B5EF4-FFF2-40B4-BE49-F238E27FC236}">
                <a16:creationId xmlns:a16="http://schemas.microsoft.com/office/drawing/2014/main" id="{E390112C-E82B-E317-C773-1F6D777A2132}"/>
              </a:ext>
            </a:extLst>
          </p:cNvPr>
          <p:cNvPicPr>
            <a:picLocks noGrp="1" noRot="1" noChangeAspect="1" noMove="1" noResize="1" noEditPoints="1" noAdjustHandles="1" noChangeArrowheads="1" noChangeShapeType="1" noCrop="1"/>
          </p:cNvPicPr>
          <p:nvPr userDrawn="1"/>
        </p:nvPicPr>
        <p:blipFill>
          <a:blip r:embed="rId41">
            <a:extLst>
              <a:ext uri="{96DAC541-7B7A-43D3-8B79-37D633B846F1}">
                <asvg:svgBlip xmlns:asvg="http://schemas.microsoft.com/office/drawing/2016/SVG/main" r:embed="rId42"/>
              </a:ext>
            </a:extLst>
          </a:blip>
          <a:stretch>
            <a:fillRect/>
          </a:stretch>
        </p:blipFill>
        <p:spPr>
          <a:xfrm>
            <a:off x="255969" y="286902"/>
            <a:ext cx="1302321" cy="268243"/>
          </a:xfrm>
          <a:prstGeom prst="rect">
            <a:avLst/>
          </a:prstGeom>
        </p:spPr>
      </p:pic>
      <p:sp>
        <p:nvSpPr>
          <p:cNvPr id="69" name="Vrije vorm: vorm 68">
            <a:extLst>
              <a:ext uri="{FF2B5EF4-FFF2-40B4-BE49-F238E27FC236}">
                <a16:creationId xmlns:a16="http://schemas.microsoft.com/office/drawing/2014/main" id="{34CAF1D4-BF7C-D7D9-AEC1-FA5B17069B8D}"/>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noFill/>
          <a:ln w="0" cap="flat">
            <a:noFill/>
            <a:prstDash val="solid"/>
            <a:miter/>
          </a:ln>
        </p:spPr>
        <p:txBody>
          <a:bodyPr rtlCol="0" anchor="ctr"/>
          <a:lstStyle/>
          <a:p>
            <a:endParaRPr lang="nl-NL" dirty="0"/>
          </a:p>
        </p:txBody>
      </p:sp>
      <p:sp>
        <p:nvSpPr>
          <p:cNvPr id="2" name="Tijdelijke aanduiding voor titel 1">
            <a:extLst>
              <a:ext uri="{FF2B5EF4-FFF2-40B4-BE49-F238E27FC236}">
                <a16:creationId xmlns:a16="http://schemas.microsoft.com/office/drawing/2014/main" id="{7D264CFE-FD29-87E7-87F2-310FC3E37A19}"/>
              </a:ext>
            </a:extLst>
          </p:cNvPr>
          <p:cNvSpPr>
            <a:spLocks noGrp="1"/>
          </p:cNvSpPr>
          <p:nvPr>
            <p:ph type="title"/>
          </p:nvPr>
        </p:nvSpPr>
        <p:spPr>
          <a:xfrm>
            <a:off x="695324" y="913765"/>
            <a:ext cx="5760000" cy="503984"/>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35105B7-DE3D-FF7E-E501-080FD4F85A88}"/>
              </a:ext>
            </a:extLst>
          </p:cNvPr>
          <p:cNvSpPr>
            <a:spLocks noGrp="1"/>
          </p:cNvSpPr>
          <p:nvPr>
            <p:ph type="body" idx="1"/>
          </p:nvPr>
        </p:nvSpPr>
        <p:spPr>
          <a:xfrm>
            <a:off x="695325" y="2762885"/>
            <a:ext cx="10872788" cy="234000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68940983-8FBF-F630-6CB3-8352E92BBCF1}"/>
              </a:ext>
            </a:extLst>
          </p:cNvPr>
          <p:cNvSpPr>
            <a:spLocks noGrp="1"/>
          </p:cNvSpPr>
          <p:nvPr>
            <p:ph type="ftr" sz="quarter" idx="3"/>
          </p:nvPr>
        </p:nvSpPr>
        <p:spPr>
          <a:xfrm>
            <a:off x="6947953" y="6469662"/>
            <a:ext cx="4114800" cy="138499"/>
          </a:xfrm>
          <a:prstGeom prst="rect">
            <a:avLst/>
          </a:prstGeom>
        </p:spPr>
        <p:txBody>
          <a:bodyPr vert="horz" lIns="0" tIns="0" rIns="0" bIns="0" rtlCol="0" anchor="ctr">
            <a:spAutoFit/>
          </a:bodyPr>
          <a:lstStyle>
            <a:lvl1pPr algn="r">
              <a:defRPr sz="900">
                <a:solidFill>
                  <a:schemeClr val="tx2"/>
                </a:solidFill>
              </a:defRPr>
            </a:lvl1pPr>
          </a:lstStyle>
          <a:p>
            <a:endParaRPr lang="nl-NL" dirty="0"/>
          </a:p>
        </p:txBody>
      </p:sp>
      <p:sp>
        <p:nvSpPr>
          <p:cNvPr id="6" name="Tijdelijke aanduiding voor dianummer 5">
            <a:extLst>
              <a:ext uri="{FF2B5EF4-FFF2-40B4-BE49-F238E27FC236}">
                <a16:creationId xmlns:a16="http://schemas.microsoft.com/office/drawing/2014/main" id="{31D023E1-DACE-D236-848E-3B9C8729B396}"/>
              </a:ext>
            </a:extLst>
          </p:cNvPr>
          <p:cNvSpPr>
            <a:spLocks noGrp="1"/>
          </p:cNvSpPr>
          <p:nvPr>
            <p:ph type="sldNum" sz="quarter" idx="4"/>
          </p:nvPr>
        </p:nvSpPr>
        <p:spPr>
          <a:xfrm>
            <a:off x="11348502" y="6469662"/>
            <a:ext cx="219611" cy="138499"/>
          </a:xfrm>
          <a:prstGeom prst="rect">
            <a:avLst/>
          </a:prstGeom>
        </p:spPr>
        <p:txBody>
          <a:bodyPr vert="horz" wrap="none" lIns="0" tIns="0" rIns="0" bIns="0" rtlCol="0" anchor="ctr">
            <a:spAutoFit/>
          </a:bodyPr>
          <a:lstStyle>
            <a:lvl1pPr algn="r">
              <a:defRPr sz="900">
                <a:solidFill>
                  <a:schemeClr val="tx2"/>
                </a:solidFill>
              </a:defRPr>
            </a:lvl1pPr>
          </a:lstStyle>
          <a:p>
            <a:fld id="{DD6527FB-D334-4076-8B97-2824752A4342}" type="slidenum">
              <a:rPr lang="nl-NL" smtClean="0"/>
              <a:pPr/>
              <a:t>‹#›</a:t>
            </a:fld>
            <a:endParaRPr lang="nl-NL" dirty="0"/>
          </a:p>
        </p:txBody>
      </p:sp>
    </p:spTree>
    <p:extLst>
      <p:ext uri="{BB962C8B-B14F-4D97-AF65-F5344CB8AC3E}">
        <p14:creationId xmlns:p14="http://schemas.microsoft.com/office/powerpoint/2010/main" val="151162094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Lst>
  <p:txStyles>
    <p:titleStyle>
      <a:lvl1pPr algn="l" defTabSz="914400" rtl="0" eaLnBrk="1" latinLnBrk="0" hangingPunct="1">
        <a:lnSpc>
          <a:spcPct val="115000"/>
        </a:lnSpc>
        <a:spcBef>
          <a:spcPct val="0"/>
        </a:spcBef>
        <a:buNone/>
        <a:defRPr sz="3000" kern="1200">
          <a:solidFill>
            <a:schemeClr val="tx2"/>
          </a:solidFill>
          <a:latin typeface="+mj-lt"/>
          <a:ea typeface="+mj-ea"/>
          <a:cs typeface="+mj-cs"/>
        </a:defRPr>
      </a:lvl1pPr>
    </p:titleStyle>
    <p:bodyStyle>
      <a:lvl1pPr marL="0" indent="0" algn="l" defTabSz="914400" rtl="0" eaLnBrk="1" latinLnBrk="0" hangingPunct="1">
        <a:lnSpc>
          <a:spcPct val="107000"/>
        </a:lnSpc>
        <a:spcBef>
          <a:spcPts val="0"/>
        </a:spcBef>
        <a:buFont typeface="Arial" panose="020B0604020202020204" pitchFamily="34" charset="0"/>
        <a:buNone/>
        <a:defRPr sz="1200" kern="1200">
          <a:solidFill>
            <a:schemeClr val="tx2"/>
          </a:solidFill>
          <a:latin typeface="+mn-lt"/>
          <a:ea typeface="+mn-ea"/>
          <a:cs typeface="+mn-cs"/>
        </a:defRPr>
      </a:lvl1pPr>
      <a:lvl2pPr marL="176213" indent="-176213" algn="l" defTabSz="914400" rtl="0" eaLnBrk="1" latinLnBrk="0" hangingPunct="1">
        <a:lnSpc>
          <a:spcPct val="107000"/>
        </a:lnSpc>
        <a:spcBef>
          <a:spcPts val="0"/>
        </a:spcBef>
        <a:buFont typeface="Arial" panose="020B0604020202020204" pitchFamily="34" charset="0"/>
        <a:buChar char="•"/>
        <a:tabLst/>
        <a:defRPr sz="1200" kern="1200">
          <a:solidFill>
            <a:schemeClr val="tx2"/>
          </a:solidFill>
          <a:latin typeface="+mn-lt"/>
          <a:ea typeface="+mn-ea"/>
          <a:cs typeface="+mn-cs"/>
        </a:defRPr>
      </a:lvl2pPr>
      <a:lvl3pPr marL="360363" indent="-184150"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3pPr>
      <a:lvl4pPr marL="536575" indent="-17621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4pPr>
      <a:lvl5pPr marL="719138" indent="-182563" algn="l" defTabSz="914400" rtl="0" eaLnBrk="1" latinLnBrk="0" hangingPunct="1">
        <a:lnSpc>
          <a:spcPct val="107000"/>
        </a:lnSpc>
        <a:spcBef>
          <a:spcPts val="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3.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4.jpeg"/><Relationship Id="rId11" Type="http://schemas.openxmlformats.org/officeDocument/2006/relationships/image" Target="../media/image59.png"/><Relationship Id="rId5" Type="http://schemas.openxmlformats.org/officeDocument/2006/relationships/image" Target="../media/image7.png"/><Relationship Id="rId10" Type="http://schemas.openxmlformats.org/officeDocument/2006/relationships/image" Target="../media/image58.jpeg"/><Relationship Id="rId4" Type="http://schemas.openxmlformats.org/officeDocument/2006/relationships/image" Target="../media/image6.png"/><Relationship Id="rId9" Type="http://schemas.openxmlformats.org/officeDocument/2006/relationships/image" Target="../media/image57.jpeg"/><Relationship Id="rId14" Type="http://schemas.openxmlformats.org/officeDocument/2006/relationships/image" Target="../media/image62.png"/></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86.png"/><Relationship Id="rId18" Type="http://schemas.openxmlformats.org/officeDocument/2006/relationships/image" Target="../media/image94.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90.svg"/><Relationship Id="rId17" Type="http://schemas.openxmlformats.org/officeDocument/2006/relationships/image" Target="../media/image93.png"/><Relationship Id="rId2" Type="http://schemas.openxmlformats.org/officeDocument/2006/relationships/notesSlide" Target="../notesSlides/notesSlide11.xml"/><Relationship Id="rId16" Type="http://schemas.openxmlformats.org/officeDocument/2006/relationships/image" Target="../media/image92.svg"/><Relationship Id="rId1" Type="http://schemas.openxmlformats.org/officeDocument/2006/relationships/slideLayout" Target="../slideLayouts/slideLayout4.xml"/><Relationship Id="rId6" Type="http://schemas.openxmlformats.org/officeDocument/2006/relationships/image" Target="../media/image72.svg"/><Relationship Id="rId11" Type="http://schemas.openxmlformats.org/officeDocument/2006/relationships/image" Target="../media/image84.png"/><Relationship Id="rId5" Type="http://schemas.openxmlformats.org/officeDocument/2006/relationships/image" Target="../media/image71.png"/><Relationship Id="rId15" Type="http://schemas.openxmlformats.org/officeDocument/2006/relationships/image" Target="../media/image88.png"/><Relationship Id="rId10" Type="http://schemas.openxmlformats.org/officeDocument/2006/relationships/image" Target="../media/image76.svg"/><Relationship Id="rId19" Type="http://schemas.openxmlformats.org/officeDocument/2006/relationships/image" Target="../media/image65.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91.svg"/></Relationships>
</file>

<file path=ppt/slides/_rels/slide1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86.png"/><Relationship Id="rId18" Type="http://schemas.openxmlformats.org/officeDocument/2006/relationships/image" Target="../media/image96.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90.svg"/><Relationship Id="rId17" Type="http://schemas.openxmlformats.org/officeDocument/2006/relationships/image" Target="../media/image95.png"/><Relationship Id="rId2" Type="http://schemas.openxmlformats.org/officeDocument/2006/relationships/notesSlide" Target="../notesSlides/notesSlide12.xml"/><Relationship Id="rId16" Type="http://schemas.openxmlformats.org/officeDocument/2006/relationships/image" Target="../media/image92.svg"/><Relationship Id="rId1" Type="http://schemas.openxmlformats.org/officeDocument/2006/relationships/slideLayout" Target="../slideLayouts/slideLayout4.xml"/><Relationship Id="rId6" Type="http://schemas.openxmlformats.org/officeDocument/2006/relationships/image" Target="../media/image72.svg"/><Relationship Id="rId11" Type="http://schemas.openxmlformats.org/officeDocument/2006/relationships/image" Target="../media/image84.png"/><Relationship Id="rId5" Type="http://schemas.openxmlformats.org/officeDocument/2006/relationships/image" Target="../media/image71.png"/><Relationship Id="rId15" Type="http://schemas.openxmlformats.org/officeDocument/2006/relationships/image" Target="../media/image88.png"/><Relationship Id="rId10" Type="http://schemas.openxmlformats.org/officeDocument/2006/relationships/image" Target="../media/image76.svg"/><Relationship Id="rId19" Type="http://schemas.openxmlformats.org/officeDocument/2006/relationships/image" Target="../media/image65.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91.svg"/></Relationships>
</file>

<file path=ppt/slides/_rels/slide15.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16.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86.png"/><Relationship Id="rId18" Type="http://schemas.openxmlformats.org/officeDocument/2006/relationships/image" Target="../media/image96.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90.svg"/><Relationship Id="rId17" Type="http://schemas.openxmlformats.org/officeDocument/2006/relationships/image" Target="../media/image95.png"/><Relationship Id="rId2" Type="http://schemas.openxmlformats.org/officeDocument/2006/relationships/notesSlide" Target="../notesSlides/notesSlide13.xml"/><Relationship Id="rId16" Type="http://schemas.openxmlformats.org/officeDocument/2006/relationships/image" Target="../media/image92.svg"/><Relationship Id="rId1" Type="http://schemas.openxmlformats.org/officeDocument/2006/relationships/slideLayout" Target="../slideLayouts/slideLayout4.xml"/><Relationship Id="rId6" Type="http://schemas.openxmlformats.org/officeDocument/2006/relationships/image" Target="../media/image72.svg"/><Relationship Id="rId11" Type="http://schemas.openxmlformats.org/officeDocument/2006/relationships/image" Target="../media/image84.png"/><Relationship Id="rId5" Type="http://schemas.openxmlformats.org/officeDocument/2006/relationships/image" Target="../media/image71.png"/><Relationship Id="rId15" Type="http://schemas.openxmlformats.org/officeDocument/2006/relationships/image" Target="../media/image88.png"/><Relationship Id="rId10" Type="http://schemas.openxmlformats.org/officeDocument/2006/relationships/image" Target="../media/image76.svg"/><Relationship Id="rId19" Type="http://schemas.openxmlformats.org/officeDocument/2006/relationships/image" Target="../media/image65.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91.svg"/></Relationships>
</file>

<file path=ppt/slides/_rels/slide17.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84.png"/><Relationship Id="rId18" Type="http://schemas.openxmlformats.org/officeDocument/2006/relationships/image" Target="../media/image92.svg"/><Relationship Id="rId3" Type="http://schemas.openxmlformats.org/officeDocument/2006/relationships/image" Target="../media/image97.png"/><Relationship Id="rId7" Type="http://schemas.openxmlformats.org/officeDocument/2006/relationships/image" Target="../media/image71.png"/><Relationship Id="rId12" Type="http://schemas.openxmlformats.org/officeDocument/2006/relationships/image" Target="../media/image76.svg"/><Relationship Id="rId17" Type="http://schemas.openxmlformats.org/officeDocument/2006/relationships/image" Target="../media/image88.png"/><Relationship Id="rId2" Type="http://schemas.openxmlformats.org/officeDocument/2006/relationships/notesSlide" Target="../notesSlides/notesSlide14.xml"/><Relationship Id="rId16" Type="http://schemas.openxmlformats.org/officeDocument/2006/relationships/image" Target="../media/image91.svg"/><Relationship Id="rId1" Type="http://schemas.openxmlformats.org/officeDocument/2006/relationships/slideLayout" Target="../slideLayouts/slideLayout5.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86.png"/><Relationship Id="rId10" Type="http://schemas.openxmlformats.org/officeDocument/2006/relationships/image" Target="../media/image74.svg"/><Relationship Id="rId19" Type="http://schemas.openxmlformats.org/officeDocument/2006/relationships/image" Target="../media/image65.png"/><Relationship Id="rId4" Type="http://schemas.openxmlformats.org/officeDocument/2006/relationships/image" Target="../media/image98.svg"/><Relationship Id="rId9" Type="http://schemas.openxmlformats.org/officeDocument/2006/relationships/image" Target="../media/image73.png"/><Relationship Id="rId14" Type="http://schemas.openxmlformats.org/officeDocument/2006/relationships/image" Target="../media/image90.sv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2.png"/><Relationship Id="rId3" Type="http://schemas.openxmlformats.org/officeDocument/2006/relationships/image" Target="../media/image99.jpe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101.png"/><Relationship Id="rId11" Type="http://schemas.openxmlformats.org/officeDocument/2006/relationships/image" Target="../media/image60.png"/><Relationship Id="rId5" Type="http://schemas.openxmlformats.org/officeDocument/2006/relationships/hyperlink" Target="https://nl.wikipedia.org/wiki/Gildebuurt" TargetMode="External"/><Relationship Id="rId10" Type="http://schemas.openxmlformats.org/officeDocument/2006/relationships/image" Target="../media/image59.png"/><Relationship Id="rId4" Type="http://schemas.openxmlformats.org/officeDocument/2006/relationships/image" Target="../media/image100.jpg"/><Relationship Id="rId9" Type="http://schemas.openxmlformats.org/officeDocument/2006/relationships/image" Target="../media/image58.jpeg"/></Relationships>
</file>

<file path=ppt/slides/_rels/slide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xml"/><Relationship Id="rId1" Type="http://schemas.openxmlformats.org/officeDocument/2006/relationships/slideLayout" Target="../slideLayouts/slideLayout62.xml"/><Relationship Id="rId4" Type="http://schemas.openxmlformats.org/officeDocument/2006/relationships/image" Target="../media/image64.png"/></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104.png"/><Relationship Id="rId4" Type="http://schemas.openxmlformats.org/officeDocument/2006/relationships/image" Target="../media/image103.jpeg"/></Relationships>
</file>

<file path=ppt/slides/_rels/slide2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96.xml"/><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svg"/><Relationship Id="rId12"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s>
</file>

<file path=ppt/slides/_rels/slide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65.png"/><Relationship Id="rId4" Type="http://schemas.openxmlformats.org/officeDocument/2006/relationships/image" Target="../media/image78.png"/><Relationship Id="rId9" Type="http://schemas.openxmlformats.org/officeDocument/2006/relationships/image" Target="../media/image83.png"/></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73.png"/><Relationship Id="rId3" Type="http://schemas.openxmlformats.org/officeDocument/2006/relationships/image" Target="../media/image69.png"/><Relationship Id="rId7" Type="http://schemas.openxmlformats.org/officeDocument/2006/relationships/image" Target="../media/image86.png"/><Relationship Id="rId12" Type="http://schemas.openxmlformats.org/officeDocument/2006/relationships/image" Target="../media/image72.svg"/><Relationship Id="rId17" Type="http://schemas.openxmlformats.org/officeDocument/2006/relationships/image" Target="../media/image65.png"/><Relationship Id="rId2" Type="http://schemas.openxmlformats.org/officeDocument/2006/relationships/notesSlide" Target="../notesSlides/notesSlide9.xml"/><Relationship Id="rId16" Type="http://schemas.openxmlformats.org/officeDocument/2006/relationships/image" Target="../media/image76.svg"/><Relationship Id="rId1" Type="http://schemas.openxmlformats.org/officeDocument/2006/relationships/slideLayout" Target="../slideLayouts/slideLayout5.xml"/><Relationship Id="rId6" Type="http://schemas.openxmlformats.org/officeDocument/2006/relationships/image" Target="../media/image85.svg"/><Relationship Id="rId11" Type="http://schemas.openxmlformats.org/officeDocument/2006/relationships/image" Target="../media/image71.png"/><Relationship Id="rId5" Type="http://schemas.openxmlformats.org/officeDocument/2006/relationships/image" Target="../media/image84.png"/><Relationship Id="rId15" Type="http://schemas.openxmlformats.org/officeDocument/2006/relationships/image" Target="../media/image75.png"/><Relationship Id="rId10" Type="http://schemas.openxmlformats.org/officeDocument/2006/relationships/image" Target="../media/image89.svg"/><Relationship Id="rId4" Type="http://schemas.openxmlformats.org/officeDocument/2006/relationships/image" Target="../media/image70.svg"/><Relationship Id="rId9" Type="http://schemas.openxmlformats.org/officeDocument/2006/relationships/image" Target="../media/image88.png"/><Relationship Id="rId14" Type="http://schemas.openxmlformats.org/officeDocument/2006/relationships/image" Target="../media/image7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A256F-B2E8-EC87-2A86-447AAAD359FE}"/>
            </a:ext>
          </a:extLst>
        </p:cNvPr>
        <p:cNvGrpSpPr/>
        <p:nvPr/>
      </p:nvGrpSpPr>
      <p:grpSpPr>
        <a:xfrm>
          <a:off x="0" y="0"/>
          <a:ext cx="0" cy="0"/>
          <a:chOff x="0" y="0"/>
          <a:chExt cx="0" cy="0"/>
        </a:xfrm>
      </p:grpSpPr>
      <p:sp>
        <p:nvSpPr>
          <p:cNvPr id="8" name="Rechthoek 7">
            <a:extLst>
              <a:ext uri="{FF2B5EF4-FFF2-40B4-BE49-F238E27FC236}">
                <a16:creationId xmlns:a16="http://schemas.microsoft.com/office/drawing/2014/main" id="{68CC830E-4B30-5496-B835-C46419830BBE}"/>
              </a:ext>
            </a:extLst>
          </p:cNvPr>
          <p:cNvSpPr/>
          <p:nvPr/>
        </p:nvSpPr>
        <p:spPr>
          <a:xfrm>
            <a:off x="-194841" y="4534308"/>
            <a:ext cx="12581681" cy="1530826"/>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sz="1800" b="1" dirty="0">
              <a:latin typeface="Muli" panose="00000500000000000000" pitchFamily="2" charset="0"/>
            </a:endParaRPr>
          </a:p>
        </p:txBody>
      </p:sp>
      <p:sp>
        <p:nvSpPr>
          <p:cNvPr id="2" name="Titel 1">
            <a:extLst>
              <a:ext uri="{FF2B5EF4-FFF2-40B4-BE49-F238E27FC236}">
                <a16:creationId xmlns:a16="http://schemas.microsoft.com/office/drawing/2014/main" id="{26A25143-A02C-3E94-E4D5-44E83D3FD78B}"/>
              </a:ext>
            </a:extLst>
          </p:cNvPr>
          <p:cNvSpPr>
            <a:spLocks noGrp="1"/>
          </p:cNvSpPr>
          <p:nvPr>
            <p:ph type="ctrTitle"/>
          </p:nvPr>
        </p:nvSpPr>
        <p:spPr>
          <a:xfrm>
            <a:off x="1524000" y="1724136"/>
            <a:ext cx="9144000" cy="2387600"/>
          </a:xfrm>
        </p:spPr>
        <p:txBody>
          <a:bodyPr/>
          <a:lstStyle/>
          <a:p>
            <a:r>
              <a:rPr lang="nl-NL" sz="4000" dirty="0">
                <a:latin typeface="Muli" panose="00000500000000000000" pitchFamily="2" charset="0"/>
              </a:rPr>
              <a:t>Hoe kan circulair renoveren in de praktijk de standaard worden?</a:t>
            </a:r>
          </a:p>
        </p:txBody>
      </p:sp>
      <p:pic>
        <p:nvPicPr>
          <p:cNvPr id="5" name="Afbeelding 4">
            <a:extLst>
              <a:ext uri="{FF2B5EF4-FFF2-40B4-BE49-F238E27FC236}">
                <a16:creationId xmlns:a16="http://schemas.microsoft.com/office/drawing/2014/main" id="{FABA8797-9849-4871-4481-9B6B5BD76AFB}"/>
              </a:ext>
            </a:extLst>
          </p:cNvPr>
          <p:cNvPicPr>
            <a:picLocks noChangeAspect="1"/>
          </p:cNvPicPr>
          <p:nvPr/>
        </p:nvPicPr>
        <p:blipFill>
          <a:blip r:embed="rId3"/>
          <a:stretch>
            <a:fillRect/>
          </a:stretch>
        </p:blipFill>
        <p:spPr>
          <a:xfrm>
            <a:off x="5203677" y="4810593"/>
            <a:ext cx="2376000" cy="477576"/>
          </a:xfrm>
          <a:prstGeom prst="rect">
            <a:avLst/>
          </a:prstGeom>
        </p:spPr>
      </p:pic>
      <p:pic>
        <p:nvPicPr>
          <p:cNvPr id="6" name="Picture 6" descr="W/E Adviseurs - De Afsluitdijk">
            <a:extLst>
              <a:ext uri="{FF2B5EF4-FFF2-40B4-BE49-F238E27FC236}">
                <a16:creationId xmlns:a16="http://schemas.microsoft.com/office/drawing/2014/main" id="{74AFC903-9013-F6DD-98B5-D69430801B4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7526" r="28866"/>
          <a:stretch/>
        </p:blipFill>
        <p:spPr bwMode="auto">
          <a:xfrm>
            <a:off x="3362749" y="4668602"/>
            <a:ext cx="975114" cy="74535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ROM Utrecht Region | Zorginnovatie">
            <a:extLst>
              <a:ext uri="{FF2B5EF4-FFF2-40B4-BE49-F238E27FC236}">
                <a16:creationId xmlns:a16="http://schemas.microsoft.com/office/drawing/2014/main" id="{CA2386AA-67AB-A62A-F00A-74A9068852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9621" y="4697237"/>
            <a:ext cx="2048758" cy="71114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uisstijl | provincie Utrecht">
            <a:extLst>
              <a:ext uri="{FF2B5EF4-FFF2-40B4-BE49-F238E27FC236}">
                <a16:creationId xmlns:a16="http://schemas.microsoft.com/office/drawing/2014/main" id="{30D83D48-C797-A519-76C6-ECCEC4E9EE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07319" y="4725781"/>
            <a:ext cx="2463710" cy="594358"/>
          </a:xfrm>
          <a:prstGeom prst="rect">
            <a:avLst/>
          </a:prstGeom>
          <a:noFill/>
          <a:extLst>
            <a:ext uri="{909E8E84-426E-40DD-AFC4-6F175D3DCCD1}">
              <a14:hiddenFill xmlns:a14="http://schemas.microsoft.com/office/drawing/2010/main">
                <a:solidFill>
                  <a:srgbClr val="FFFFFF"/>
                </a:solidFill>
              </a14:hiddenFill>
            </a:ext>
          </a:extLst>
        </p:spPr>
      </p:pic>
      <p:pic>
        <p:nvPicPr>
          <p:cNvPr id="9" name="Afbeelding 8">
            <a:extLst>
              <a:ext uri="{FF2B5EF4-FFF2-40B4-BE49-F238E27FC236}">
                <a16:creationId xmlns:a16="http://schemas.microsoft.com/office/drawing/2014/main" id="{D581C5C2-60B2-7707-46DF-EF09494BDDF8}"/>
              </a:ext>
            </a:extLst>
          </p:cNvPr>
          <p:cNvPicPr>
            <a:picLocks noChangeAspect="1"/>
          </p:cNvPicPr>
          <p:nvPr/>
        </p:nvPicPr>
        <p:blipFill>
          <a:blip r:embed="rId7"/>
          <a:stretch>
            <a:fillRect/>
          </a:stretch>
        </p:blipFill>
        <p:spPr>
          <a:xfrm>
            <a:off x="10668000" y="4679724"/>
            <a:ext cx="888940" cy="888940"/>
          </a:xfrm>
          <a:prstGeom prst="rect">
            <a:avLst/>
          </a:prstGeom>
        </p:spPr>
      </p:pic>
      <p:pic>
        <p:nvPicPr>
          <p:cNvPr id="3" name="Picture 2" descr="Van Wijnen | Samen bouwen aan ruimte voor een beter leven |">
            <a:extLst>
              <a:ext uri="{FF2B5EF4-FFF2-40B4-BE49-F238E27FC236}">
                <a16:creationId xmlns:a16="http://schemas.microsoft.com/office/drawing/2014/main" id="{52D0967D-B980-A63F-03C3-3235861BB4B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8906" y="5632385"/>
            <a:ext cx="991017" cy="20874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Door sociaal en technisch te innoveren de transitie naar duurzame en vitale  wijken versnellen. Voor iedereen!">
            <a:extLst>
              <a:ext uri="{FF2B5EF4-FFF2-40B4-BE49-F238E27FC236}">
                <a16:creationId xmlns:a16="http://schemas.microsoft.com/office/drawing/2014/main" id="{7614E7FB-B857-22FD-2054-6DB6315A9E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92193" y="5543994"/>
            <a:ext cx="728775" cy="3855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Bedrijfinfo: Rutges Vernieuwt - BKO">
            <a:extLst>
              <a:ext uri="{FF2B5EF4-FFF2-40B4-BE49-F238E27FC236}">
                <a16:creationId xmlns:a16="http://schemas.microsoft.com/office/drawing/2014/main" id="{D86185DA-CB17-2963-2425-2267C6233A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87244" y="5615676"/>
            <a:ext cx="1347032" cy="2897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STRATEGISCH RENOVEREN EN ONDERHOUDEN VAN VASTGOED">
            <a:extLst>
              <a:ext uri="{FF2B5EF4-FFF2-40B4-BE49-F238E27FC236}">
                <a16:creationId xmlns:a16="http://schemas.microsoft.com/office/drawing/2014/main" id="{A93F75A0-5431-3670-7387-0C248A9D8BF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285" y="5672491"/>
            <a:ext cx="812615" cy="1046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Dura Vermeer - Klift Roest">
            <a:extLst>
              <a:ext uri="{FF2B5EF4-FFF2-40B4-BE49-F238E27FC236}">
                <a16:creationId xmlns:a16="http://schemas.microsoft.com/office/drawing/2014/main" id="{13ED26DD-06F5-72D9-ACFB-0B10643654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00552" y="5384494"/>
            <a:ext cx="1039733" cy="680640"/>
          </a:xfrm>
          <a:prstGeom prst="rect">
            <a:avLst/>
          </a:prstGeom>
          <a:noFill/>
          <a:extLst>
            <a:ext uri="{909E8E84-426E-40DD-AFC4-6F175D3DCCD1}">
              <a14:hiddenFill xmlns:a14="http://schemas.microsoft.com/office/drawing/2010/main">
                <a:solidFill>
                  <a:srgbClr val="FFFFFF"/>
                </a:solidFill>
              </a14:hiddenFill>
            </a:ext>
          </a:extLst>
        </p:spPr>
      </p:pic>
      <p:pic>
        <p:nvPicPr>
          <p:cNvPr id="14" name="Afbeelding 13">
            <a:extLst>
              <a:ext uri="{FF2B5EF4-FFF2-40B4-BE49-F238E27FC236}">
                <a16:creationId xmlns:a16="http://schemas.microsoft.com/office/drawing/2014/main" id="{4570A5AC-0880-0F7E-96F4-7258A11F5319}"/>
              </a:ext>
            </a:extLst>
          </p:cNvPr>
          <p:cNvPicPr>
            <a:picLocks noChangeAspect="1"/>
          </p:cNvPicPr>
          <p:nvPr/>
        </p:nvPicPr>
        <p:blipFill>
          <a:blip r:embed="rId13"/>
          <a:stretch>
            <a:fillRect/>
          </a:stretch>
        </p:blipFill>
        <p:spPr>
          <a:xfrm>
            <a:off x="8506561" y="5479845"/>
            <a:ext cx="733451" cy="425583"/>
          </a:xfrm>
          <a:prstGeom prst="rect">
            <a:avLst/>
          </a:prstGeom>
        </p:spPr>
      </p:pic>
      <p:pic>
        <p:nvPicPr>
          <p:cNvPr id="13" name="Picture 2" descr="BOS Groep Techniek - installatietechniek, dakwerk en solartechniek">
            <a:extLst>
              <a:ext uri="{FF2B5EF4-FFF2-40B4-BE49-F238E27FC236}">
                <a16:creationId xmlns:a16="http://schemas.microsoft.com/office/drawing/2014/main" id="{7895E1C4-AA64-867E-D725-DB0D0E31E6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26133" y="5615676"/>
            <a:ext cx="729850" cy="312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9889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hoek 19">
            <a:extLst>
              <a:ext uri="{FF2B5EF4-FFF2-40B4-BE49-F238E27FC236}">
                <a16:creationId xmlns:a16="http://schemas.microsoft.com/office/drawing/2014/main" id="{E2E0D714-C3EF-1B82-8ECF-61EA0791E1DE}"/>
              </a:ext>
            </a:extLst>
          </p:cNvPr>
          <p:cNvSpPr/>
          <p:nvPr/>
        </p:nvSpPr>
        <p:spPr>
          <a:xfrm>
            <a:off x="829574" y="2148289"/>
            <a:ext cx="4272660" cy="4051115"/>
          </a:xfrm>
          <a:prstGeom prst="rect">
            <a:avLst/>
          </a:prstGeom>
          <a:ln/>
        </p:spPr>
        <p:style>
          <a:lnRef idx="3">
            <a:schemeClr val="lt1"/>
          </a:lnRef>
          <a:fillRef idx="1">
            <a:schemeClr val="accent5"/>
          </a:fillRef>
          <a:effectRef idx="1">
            <a:schemeClr val="accent5"/>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Muli"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Muli" panose="00000500000000000000" pitchFamily="2" charset="0"/>
                <a:ea typeface="+mn-ea"/>
                <a:cs typeface="+mn-cs"/>
              </a:rPr>
              <a:t>100.000 m</a:t>
            </a:r>
            <a:r>
              <a:rPr kumimoji="0" lang="nl-NL" sz="1800" b="0" i="0" u="none" strike="noStrike" kern="1200" cap="none" spc="0" normalizeH="0" baseline="30000" noProof="0" dirty="0">
                <a:ln>
                  <a:noFill/>
                </a:ln>
                <a:solidFill>
                  <a:srgbClr val="000000"/>
                </a:solidFill>
                <a:effectLst/>
                <a:uLnTx/>
                <a:uFillTx/>
                <a:latin typeface="Muli" panose="00000500000000000000" pitchFamily="2" charset="0"/>
                <a:ea typeface="+mn-ea"/>
                <a:cs typeface="+mn-cs"/>
              </a:rPr>
              <a:t>2</a:t>
            </a:r>
            <a:r>
              <a:rPr kumimoji="0" lang="nl-NL" sz="1800" b="0" i="0" u="none" strike="noStrike" kern="1200" cap="none" spc="0" normalizeH="0" baseline="0" noProof="0" dirty="0">
                <a:ln>
                  <a:noFill/>
                </a:ln>
                <a:solidFill>
                  <a:srgbClr val="000000"/>
                </a:solidFill>
                <a:effectLst/>
                <a:uLnTx/>
                <a:uFillTx/>
                <a:latin typeface="Muli" panose="00000500000000000000" pitchFamily="2" charset="0"/>
                <a:ea typeface="+mn-ea"/>
                <a:cs typeface="+mn-cs"/>
              </a:rPr>
              <a:t> - 11 woningbouw renovatieproject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Muli" panose="00000500000000000000" pitchFamily="2" charset="0"/>
                <a:ea typeface="+mn-ea"/>
                <a:cs typeface="+mn-cs"/>
              </a:rPr>
              <a:t>doorgereke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Muli" panose="00000500000000000000" pitchFamily="2" charset="0"/>
              <a:ea typeface="+mn-ea"/>
              <a:cs typeface="+mn-cs"/>
            </a:endParaRPr>
          </a:p>
        </p:txBody>
      </p:sp>
      <p:sp>
        <p:nvSpPr>
          <p:cNvPr id="2" name="Titel 1">
            <a:extLst>
              <a:ext uri="{FF2B5EF4-FFF2-40B4-BE49-F238E27FC236}">
                <a16:creationId xmlns:a16="http://schemas.microsoft.com/office/drawing/2014/main" id="{A53AAAED-2C7B-E613-D6BF-5272A6EE8240}"/>
              </a:ext>
            </a:extLst>
          </p:cNvPr>
          <p:cNvSpPr>
            <a:spLocks noGrp="1"/>
          </p:cNvSpPr>
          <p:nvPr>
            <p:ph type="title"/>
          </p:nvPr>
        </p:nvSpPr>
        <p:spPr/>
        <p:txBody>
          <a:bodyPr/>
          <a:lstStyle/>
          <a:p>
            <a:r>
              <a:rPr lang="nl-NL"/>
              <a:t>Resultaten van dit doorbraakproject</a:t>
            </a:r>
          </a:p>
        </p:txBody>
      </p:sp>
      <p:sp>
        <p:nvSpPr>
          <p:cNvPr id="4" name="Tijdelijke aanduiding voor tekst 3">
            <a:extLst>
              <a:ext uri="{FF2B5EF4-FFF2-40B4-BE49-F238E27FC236}">
                <a16:creationId xmlns:a16="http://schemas.microsoft.com/office/drawing/2014/main" id="{965F13FB-F9C0-13C2-2751-2AD6A25B33EC}"/>
              </a:ext>
            </a:extLst>
          </p:cNvPr>
          <p:cNvSpPr>
            <a:spLocks noGrp="1"/>
          </p:cNvSpPr>
          <p:nvPr>
            <p:ph type="body" sz="quarter" idx="11"/>
          </p:nvPr>
        </p:nvSpPr>
        <p:spPr/>
        <p:txBody>
          <a:bodyPr/>
          <a:lstStyle/>
          <a:p>
            <a:r>
              <a:rPr lang="nl-NL"/>
              <a:t>Centrale vragen van dit onderzoek</a:t>
            </a:r>
          </a:p>
        </p:txBody>
      </p:sp>
      <p:sp>
        <p:nvSpPr>
          <p:cNvPr id="8" name="Rechthoek: afgeronde hoeken 7">
            <a:extLst>
              <a:ext uri="{FF2B5EF4-FFF2-40B4-BE49-F238E27FC236}">
                <a16:creationId xmlns:a16="http://schemas.microsoft.com/office/drawing/2014/main" id="{09A6F95A-8743-207E-CC8D-8DE21426F6F3}"/>
              </a:ext>
            </a:extLst>
          </p:cNvPr>
          <p:cNvSpPr/>
          <p:nvPr/>
        </p:nvSpPr>
        <p:spPr>
          <a:xfrm>
            <a:off x="1007499" y="4837451"/>
            <a:ext cx="3916810" cy="12368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Wat is de CO</a:t>
            </a:r>
            <a:r>
              <a:rPr kumimoji="0" lang="nl-NL" sz="1800" b="1" i="0" u="none" strike="noStrike" kern="1200" cap="none" spc="0" normalizeH="0" baseline="-25000" noProof="0">
                <a:ln>
                  <a:noFill/>
                </a:ln>
                <a:solidFill>
                  <a:srgbClr val="FFFFFF"/>
                </a:solidFill>
                <a:effectLst/>
                <a:uLnTx/>
                <a:uFillTx/>
                <a:latin typeface="Muli" panose="00000500000000000000" pitchFamily="2" charset="0"/>
                <a:ea typeface="+mn-ea"/>
                <a:cs typeface="+mn-cs"/>
              </a:rPr>
              <a:t>2</a:t>
            </a: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winst van circulair renoveren?</a:t>
            </a:r>
          </a:p>
        </p:txBody>
      </p:sp>
      <p:sp>
        <p:nvSpPr>
          <p:cNvPr id="9" name="Rechthoek: afgeronde hoeken 8">
            <a:extLst>
              <a:ext uri="{FF2B5EF4-FFF2-40B4-BE49-F238E27FC236}">
                <a16:creationId xmlns:a16="http://schemas.microsoft.com/office/drawing/2014/main" id="{09FCE10B-E4C0-9960-B2AF-EC8A2DB539CE}"/>
              </a:ext>
            </a:extLst>
          </p:cNvPr>
          <p:cNvSpPr/>
          <p:nvPr/>
        </p:nvSpPr>
        <p:spPr>
          <a:xfrm>
            <a:off x="1007499" y="3429000"/>
            <a:ext cx="3916810" cy="12368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FFFFFF"/>
                </a:solidFill>
                <a:effectLst/>
                <a:uLnTx/>
                <a:uFillTx/>
                <a:latin typeface="Muli" panose="00000500000000000000" pitchFamily="2" charset="0"/>
                <a:ea typeface="+mn-ea"/>
                <a:cs typeface="+mn-cs"/>
              </a:rPr>
              <a:t>Wat is de meerprijs van circulair renoveren?</a:t>
            </a:r>
          </a:p>
        </p:txBody>
      </p:sp>
      <p:sp>
        <p:nvSpPr>
          <p:cNvPr id="10" name="Rechthoek: afgeronde hoeken 9">
            <a:extLst>
              <a:ext uri="{FF2B5EF4-FFF2-40B4-BE49-F238E27FC236}">
                <a16:creationId xmlns:a16="http://schemas.microsoft.com/office/drawing/2014/main" id="{AD1C22D5-654B-F348-C334-B5E05A760F22}"/>
              </a:ext>
            </a:extLst>
          </p:cNvPr>
          <p:cNvSpPr/>
          <p:nvPr/>
        </p:nvSpPr>
        <p:spPr>
          <a:xfrm>
            <a:off x="7445616" y="4837451"/>
            <a:ext cx="3916810" cy="12368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Wat is de CO</a:t>
            </a:r>
            <a:r>
              <a:rPr kumimoji="0" lang="nl-NL" sz="1800" b="1" i="0" u="none" strike="noStrike" kern="1200" cap="none" spc="0" normalizeH="0" baseline="-25000" noProof="0">
                <a:ln>
                  <a:noFill/>
                </a:ln>
                <a:solidFill>
                  <a:srgbClr val="FFFFFF"/>
                </a:solidFill>
                <a:effectLst/>
                <a:uLnTx/>
                <a:uFillTx/>
                <a:latin typeface="Muli" panose="00000500000000000000" pitchFamily="2" charset="0"/>
                <a:ea typeface="+mn-ea"/>
                <a:cs typeface="+mn-cs"/>
              </a:rPr>
              <a:t>2</a:t>
            </a: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besparingspotentie van circulair renoveren in de provincie Utrecht?</a:t>
            </a:r>
          </a:p>
        </p:txBody>
      </p:sp>
      <p:sp>
        <p:nvSpPr>
          <p:cNvPr id="11" name="Rechthoek: afgeronde hoeken 10">
            <a:extLst>
              <a:ext uri="{FF2B5EF4-FFF2-40B4-BE49-F238E27FC236}">
                <a16:creationId xmlns:a16="http://schemas.microsoft.com/office/drawing/2014/main" id="{1AC384D3-D72B-FF3C-A331-B7EC96AA96A2}"/>
              </a:ext>
            </a:extLst>
          </p:cNvPr>
          <p:cNvSpPr/>
          <p:nvPr/>
        </p:nvSpPr>
        <p:spPr>
          <a:xfrm>
            <a:off x="7445616" y="3429000"/>
            <a:ext cx="3916810" cy="12368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Is CO</a:t>
            </a:r>
            <a:r>
              <a:rPr kumimoji="0" lang="nl-NL" sz="1800" b="1" i="0" u="none" strike="noStrike" kern="1200" cap="none" spc="0" normalizeH="0" baseline="-25000" noProof="0">
                <a:ln>
                  <a:noFill/>
                </a:ln>
                <a:solidFill>
                  <a:srgbClr val="FFFFFF"/>
                </a:solidFill>
                <a:effectLst/>
                <a:uLnTx/>
                <a:uFillTx/>
                <a:latin typeface="Muli" panose="00000500000000000000" pitchFamily="2" charset="0"/>
                <a:ea typeface="+mn-ea"/>
                <a:cs typeface="+mn-cs"/>
              </a:rPr>
              <a:t>2</a:t>
            </a: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beprijzing een effectief sturingsmiddel/</a:t>
            </a:r>
            <a:r>
              <a:rPr kumimoji="0" lang="nl-NL" sz="1800" b="1" i="0" u="none" strike="noStrike" kern="1200" cap="none" spc="0" normalizeH="0" baseline="0" noProof="0" err="1">
                <a:ln>
                  <a:noFill/>
                </a:ln>
                <a:solidFill>
                  <a:srgbClr val="FFFFFF"/>
                </a:solidFill>
                <a:effectLst/>
                <a:uLnTx/>
                <a:uFillTx/>
                <a:latin typeface="Muli" panose="00000500000000000000" pitchFamily="2" charset="0"/>
                <a:ea typeface="+mn-ea"/>
                <a:cs typeface="+mn-cs"/>
              </a:rPr>
              <a:t>enabler</a:t>
            </a: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 voor circulair renoveren? </a:t>
            </a:r>
          </a:p>
        </p:txBody>
      </p:sp>
      <p:cxnSp>
        <p:nvCxnSpPr>
          <p:cNvPr id="15" name="Rechte verbindingslijn met pijl 14">
            <a:extLst>
              <a:ext uri="{FF2B5EF4-FFF2-40B4-BE49-F238E27FC236}">
                <a16:creationId xmlns:a16="http://schemas.microsoft.com/office/drawing/2014/main" id="{85BD1035-4FA2-A046-B620-F85D0184DE00}"/>
              </a:ext>
            </a:extLst>
          </p:cNvPr>
          <p:cNvCxnSpPr>
            <a:stCxn id="8" idx="3"/>
            <a:endCxn id="10" idx="1"/>
          </p:cNvCxnSpPr>
          <p:nvPr/>
        </p:nvCxnSpPr>
        <p:spPr>
          <a:xfrm>
            <a:off x="4924309" y="5455895"/>
            <a:ext cx="2521307" cy="0"/>
          </a:xfrm>
          <a:prstGeom prst="straightConnector1">
            <a:avLst/>
          </a:prstGeom>
          <a:ln w="38100">
            <a:tailEnd type="triangle" w="lg" len="lg"/>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AF67CFE6-8814-4BD2-0A2D-26D22D6264AA}"/>
              </a:ext>
            </a:extLst>
          </p:cNvPr>
          <p:cNvCxnSpPr>
            <a:cxnSpLocks/>
          </p:cNvCxnSpPr>
          <p:nvPr/>
        </p:nvCxnSpPr>
        <p:spPr>
          <a:xfrm>
            <a:off x="4924309" y="3882191"/>
            <a:ext cx="2521307" cy="0"/>
          </a:xfrm>
          <a:prstGeom prst="straightConnector1">
            <a:avLst/>
          </a:prstGeom>
          <a:ln w="38100">
            <a:tailEnd type="triangle" w="lg" len="lg"/>
          </a:ln>
        </p:spPr>
        <p:style>
          <a:lnRef idx="1">
            <a:schemeClr val="accent1"/>
          </a:lnRef>
          <a:fillRef idx="0">
            <a:schemeClr val="accent1"/>
          </a:fillRef>
          <a:effectRef idx="0">
            <a:schemeClr val="accent1"/>
          </a:effectRef>
          <a:fontRef idx="minor">
            <a:schemeClr val="tx1"/>
          </a:fontRef>
        </p:style>
      </p:cxnSp>
      <p:cxnSp>
        <p:nvCxnSpPr>
          <p:cNvPr id="18" name="Verbindingslijn: gebogen 17">
            <a:extLst>
              <a:ext uri="{FF2B5EF4-FFF2-40B4-BE49-F238E27FC236}">
                <a16:creationId xmlns:a16="http://schemas.microsoft.com/office/drawing/2014/main" id="{7DB63F36-4DFD-E8F5-CD3A-D974D475480F}"/>
              </a:ext>
            </a:extLst>
          </p:cNvPr>
          <p:cNvCxnSpPr>
            <a:stCxn id="8" idx="3"/>
          </p:cNvCxnSpPr>
          <p:nvPr/>
        </p:nvCxnSpPr>
        <p:spPr>
          <a:xfrm flipV="1">
            <a:off x="4924309" y="4248726"/>
            <a:ext cx="2810112" cy="1207169"/>
          </a:xfrm>
          <a:prstGeom prst="bentConnector3">
            <a:avLst/>
          </a:prstGeom>
          <a:ln w="38100">
            <a:tailEnd type="triangle" w="lg" len="lg"/>
          </a:ln>
        </p:spPr>
        <p:style>
          <a:lnRef idx="1">
            <a:schemeClr val="accent1"/>
          </a:lnRef>
          <a:fillRef idx="0">
            <a:schemeClr val="accent1"/>
          </a:fillRef>
          <a:effectRef idx="0">
            <a:schemeClr val="accent1"/>
          </a:effectRef>
          <a:fontRef idx="minor">
            <a:schemeClr val="tx1"/>
          </a:fontRef>
        </p:style>
      </p:cxnSp>
      <p:sp>
        <p:nvSpPr>
          <p:cNvPr id="21" name="Rechthoek: afgeronde hoeken 20">
            <a:extLst>
              <a:ext uri="{FF2B5EF4-FFF2-40B4-BE49-F238E27FC236}">
                <a16:creationId xmlns:a16="http://schemas.microsoft.com/office/drawing/2014/main" id="{F7B39A8A-A8E7-5407-6503-5D37F12CC73A}"/>
              </a:ext>
            </a:extLst>
          </p:cNvPr>
          <p:cNvSpPr/>
          <p:nvPr/>
        </p:nvSpPr>
        <p:spPr>
          <a:xfrm>
            <a:off x="7445616" y="2020549"/>
            <a:ext cx="3916810" cy="12368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Hoe kunnen we in de praktijk circulair renoveren de nieuwe standaard maken?</a:t>
            </a:r>
          </a:p>
        </p:txBody>
      </p:sp>
      <p:pic>
        <p:nvPicPr>
          <p:cNvPr id="3" name="Afbeelding 14" descr="Afbeelding met tekst, cirkel, logo, Lettertype&#10;&#10;Automatisch gegenereerde beschrijving">
            <a:extLst>
              <a:ext uri="{FF2B5EF4-FFF2-40B4-BE49-F238E27FC236}">
                <a16:creationId xmlns:a16="http://schemas.microsoft.com/office/drawing/2014/main" id="{569F88EF-415F-5202-C8F1-8591757BAD33}"/>
              </a:ext>
            </a:extLst>
          </p:cNvPr>
          <p:cNvPicPr/>
          <p:nvPr/>
        </p:nvPicPr>
        <p:blipFill>
          <a:blip r:embed="rId3"/>
          <a:stretch>
            <a:fillRect/>
          </a:stretch>
        </p:blipFill>
        <p:spPr>
          <a:xfrm>
            <a:off x="10880745" y="200596"/>
            <a:ext cx="1097623" cy="1097623"/>
          </a:xfrm>
          <a:prstGeom prst="rect">
            <a:avLst/>
          </a:prstGeom>
        </p:spPr>
      </p:pic>
      <p:cxnSp>
        <p:nvCxnSpPr>
          <p:cNvPr id="5" name="Straight Connector 4">
            <a:extLst>
              <a:ext uri="{FF2B5EF4-FFF2-40B4-BE49-F238E27FC236}">
                <a16:creationId xmlns:a16="http://schemas.microsoft.com/office/drawing/2014/main" id="{2D9A8D2D-410D-32DA-DF39-D3726A4A61E6}"/>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19879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 grpId="0" animBg="1"/>
      <p:bldP spid="9" grpId="0" animBg="1"/>
      <p:bldP spid="10"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1B790-9AC4-37CE-B5E9-7240A0A07429}"/>
            </a:ext>
          </a:extLst>
        </p:cNvPr>
        <p:cNvGrpSpPr/>
        <p:nvPr/>
      </p:nvGrpSpPr>
      <p:grpSpPr>
        <a:xfrm>
          <a:off x="0" y="0"/>
          <a:ext cx="0" cy="0"/>
          <a:chOff x="0" y="0"/>
          <a:chExt cx="0" cy="0"/>
        </a:xfrm>
      </p:grpSpPr>
      <p:sp>
        <p:nvSpPr>
          <p:cNvPr id="54" name="Rechthoek 53">
            <a:extLst>
              <a:ext uri="{FF2B5EF4-FFF2-40B4-BE49-F238E27FC236}">
                <a16:creationId xmlns:a16="http://schemas.microsoft.com/office/drawing/2014/main" id="{9A2BBF02-179E-90C1-C3EF-EB4F3B1F455B}"/>
              </a:ext>
            </a:extLst>
          </p:cNvPr>
          <p:cNvSpPr/>
          <p:nvPr/>
        </p:nvSpPr>
        <p:spPr>
          <a:xfrm>
            <a:off x="4325621" y="4310939"/>
            <a:ext cx="3094458" cy="124153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algn="ctr"/>
            <a:endParaRPr lang="nl-NL" sz="1800" b="1">
              <a:solidFill>
                <a:schemeClr val="tx1"/>
              </a:solidFill>
              <a:latin typeface="Muli" panose="00000500000000000000" pitchFamily="2" charset="0"/>
            </a:endParaRPr>
          </a:p>
        </p:txBody>
      </p:sp>
      <p:sp>
        <p:nvSpPr>
          <p:cNvPr id="2" name="Titel 1">
            <a:extLst>
              <a:ext uri="{FF2B5EF4-FFF2-40B4-BE49-F238E27FC236}">
                <a16:creationId xmlns:a16="http://schemas.microsoft.com/office/drawing/2014/main" id="{20FF5776-7C0A-2B3F-E7B5-40EB12381FE7}"/>
              </a:ext>
            </a:extLst>
          </p:cNvPr>
          <p:cNvSpPr>
            <a:spLocks noGrp="1"/>
          </p:cNvSpPr>
          <p:nvPr>
            <p:ph type="title"/>
          </p:nvPr>
        </p:nvSpPr>
        <p:spPr/>
        <p:txBody>
          <a:bodyPr/>
          <a:lstStyle/>
          <a:p>
            <a:r>
              <a:rPr lang="nl-NL"/>
              <a:t>Wat is de CO2-winst van circulair renoveren?</a:t>
            </a:r>
          </a:p>
        </p:txBody>
      </p:sp>
      <p:sp>
        <p:nvSpPr>
          <p:cNvPr id="4" name="Tijdelijke aanduiding voor tekst 3">
            <a:extLst>
              <a:ext uri="{FF2B5EF4-FFF2-40B4-BE49-F238E27FC236}">
                <a16:creationId xmlns:a16="http://schemas.microsoft.com/office/drawing/2014/main" id="{F5881E30-4788-3231-CEEC-3D2B97D762D1}"/>
              </a:ext>
            </a:extLst>
          </p:cNvPr>
          <p:cNvSpPr>
            <a:spLocks noGrp="1"/>
          </p:cNvSpPr>
          <p:nvPr>
            <p:ph type="body" sz="quarter" idx="11"/>
          </p:nvPr>
        </p:nvSpPr>
        <p:spPr/>
        <p:txBody>
          <a:bodyPr/>
          <a:lstStyle/>
          <a:p>
            <a:r>
              <a:rPr lang="nl-NL"/>
              <a:t>Bepalingsmethode schematisch</a:t>
            </a:r>
          </a:p>
        </p:txBody>
      </p:sp>
      <p:grpSp>
        <p:nvGrpSpPr>
          <p:cNvPr id="48" name="Groep 47">
            <a:extLst>
              <a:ext uri="{FF2B5EF4-FFF2-40B4-BE49-F238E27FC236}">
                <a16:creationId xmlns:a16="http://schemas.microsoft.com/office/drawing/2014/main" id="{EF9B6D52-A3DF-5923-8351-B59DA8C6219F}"/>
              </a:ext>
            </a:extLst>
          </p:cNvPr>
          <p:cNvGrpSpPr/>
          <p:nvPr/>
        </p:nvGrpSpPr>
        <p:grpSpPr>
          <a:xfrm>
            <a:off x="609064" y="2094121"/>
            <a:ext cx="3226667" cy="1755236"/>
            <a:chOff x="609064" y="2094121"/>
            <a:chExt cx="3226667" cy="1755236"/>
          </a:xfrm>
        </p:grpSpPr>
        <p:sp>
          <p:nvSpPr>
            <p:cNvPr id="55" name="Tekstvak 54">
              <a:extLst>
                <a:ext uri="{FF2B5EF4-FFF2-40B4-BE49-F238E27FC236}">
                  <a16:creationId xmlns:a16="http://schemas.microsoft.com/office/drawing/2014/main" id="{22028828-87B0-4E9E-4203-B038B02376FA}"/>
                </a:ext>
              </a:extLst>
            </p:cNvPr>
            <p:cNvSpPr txBox="1"/>
            <p:nvPr/>
          </p:nvSpPr>
          <p:spPr>
            <a:xfrm>
              <a:off x="609064" y="3480025"/>
              <a:ext cx="3226667" cy="369332"/>
            </a:xfrm>
            <a:prstGeom prst="rect">
              <a:avLst/>
            </a:prstGeom>
            <a:noFill/>
          </p:spPr>
          <p:txBody>
            <a:bodyPr wrap="square">
              <a:spAutoFit/>
            </a:bodyPr>
            <a:lstStyle/>
            <a:p>
              <a:pPr algn="ctr"/>
              <a:r>
                <a:rPr lang="nl-NL" b="1"/>
                <a:t>Referentieproject</a:t>
              </a:r>
            </a:p>
          </p:txBody>
        </p:sp>
        <p:pic>
          <p:nvPicPr>
            <p:cNvPr id="7" name="Graphic 6" descr="Bakstenen muur bouwen met effen opvulling">
              <a:extLst>
                <a:ext uri="{FF2B5EF4-FFF2-40B4-BE49-F238E27FC236}">
                  <a16:creationId xmlns:a16="http://schemas.microsoft.com/office/drawing/2014/main" id="{14089C67-782F-6BA6-82CD-A3B583DDDA1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11" name="Graphic 10" descr="Grondstoffen met effen opvulling">
              <a:extLst>
                <a:ext uri="{FF2B5EF4-FFF2-40B4-BE49-F238E27FC236}">
                  <a16:creationId xmlns:a16="http://schemas.microsoft.com/office/drawing/2014/main" id="{2CF2EF14-7828-E0CF-97B1-FF62055C02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31152" y="2768437"/>
              <a:ext cx="692889" cy="692889"/>
            </a:xfrm>
            <a:prstGeom prst="rect">
              <a:avLst/>
            </a:prstGeom>
          </p:spPr>
        </p:pic>
        <p:pic>
          <p:nvPicPr>
            <p:cNvPr id="12" name="Graphic 11" descr="Boorplatform met effen opvulling">
              <a:extLst>
                <a:ext uri="{FF2B5EF4-FFF2-40B4-BE49-F238E27FC236}">
                  <a16:creationId xmlns:a16="http://schemas.microsoft.com/office/drawing/2014/main" id="{8C772F1F-2100-D8B8-FEA7-9B696483402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231152" y="2094121"/>
              <a:ext cx="692889" cy="692889"/>
            </a:xfrm>
            <a:prstGeom prst="rect">
              <a:avLst/>
            </a:prstGeom>
          </p:spPr>
        </p:pic>
        <p:pic>
          <p:nvPicPr>
            <p:cNvPr id="13" name="Graphic 12" descr="Brandstof met effen opvulling">
              <a:extLst>
                <a:ext uri="{FF2B5EF4-FFF2-40B4-BE49-F238E27FC236}">
                  <a16:creationId xmlns:a16="http://schemas.microsoft.com/office/drawing/2014/main" id="{2A13AF7F-46B2-EF48-767A-D49ACADB84A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319464" y="2094121"/>
              <a:ext cx="692889" cy="692889"/>
            </a:xfrm>
            <a:prstGeom prst="rect">
              <a:avLst/>
            </a:prstGeom>
          </p:spPr>
        </p:pic>
      </p:grpSp>
      <p:sp>
        <p:nvSpPr>
          <p:cNvPr id="47" name="Tekstvak 46">
            <a:extLst>
              <a:ext uri="{FF2B5EF4-FFF2-40B4-BE49-F238E27FC236}">
                <a16:creationId xmlns:a16="http://schemas.microsoft.com/office/drawing/2014/main" id="{6460DD84-380C-BF08-F19F-5FA8B2276782}"/>
              </a:ext>
            </a:extLst>
          </p:cNvPr>
          <p:cNvSpPr txBox="1"/>
          <p:nvPr/>
        </p:nvSpPr>
        <p:spPr>
          <a:xfrm>
            <a:off x="4259516" y="3490628"/>
            <a:ext cx="3226667" cy="369332"/>
          </a:xfrm>
          <a:prstGeom prst="rect">
            <a:avLst/>
          </a:prstGeom>
          <a:noFill/>
        </p:spPr>
        <p:txBody>
          <a:bodyPr wrap="square">
            <a:spAutoFit/>
          </a:bodyPr>
          <a:lstStyle/>
          <a:p>
            <a:pPr algn="ctr"/>
            <a:r>
              <a:rPr lang="nl-NL" err="1"/>
              <a:t>Materiaalgebonden</a:t>
            </a:r>
            <a:r>
              <a:rPr lang="nl-NL"/>
              <a:t> </a:t>
            </a:r>
            <a:r>
              <a:rPr lang="nl-NL">
                <a:latin typeface="Muli" panose="00000500000000000000" pitchFamily="2" charset="0"/>
              </a:rPr>
              <a:t>CO</a:t>
            </a:r>
            <a:r>
              <a:rPr lang="nl-NL" baseline="-25000">
                <a:latin typeface="Muli" panose="00000500000000000000" pitchFamily="2" charset="0"/>
              </a:rPr>
              <a:t>2</a:t>
            </a:r>
            <a:r>
              <a:rPr lang="nl-NL"/>
              <a:t>-eq</a:t>
            </a:r>
          </a:p>
        </p:txBody>
      </p:sp>
      <p:grpSp>
        <p:nvGrpSpPr>
          <p:cNvPr id="15" name="Groep 14">
            <a:extLst>
              <a:ext uri="{FF2B5EF4-FFF2-40B4-BE49-F238E27FC236}">
                <a16:creationId xmlns:a16="http://schemas.microsoft.com/office/drawing/2014/main" id="{39D8E24C-4D1F-26E6-0280-1644F033AA95}"/>
              </a:ext>
            </a:extLst>
          </p:cNvPr>
          <p:cNvGrpSpPr/>
          <p:nvPr/>
        </p:nvGrpSpPr>
        <p:grpSpPr>
          <a:xfrm>
            <a:off x="609064" y="4307931"/>
            <a:ext cx="3226667" cy="1755236"/>
            <a:chOff x="609064" y="2094121"/>
            <a:chExt cx="3226667" cy="1755236"/>
          </a:xfrm>
        </p:grpSpPr>
        <p:sp>
          <p:nvSpPr>
            <p:cNvPr id="16" name="Tekstvak 15">
              <a:extLst>
                <a:ext uri="{FF2B5EF4-FFF2-40B4-BE49-F238E27FC236}">
                  <a16:creationId xmlns:a16="http://schemas.microsoft.com/office/drawing/2014/main" id="{93C14B3F-B2F4-CCC4-9566-A6E1137B4DC5}"/>
                </a:ext>
              </a:extLst>
            </p:cNvPr>
            <p:cNvSpPr txBox="1"/>
            <p:nvPr/>
          </p:nvSpPr>
          <p:spPr>
            <a:xfrm>
              <a:off x="609064" y="3480025"/>
              <a:ext cx="3226667" cy="369332"/>
            </a:xfrm>
            <a:prstGeom prst="rect">
              <a:avLst/>
            </a:prstGeom>
            <a:noFill/>
          </p:spPr>
          <p:txBody>
            <a:bodyPr wrap="square">
              <a:spAutoFit/>
            </a:bodyPr>
            <a:lstStyle/>
            <a:p>
              <a:pPr algn="ctr"/>
              <a:r>
                <a:rPr lang="nl-NL" b="1"/>
                <a:t>Circulaire variant</a:t>
              </a:r>
            </a:p>
          </p:txBody>
        </p:sp>
        <p:pic>
          <p:nvPicPr>
            <p:cNvPr id="17" name="Graphic 16" descr="Bakstenen muur bouwen met effen opvulling">
              <a:extLst>
                <a:ext uri="{FF2B5EF4-FFF2-40B4-BE49-F238E27FC236}">
                  <a16:creationId xmlns:a16="http://schemas.microsoft.com/office/drawing/2014/main" id="{C4AA96D1-8B74-9B7F-E729-89E93E92381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18" name="Graphic 17" descr="Ontkiemen van zaad met effen opvulling">
              <a:extLst>
                <a:ext uri="{FF2B5EF4-FFF2-40B4-BE49-F238E27FC236}">
                  <a16:creationId xmlns:a16="http://schemas.microsoft.com/office/drawing/2014/main" id="{D60EFFDA-1676-7B75-8E6F-0D801D7D2DA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231152" y="2768437"/>
              <a:ext cx="692889" cy="692889"/>
            </a:xfrm>
            <a:prstGeom prst="rect">
              <a:avLst/>
            </a:prstGeom>
          </p:spPr>
        </p:pic>
        <p:pic>
          <p:nvPicPr>
            <p:cNvPr id="20" name="Graphic 19" descr="Duurzaamheid met effen opvulling">
              <a:extLst>
                <a:ext uri="{FF2B5EF4-FFF2-40B4-BE49-F238E27FC236}">
                  <a16:creationId xmlns:a16="http://schemas.microsoft.com/office/drawing/2014/main" id="{04216D7D-F31D-B2C6-ACB3-E21EC4F8284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231152" y="2094121"/>
              <a:ext cx="692889" cy="692889"/>
            </a:xfrm>
            <a:prstGeom prst="rect">
              <a:avLst/>
            </a:prstGeom>
          </p:spPr>
        </p:pic>
        <p:pic>
          <p:nvPicPr>
            <p:cNvPr id="21" name="Graphic 20" descr="Boomstronk met effen opvulling">
              <a:extLst>
                <a:ext uri="{FF2B5EF4-FFF2-40B4-BE49-F238E27FC236}">
                  <a16:creationId xmlns:a16="http://schemas.microsoft.com/office/drawing/2014/main" id="{751E8ABE-A6AF-8913-F9BE-8E8C60D4AEBD}"/>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319464" y="2094121"/>
              <a:ext cx="692889" cy="692889"/>
            </a:xfrm>
            <a:prstGeom prst="rect">
              <a:avLst/>
            </a:prstGeom>
          </p:spPr>
        </p:pic>
      </p:grpSp>
      <p:cxnSp>
        <p:nvCxnSpPr>
          <p:cNvPr id="36" name="Rechte verbindingslijn 35">
            <a:extLst>
              <a:ext uri="{FF2B5EF4-FFF2-40B4-BE49-F238E27FC236}">
                <a16:creationId xmlns:a16="http://schemas.microsoft.com/office/drawing/2014/main" id="{2EC57926-3EA2-6B0D-0973-E718534F0A75}"/>
              </a:ext>
            </a:extLst>
          </p:cNvPr>
          <p:cNvCxnSpPr>
            <a:cxnSpLocks/>
          </p:cNvCxnSpPr>
          <p:nvPr/>
        </p:nvCxnSpPr>
        <p:spPr>
          <a:xfrm>
            <a:off x="1319464" y="4042610"/>
            <a:ext cx="6165598"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9" name="Rechthoek 38">
            <a:extLst>
              <a:ext uri="{FF2B5EF4-FFF2-40B4-BE49-F238E27FC236}">
                <a16:creationId xmlns:a16="http://schemas.microsoft.com/office/drawing/2014/main" id="{E37632A5-7F83-AF51-81D1-89DEDC8000F5}"/>
              </a:ext>
            </a:extLst>
          </p:cNvPr>
          <p:cNvSpPr/>
          <p:nvPr/>
        </p:nvSpPr>
        <p:spPr>
          <a:xfrm>
            <a:off x="4325621" y="2108870"/>
            <a:ext cx="3094458" cy="124153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algn="ctr"/>
            <a:endParaRPr lang="nl-NL" sz="1800" b="1">
              <a:solidFill>
                <a:schemeClr val="tx1"/>
              </a:solidFill>
              <a:latin typeface="Muli" panose="00000500000000000000" pitchFamily="2" charset="0"/>
            </a:endParaRPr>
          </a:p>
        </p:txBody>
      </p:sp>
      <p:sp>
        <p:nvSpPr>
          <p:cNvPr id="41" name="Rechthoek 40">
            <a:extLst>
              <a:ext uri="{FF2B5EF4-FFF2-40B4-BE49-F238E27FC236}">
                <a16:creationId xmlns:a16="http://schemas.microsoft.com/office/drawing/2014/main" id="{36BDE935-F571-11DE-92CF-B5D9F46A3A77}"/>
              </a:ext>
            </a:extLst>
          </p:cNvPr>
          <p:cNvSpPr/>
          <p:nvPr/>
        </p:nvSpPr>
        <p:spPr>
          <a:xfrm>
            <a:off x="4325621" y="4286687"/>
            <a:ext cx="3094458" cy="497064"/>
          </a:xfrm>
          <a:prstGeom prst="rect">
            <a:avLst/>
          </a:prstGeom>
          <a:solidFill>
            <a:srgbClr val="FFFFFF">
              <a:alpha val="80000"/>
            </a:srgbClr>
          </a:solid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nl-NL" sz="1800" b="1" dirty="0">
                <a:solidFill>
                  <a:schemeClr val="tx1"/>
                </a:solidFill>
                <a:latin typeface="Muli" panose="00000500000000000000" pitchFamily="2" charset="0"/>
              </a:rPr>
              <a:t>-34%</a:t>
            </a:r>
          </a:p>
        </p:txBody>
      </p:sp>
      <p:pic>
        <p:nvPicPr>
          <p:cNvPr id="43" name="Graphic 42" descr="Energiecentrale met effen opvulling">
            <a:extLst>
              <a:ext uri="{FF2B5EF4-FFF2-40B4-BE49-F238E27FC236}">
                <a16:creationId xmlns:a16="http://schemas.microsoft.com/office/drawing/2014/main" id="{9E8989A9-2BB4-016A-A488-36E15580D81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52602" y="2414058"/>
            <a:ext cx="640496" cy="640496"/>
          </a:xfrm>
          <a:prstGeom prst="rect">
            <a:avLst/>
          </a:prstGeom>
        </p:spPr>
      </p:pic>
      <p:sp>
        <p:nvSpPr>
          <p:cNvPr id="53" name="Tekstvak 52">
            <a:extLst>
              <a:ext uri="{FF2B5EF4-FFF2-40B4-BE49-F238E27FC236}">
                <a16:creationId xmlns:a16="http://schemas.microsoft.com/office/drawing/2014/main" id="{DE8A6411-ECE0-E7B1-C6F6-22CD004BEEC4}"/>
              </a:ext>
            </a:extLst>
          </p:cNvPr>
          <p:cNvSpPr txBox="1"/>
          <p:nvPr/>
        </p:nvSpPr>
        <p:spPr>
          <a:xfrm>
            <a:off x="4259516" y="5692697"/>
            <a:ext cx="3226667" cy="369332"/>
          </a:xfrm>
          <a:prstGeom prst="rect">
            <a:avLst/>
          </a:prstGeom>
          <a:noFill/>
        </p:spPr>
        <p:txBody>
          <a:bodyPr wrap="square">
            <a:spAutoFit/>
          </a:bodyPr>
          <a:lstStyle/>
          <a:p>
            <a:pPr algn="ctr"/>
            <a:r>
              <a:rPr lang="nl-NL" err="1"/>
              <a:t>Materiaalgebonden</a:t>
            </a:r>
            <a:r>
              <a:rPr lang="nl-NL"/>
              <a:t> </a:t>
            </a:r>
            <a:r>
              <a:rPr lang="nl-NL">
                <a:latin typeface="Muli" panose="00000500000000000000" pitchFamily="2" charset="0"/>
              </a:rPr>
              <a:t>CO</a:t>
            </a:r>
            <a:r>
              <a:rPr lang="nl-NL" baseline="-25000">
                <a:latin typeface="Muli" panose="00000500000000000000" pitchFamily="2" charset="0"/>
              </a:rPr>
              <a:t>2</a:t>
            </a:r>
            <a:r>
              <a:rPr lang="nl-NL"/>
              <a:t>-eq</a:t>
            </a:r>
          </a:p>
        </p:txBody>
      </p:sp>
      <p:pic>
        <p:nvPicPr>
          <p:cNvPr id="57" name="Graphic 56" descr="Energiecentrale met effen opvulling">
            <a:extLst>
              <a:ext uri="{FF2B5EF4-FFF2-40B4-BE49-F238E27FC236}">
                <a16:creationId xmlns:a16="http://schemas.microsoft.com/office/drawing/2014/main" id="{B732269F-397B-8F11-8509-DDA831C38CF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52602" y="4616127"/>
            <a:ext cx="640496" cy="640496"/>
          </a:xfrm>
          <a:prstGeom prst="rect">
            <a:avLst/>
          </a:prstGeom>
        </p:spPr>
      </p:pic>
      <p:cxnSp>
        <p:nvCxnSpPr>
          <p:cNvPr id="61" name="Rechte verbindingslijn met pijl 60">
            <a:extLst>
              <a:ext uri="{FF2B5EF4-FFF2-40B4-BE49-F238E27FC236}">
                <a16:creationId xmlns:a16="http://schemas.microsoft.com/office/drawing/2014/main" id="{987C4EA0-19B6-72E7-1B0F-77201CB3D6C2}"/>
              </a:ext>
            </a:extLst>
          </p:cNvPr>
          <p:cNvCxnSpPr>
            <a:cxnSpLocks/>
          </p:cNvCxnSpPr>
          <p:nvPr/>
        </p:nvCxnSpPr>
        <p:spPr>
          <a:xfrm>
            <a:off x="9690035" y="4241786"/>
            <a:ext cx="0" cy="1173362"/>
          </a:xfrm>
          <a:prstGeom prst="straightConnector1">
            <a:avLst/>
          </a:prstGeom>
          <a:ln w="1905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3" name="Rechthoek 62">
            <a:extLst>
              <a:ext uri="{FF2B5EF4-FFF2-40B4-BE49-F238E27FC236}">
                <a16:creationId xmlns:a16="http://schemas.microsoft.com/office/drawing/2014/main" id="{0E5595AE-F4BD-555F-004E-10A563389525}"/>
              </a:ext>
            </a:extLst>
          </p:cNvPr>
          <p:cNvSpPr/>
          <p:nvPr/>
        </p:nvSpPr>
        <p:spPr>
          <a:xfrm>
            <a:off x="9841023" y="4286686"/>
            <a:ext cx="2118968" cy="126578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nl-NL">
                <a:solidFill>
                  <a:schemeClr val="tx1"/>
                </a:solidFill>
                <a:latin typeface="Muli" panose="00000500000000000000" pitchFamily="2" charset="0"/>
              </a:rPr>
              <a:t>-18</a:t>
            </a:r>
            <a:r>
              <a:rPr lang="nl-NL" sz="1800">
                <a:solidFill>
                  <a:schemeClr val="tx1"/>
                </a:solidFill>
                <a:latin typeface="Muli" panose="00000500000000000000" pitchFamily="2" charset="0"/>
              </a:rPr>
              <a:t>% tot -67%</a:t>
            </a:r>
          </a:p>
          <a:p>
            <a:pPr algn="ctr"/>
            <a:r>
              <a:rPr lang="nl-NL">
                <a:solidFill>
                  <a:schemeClr val="tx1"/>
                </a:solidFill>
                <a:latin typeface="Muli" panose="00000500000000000000" pitchFamily="2" charset="0"/>
              </a:rPr>
              <a:t>(In projecten)</a:t>
            </a:r>
            <a:endParaRPr lang="nl-NL" sz="1800">
              <a:solidFill>
                <a:schemeClr val="tx1"/>
              </a:solidFill>
              <a:latin typeface="Muli" panose="00000500000000000000" pitchFamily="2" charset="0"/>
            </a:endParaRPr>
          </a:p>
        </p:txBody>
      </p:sp>
      <p:cxnSp>
        <p:nvCxnSpPr>
          <p:cNvPr id="65" name="Rechte verbindingslijn 64">
            <a:extLst>
              <a:ext uri="{FF2B5EF4-FFF2-40B4-BE49-F238E27FC236}">
                <a16:creationId xmlns:a16="http://schemas.microsoft.com/office/drawing/2014/main" id="{0ED84239-6D3B-1BB3-F91A-A416DBECC75D}"/>
              </a:ext>
            </a:extLst>
          </p:cNvPr>
          <p:cNvCxnSpPr>
            <a:cxnSpLocks/>
          </p:cNvCxnSpPr>
          <p:nvPr/>
        </p:nvCxnSpPr>
        <p:spPr>
          <a:xfrm>
            <a:off x="7576490" y="4286686"/>
            <a:ext cx="2113545" cy="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Rechte verbindingslijn 65">
            <a:extLst>
              <a:ext uri="{FF2B5EF4-FFF2-40B4-BE49-F238E27FC236}">
                <a16:creationId xmlns:a16="http://schemas.microsoft.com/office/drawing/2014/main" id="{B82BEFFF-A89A-0997-A5FC-A04DA7EE90D5}"/>
              </a:ext>
            </a:extLst>
          </p:cNvPr>
          <p:cNvCxnSpPr>
            <a:cxnSpLocks/>
          </p:cNvCxnSpPr>
          <p:nvPr/>
        </p:nvCxnSpPr>
        <p:spPr>
          <a:xfrm>
            <a:off x="7571066" y="4783751"/>
            <a:ext cx="2113545" cy="59661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 name="Afbeelding 14" descr="Afbeelding met tekst, cirkel, logo, Lettertype&#10;&#10;Automatisch gegenereerde beschrijving">
            <a:extLst>
              <a:ext uri="{FF2B5EF4-FFF2-40B4-BE49-F238E27FC236}">
                <a16:creationId xmlns:a16="http://schemas.microsoft.com/office/drawing/2014/main" id="{C5863C97-3869-CB9D-A015-ECDB211A6B64}"/>
              </a:ext>
            </a:extLst>
          </p:cNvPr>
          <p:cNvPicPr/>
          <p:nvPr/>
        </p:nvPicPr>
        <p:blipFill>
          <a:blip r:embed="rId19"/>
          <a:stretch>
            <a:fillRect/>
          </a:stretch>
        </p:blipFill>
        <p:spPr>
          <a:xfrm>
            <a:off x="10880745" y="200596"/>
            <a:ext cx="1097623" cy="1097623"/>
          </a:xfrm>
          <a:prstGeom prst="rect">
            <a:avLst/>
          </a:prstGeom>
        </p:spPr>
      </p:pic>
      <p:cxnSp>
        <p:nvCxnSpPr>
          <p:cNvPr id="5" name="Straight Connector 4">
            <a:extLst>
              <a:ext uri="{FF2B5EF4-FFF2-40B4-BE49-F238E27FC236}">
                <a16:creationId xmlns:a16="http://schemas.microsoft.com/office/drawing/2014/main" id="{69C42E5B-CC19-010D-61C5-70BE538B3820}"/>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782355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47" grpId="0"/>
      <p:bldP spid="39" grpId="0" animBg="1"/>
      <p:bldP spid="41" grpId="0" animBg="1"/>
      <p:bldP spid="53" grpId="0"/>
      <p:bldP spid="6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83A8F795-0588-5692-C5BC-25A1893F37BD}"/>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FD97730C-886B-D3AA-BB60-1E9D27DCBFD8}"/>
              </a:ext>
            </a:extLst>
          </p:cNvPr>
          <p:cNvSpPr>
            <a:spLocks noGrp="1"/>
          </p:cNvSpPr>
          <p:nvPr>
            <p:ph type="title"/>
          </p:nvPr>
        </p:nvSpPr>
        <p:spPr/>
        <p:txBody>
          <a:bodyPr/>
          <a:lstStyle/>
          <a:p>
            <a:r>
              <a:rPr lang="nl-NL" dirty="0"/>
              <a:t>Circulaire varianten</a:t>
            </a:r>
          </a:p>
        </p:txBody>
      </p:sp>
      <p:sp>
        <p:nvSpPr>
          <p:cNvPr id="4" name="Tijdelijke aanduiding voor tekst 3">
            <a:extLst>
              <a:ext uri="{FF2B5EF4-FFF2-40B4-BE49-F238E27FC236}">
                <a16:creationId xmlns:a16="http://schemas.microsoft.com/office/drawing/2014/main" id="{367A7239-8753-018E-EE29-8712BD43F180}"/>
              </a:ext>
            </a:extLst>
          </p:cNvPr>
          <p:cNvSpPr>
            <a:spLocks noGrp="1"/>
          </p:cNvSpPr>
          <p:nvPr>
            <p:ph type="body" sz="quarter" idx="11"/>
          </p:nvPr>
        </p:nvSpPr>
        <p:spPr/>
        <p:txBody>
          <a:bodyPr/>
          <a:lstStyle/>
          <a:p>
            <a:endParaRPr lang="nl-NL"/>
          </a:p>
        </p:txBody>
      </p:sp>
      <p:sp>
        <p:nvSpPr>
          <p:cNvPr id="5" name="Tijdelijke aanduiding voor inhoud 4">
            <a:extLst>
              <a:ext uri="{FF2B5EF4-FFF2-40B4-BE49-F238E27FC236}">
                <a16:creationId xmlns:a16="http://schemas.microsoft.com/office/drawing/2014/main" id="{334A42A4-515C-5CDF-CA42-07598FC05A9D}"/>
              </a:ext>
            </a:extLst>
          </p:cNvPr>
          <p:cNvSpPr>
            <a:spLocks noGrp="1"/>
          </p:cNvSpPr>
          <p:nvPr>
            <p:ph sz="quarter" idx="12"/>
          </p:nvPr>
        </p:nvSpPr>
        <p:spPr/>
        <p:txBody>
          <a:bodyPr/>
          <a:lstStyle/>
          <a:p>
            <a:pPr marL="0" indent="0">
              <a:buNone/>
            </a:pPr>
            <a:r>
              <a:rPr lang="nl-NL" dirty="0"/>
              <a:t>elke renovatie onderling verschilt, is er een aantal ingrepen die - wanneer toegepast - vaak een grote relatieve CO</a:t>
            </a:r>
            <a:r>
              <a:rPr lang="nl-NL" baseline="-25000" dirty="0"/>
              <a:t>2</a:t>
            </a:r>
            <a:r>
              <a:rPr lang="nl-NL" dirty="0"/>
              <a:t>-impact heeft (15-30% van het totaal). </a:t>
            </a:r>
          </a:p>
          <a:p>
            <a:pPr lvl="0"/>
            <a:r>
              <a:rPr lang="nl-NL" dirty="0"/>
              <a:t>Vloer (na-)isoleren (en eventueel vervangen) </a:t>
            </a:r>
          </a:p>
          <a:p>
            <a:pPr lvl="0"/>
            <a:r>
              <a:rPr lang="nl-NL" dirty="0"/>
              <a:t>Dak (na-)isoleren </a:t>
            </a:r>
          </a:p>
          <a:p>
            <a:pPr lvl="0"/>
            <a:r>
              <a:rPr lang="nl-NL" dirty="0"/>
              <a:t>Glas vervangen</a:t>
            </a:r>
          </a:p>
          <a:p>
            <a:pPr lvl="0"/>
            <a:r>
              <a:rPr lang="nl-NL" dirty="0"/>
              <a:t>PV-panelen installeren (zelfs zonder installatie)</a:t>
            </a:r>
          </a:p>
          <a:p>
            <a:pPr lvl="0"/>
            <a:r>
              <a:rPr lang="nl-NL" dirty="0"/>
              <a:t>Warmtepomp installeren</a:t>
            </a:r>
          </a:p>
          <a:p>
            <a:endParaRPr lang="nl-NL" dirty="0"/>
          </a:p>
        </p:txBody>
      </p:sp>
      <p:sp>
        <p:nvSpPr>
          <p:cNvPr id="6" name="Tijdelijke aanduiding voor inhoud 5">
            <a:extLst>
              <a:ext uri="{FF2B5EF4-FFF2-40B4-BE49-F238E27FC236}">
                <a16:creationId xmlns:a16="http://schemas.microsoft.com/office/drawing/2014/main" id="{7EAD5FB0-0DAB-21F3-9E9C-8C58C841FE3C}"/>
              </a:ext>
            </a:extLst>
          </p:cNvPr>
          <p:cNvSpPr>
            <a:spLocks noGrp="1"/>
          </p:cNvSpPr>
          <p:nvPr>
            <p:ph sz="quarter" idx="17"/>
          </p:nvPr>
        </p:nvSpPr>
        <p:spPr/>
        <p:txBody>
          <a:bodyPr>
            <a:normAutofit fontScale="77500" lnSpcReduction="20000"/>
          </a:bodyPr>
          <a:lstStyle/>
          <a:p>
            <a:pPr lvl="0"/>
            <a:r>
              <a:rPr lang="nl-NL" dirty="0"/>
              <a:t>Houten </a:t>
            </a:r>
            <a:r>
              <a:rPr lang="nl-NL" dirty="0" err="1"/>
              <a:t>dakelementen</a:t>
            </a:r>
            <a:r>
              <a:rPr lang="nl-NL" dirty="0"/>
              <a:t> met biobased isolatie </a:t>
            </a:r>
          </a:p>
          <a:p>
            <a:pPr lvl="0"/>
            <a:r>
              <a:rPr lang="nl-NL" dirty="0"/>
              <a:t>HSB-wand met biobased isolatie</a:t>
            </a:r>
          </a:p>
          <a:p>
            <a:pPr lvl="0"/>
            <a:r>
              <a:rPr lang="nl-NL" dirty="0"/>
              <a:t>Zonnepanelen </a:t>
            </a:r>
            <a:r>
              <a:rPr lang="nl-NL" i="1" dirty="0"/>
              <a:t>low-carbon</a:t>
            </a:r>
            <a:r>
              <a:rPr lang="nl-NL" dirty="0"/>
              <a:t>-variant</a:t>
            </a:r>
          </a:p>
          <a:p>
            <a:pPr lvl="0"/>
            <a:r>
              <a:rPr lang="nl-NL" dirty="0"/>
              <a:t>Warmtepomp met propaan</a:t>
            </a:r>
          </a:p>
          <a:p>
            <a:pPr lvl="0"/>
            <a:r>
              <a:rPr lang="nl-NL" dirty="0"/>
              <a:t>Circulair glas </a:t>
            </a:r>
          </a:p>
          <a:p>
            <a:pPr lvl="0"/>
            <a:r>
              <a:rPr lang="nl-NL" dirty="0"/>
              <a:t>Gebruikte dakpannen</a:t>
            </a:r>
          </a:p>
          <a:p>
            <a:pPr lvl="0"/>
            <a:r>
              <a:rPr lang="nl-NL" dirty="0"/>
              <a:t>Houten kozijnen</a:t>
            </a:r>
          </a:p>
          <a:p>
            <a:pPr lvl="0"/>
            <a:r>
              <a:rPr lang="nl-NL" dirty="0"/>
              <a:t>Circulair alternatief voor bitumen</a:t>
            </a:r>
          </a:p>
          <a:p>
            <a:pPr lvl="0"/>
            <a:r>
              <a:rPr lang="nl-NL" dirty="0"/>
              <a:t>Thermokussens Vloerisolatie met lage CO</a:t>
            </a:r>
            <a:r>
              <a:rPr lang="nl-NL" baseline="-25000" dirty="0"/>
              <a:t>2</a:t>
            </a:r>
            <a:r>
              <a:rPr lang="nl-NL" dirty="0"/>
              <a:t>-uitstoot</a:t>
            </a:r>
          </a:p>
          <a:p>
            <a:pPr lvl="0"/>
            <a:r>
              <a:rPr lang="nl-NL" dirty="0"/>
              <a:t>Verantwoorde spaanplaat </a:t>
            </a:r>
          </a:p>
          <a:p>
            <a:pPr lvl="0"/>
            <a:r>
              <a:rPr lang="nl-NL" dirty="0"/>
              <a:t>Biobased isolatie (voor verschillende toepassingen):</a:t>
            </a:r>
          </a:p>
          <a:p>
            <a:pPr lvl="1"/>
            <a:r>
              <a:rPr lang="nl-NL" dirty="0"/>
              <a:t>Houtvezel</a:t>
            </a:r>
          </a:p>
          <a:p>
            <a:pPr lvl="1"/>
            <a:r>
              <a:rPr lang="nl-NL" dirty="0"/>
              <a:t>Vlas</a:t>
            </a:r>
          </a:p>
        </p:txBody>
      </p:sp>
      <p:sp>
        <p:nvSpPr>
          <p:cNvPr id="7" name="Tijdelijke aanduiding voor tekst 6">
            <a:extLst>
              <a:ext uri="{FF2B5EF4-FFF2-40B4-BE49-F238E27FC236}">
                <a16:creationId xmlns:a16="http://schemas.microsoft.com/office/drawing/2014/main" id="{62B0009A-8514-6D4C-7D15-255BC58E7ADD}"/>
              </a:ext>
            </a:extLst>
          </p:cNvPr>
          <p:cNvSpPr>
            <a:spLocks noGrp="1"/>
          </p:cNvSpPr>
          <p:nvPr>
            <p:ph type="body" sz="quarter" idx="16"/>
          </p:nvPr>
        </p:nvSpPr>
        <p:spPr/>
        <p:txBody>
          <a:bodyPr/>
          <a:lstStyle/>
          <a:p>
            <a:endParaRPr lang="nl-NL"/>
          </a:p>
        </p:txBody>
      </p:sp>
      <p:pic>
        <p:nvPicPr>
          <p:cNvPr id="8" name="Afbeelding 14" descr="Afbeelding met tekst, cirkel, logo, Lettertype&#10;&#10;Automatisch gegenereerde beschrijving">
            <a:extLst>
              <a:ext uri="{FF2B5EF4-FFF2-40B4-BE49-F238E27FC236}">
                <a16:creationId xmlns:a16="http://schemas.microsoft.com/office/drawing/2014/main" id="{5E4FB39A-E8D4-6D5B-D4F5-379D43A7FE0C}"/>
              </a:ext>
            </a:extLst>
          </p:cNvPr>
          <p:cNvPicPr/>
          <p:nvPr/>
        </p:nvPicPr>
        <p:blipFill>
          <a:blip r:embed="rId2"/>
          <a:stretch>
            <a:fillRect/>
          </a:stretch>
        </p:blipFill>
        <p:spPr>
          <a:xfrm>
            <a:off x="10880745" y="200596"/>
            <a:ext cx="1097623" cy="1097623"/>
          </a:xfrm>
          <a:prstGeom prst="rect">
            <a:avLst/>
          </a:prstGeom>
        </p:spPr>
      </p:pic>
      <p:cxnSp>
        <p:nvCxnSpPr>
          <p:cNvPr id="9" name="Straight Connector 8">
            <a:extLst>
              <a:ext uri="{FF2B5EF4-FFF2-40B4-BE49-F238E27FC236}">
                <a16:creationId xmlns:a16="http://schemas.microsoft.com/office/drawing/2014/main" id="{47B637F4-67DE-F55D-2609-B50A10B68C70}"/>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968622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30906-468E-EA4E-22D1-BA04BBAFD17B}"/>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71D090A0-3686-0BAD-FFCA-B6804277EE8E}"/>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5E3C7484-B223-2E8A-E4E0-D97A3E64004E}"/>
              </a:ext>
            </a:extLst>
          </p:cNvPr>
          <p:cNvSpPr>
            <a:spLocks noGrp="1"/>
          </p:cNvSpPr>
          <p:nvPr>
            <p:ph type="title"/>
          </p:nvPr>
        </p:nvSpPr>
        <p:spPr/>
        <p:txBody>
          <a:bodyPr/>
          <a:lstStyle/>
          <a:p>
            <a:r>
              <a:rPr lang="nl-NL" dirty="0"/>
              <a:t>Circulaire varianten</a:t>
            </a:r>
          </a:p>
        </p:txBody>
      </p:sp>
      <p:sp>
        <p:nvSpPr>
          <p:cNvPr id="4" name="Tijdelijke aanduiding voor tekst 3">
            <a:extLst>
              <a:ext uri="{FF2B5EF4-FFF2-40B4-BE49-F238E27FC236}">
                <a16:creationId xmlns:a16="http://schemas.microsoft.com/office/drawing/2014/main" id="{383DE549-5270-DF5B-FB3C-FAA299DB87D2}"/>
              </a:ext>
            </a:extLst>
          </p:cNvPr>
          <p:cNvSpPr>
            <a:spLocks noGrp="1"/>
          </p:cNvSpPr>
          <p:nvPr>
            <p:ph type="body" sz="quarter" idx="11"/>
          </p:nvPr>
        </p:nvSpPr>
        <p:spPr/>
        <p:txBody>
          <a:bodyPr/>
          <a:lstStyle/>
          <a:p>
            <a:endParaRPr lang="nl-NL"/>
          </a:p>
        </p:txBody>
      </p:sp>
      <p:sp>
        <p:nvSpPr>
          <p:cNvPr id="7" name="Tijdelijke aanduiding voor tekst 6">
            <a:extLst>
              <a:ext uri="{FF2B5EF4-FFF2-40B4-BE49-F238E27FC236}">
                <a16:creationId xmlns:a16="http://schemas.microsoft.com/office/drawing/2014/main" id="{CB77E280-3C04-9F18-FCAA-128B334C1FFB}"/>
              </a:ext>
            </a:extLst>
          </p:cNvPr>
          <p:cNvSpPr>
            <a:spLocks noGrp="1"/>
          </p:cNvSpPr>
          <p:nvPr>
            <p:ph type="body" sz="quarter" idx="16"/>
          </p:nvPr>
        </p:nvSpPr>
        <p:spPr/>
        <p:txBody>
          <a:bodyPr/>
          <a:lstStyle/>
          <a:p>
            <a:endParaRPr lang="nl-NL"/>
          </a:p>
        </p:txBody>
      </p:sp>
      <p:sp>
        <p:nvSpPr>
          <p:cNvPr id="9" name="Tijdelijke aanduiding voor inhoud 8">
            <a:extLst>
              <a:ext uri="{FF2B5EF4-FFF2-40B4-BE49-F238E27FC236}">
                <a16:creationId xmlns:a16="http://schemas.microsoft.com/office/drawing/2014/main" id="{779B845F-1D1A-CA4B-8981-A0900246EB9B}"/>
              </a:ext>
            </a:extLst>
          </p:cNvPr>
          <p:cNvSpPr>
            <a:spLocks noGrp="1"/>
          </p:cNvSpPr>
          <p:nvPr>
            <p:ph sz="quarter" idx="17"/>
          </p:nvPr>
        </p:nvSpPr>
        <p:spPr/>
        <p:txBody>
          <a:bodyPr/>
          <a:lstStyle/>
          <a:p>
            <a:endParaRPr lang="nl-NL"/>
          </a:p>
        </p:txBody>
      </p:sp>
      <p:sp>
        <p:nvSpPr>
          <p:cNvPr id="11" name="Tijdelijke aanduiding voor inhoud 10">
            <a:extLst>
              <a:ext uri="{FF2B5EF4-FFF2-40B4-BE49-F238E27FC236}">
                <a16:creationId xmlns:a16="http://schemas.microsoft.com/office/drawing/2014/main" id="{760D46A3-3295-AA19-CB8E-93F521E7EE65}"/>
              </a:ext>
            </a:extLst>
          </p:cNvPr>
          <p:cNvSpPr>
            <a:spLocks noGrp="1"/>
          </p:cNvSpPr>
          <p:nvPr>
            <p:ph sz="quarter" idx="12"/>
          </p:nvPr>
        </p:nvSpPr>
        <p:spPr/>
        <p:txBody>
          <a:bodyPr/>
          <a:lstStyle/>
          <a:p>
            <a:pPr lvl="0"/>
            <a:r>
              <a:rPr lang="nl-NL"/>
              <a:t>Voor spouwmuurisolatie is er geen gelijkwaardig biobased alternatief.</a:t>
            </a:r>
          </a:p>
          <a:p>
            <a:pPr lvl="0"/>
            <a:r>
              <a:rPr lang="nl-NL"/>
              <a:t>Voor kruipruimte isolatie is er geen gelijkwaardig biobased alternatief </a:t>
            </a:r>
          </a:p>
          <a:p>
            <a:pPr lvl="0"/>
            <a:r>
              <a:rPr lang="nl-NL"/>
              <a:t>Luchtwaterwarmtepomp (o.b.v. propaan heeft nog grote impact, maar is momenteel de minst belastende optie wat betreft CO</a:t>
            </a:r>
            <a:r>
              <a:rPr lang="nl-NL" baseline="-25000"/>
              <a:t>2</a:t>
            </a:r>
            <a:r>
              <a:rPr lang="nl-NL"/>
              <a:t>-uitstoot)</a:t>
            </a:r>
          </a:p>
          <a:p>
            <a:pPr lvl="0"/>
            <a:r>
              <a:rPr lang="nl-NL"/>
              <a:t>Voor de waterwaterwarmtepomp was er geen alternatief</a:t>
            </a:r>
          </a:p>
        </p:txBody>
      </p:sp>
      <p:pic>
        <p:nvPicPr>
          <p:cNvPr id="5" name="Afbeelding 14" descr="Afbeelding met tekst, cirkel, logo, Lettertype&#10;&#10;Automatisch gegenereerde beschrijving">
            <a:extLst>
              <a:ext uri="{FF2B5EF4-FFF2-40B4-BE49-F238E27FC236}">
                <a16:creationId xmlns:a16="http://schemas.microsoft.com/office/drawing/2014/main" id="{F5512CF9-B433-8FBD-53DB-99D74FB70FBE}"/>
              </a:ext>
            </a:extLst>
          </p:cNvPr>
          <p:cNvPicPr/>
          <p:nvPr/>
        </p:nvPicPr>
        <p:blipFill>
          <a:blip r:embed="rId2"/>
          <a:stretch>
            <a:fillRect/>
          </a:stretch>
        </p:blipFill>
        <p:spPr>
          <a:xfrm>
            <a:off x="10880745" y="200596"/>
            <a:ext cx="1097623" cy="1097623"/>
          </a:xfrm>
          <a:prstGeom prst="rect">
            <a:avLst/>
          </a:prstGeom>
        </p:spPr>
      </p:pic>
      <p:cxnSp>
        <p:nvCxnSpPr>
          <p:cNvPr id="6" name="Straight Connector 5">
            <a:extLst>
              <a:ext uri="{FF2B5EF4-FFF2-40B4-BE49-F238E27FC236}">
                <a16:creationId xmlns:a16="http://schemas.microsoft.com/office/drawing/2014/main" id="{84C7DFE4-A3C9-FF54-0959-D04845D3B582}"/>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337025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53C3E-716A-A67F-AE96-F96470E8E214}"/>
            </a:ext>
          </a:extLst>
        </p:cNvPr>
        <p:cNvGrpSpPr/>
        <p:nvPr/>
      </p:nvGrpSpPr>
      <p:grpSpPr>
        <a:xfrm>
          <a:off x="0" y="0"/>
          <a:ext cx="0" cy="0"/>
          <a:chOff x="0" y="0"/>
          <a:chExt cx="0" cy="0"/>
        </a:xfrm>
      </p:grpSpPr>
      <p:sp>
        <p:nvSpPr>
          <p:cNvPr id="54" name="Rechthoek 53">
            <a:extLst>
              <a:ext uri="{FF2B5EF4-FFF2-40B4-BE49-F238E27FC236}">
                <a16:creationId xmlns:a16="http://schemas.microsoft.com/office/drawing/2014/main" id="{D7F19B33-F1EF-22B5-CABF-FFA4CF4F18CE}"/>
              </a:ext>
            </a:extLst>
          </p:cNvPr>
          <p:cNvSpPr/>
          <p:nvPr/>
        </p:nvSpPr>
        <p:spPr>
          <a:xfrm>
            <a:off x="4325621" y="4599329"/>
            <a:ext cx="3094458" cy="95314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algn="ctr"/>
            <a:endParaRPr lang="nl-NL" sz="1800" b="1">
              <a:solidFill>
                <a:schemeClr val="tx1"/>
              </a:solidFill>
              <a:latin typeface="Muli" panose="00000500000000000000" pitchFamily="2" charset="0"/>
            </a:endParaRPr>
          </a:p>
        </p:txBody>
      </p:sp>
      <p:sp>
        <p:nvSpPr>
          <p:cNvPr id="2" name="Titel 1">
            <a:extLst>
              <a:ext uri="{FF2B5EF4-FFF2-40B4-BE49-F238E27FC236}">
                <a16:creationId xmlns:a16="http://schemas.microsoft.com/office/drawing/2014/main" id="{01D94D0A-832D-2C69-C12B-A0BB8D2A736D}"/>
              </a:ext>
            </a:extLst>
          </p:cNvPr>
          <p:cNvSpPr>
            <a:spLocks noGrp="1"/>
          </p:cNvSpPr>
          <p:nvPr>
            <p:ph type="title"/>
          </p:nvPr>
        </p:nvSpPr>
        <p:spPr/>
        <p:txBody>
          <a:bodyPr/>
          <a:lstStyle/>
          <a:p>
            <a:r>
              <a:rPr lang="nl-NL"/>
              <a:t>Wat is de meerprijs van circulair renoveren?</a:t>
            </a:r>
          </a:p>
        </p:txBody>
      </p:sp>
      <p:sp>
        <p:nvSpPr>
          <p:cNvPr id="4" name="Tijdelijke aanduiding voor tekst 3">
            <a:extLst>
              <a:ext uri="{FF2B5EF4-FFF2-40B4-BE49-F238E27FC236}">
                <a16:creationId xmlns:a16="http://schemas.microsoft.com/office/drawing/2014/main" id="{A7040B8F-D092-33FF-DB41-49D90744F8A6}"/>
              </a:ext>
            </a:extLst>
          </p:cNvPr>
          <p:cNvSpPr>
            <a:spLocks noGrp="1"/>
          </p:cNvSpPr>
          <p:nvPr>
            <p:ph type="body" sz="quarter" idx="11"/>
          </p:nvPr>
        </p:nvSpPr>
        <p:spPr/>
        <p:txBody>
          <a:bodyPr/>
          <a:lstStyle/>
          <a:p>
            <a:r>
              <a:rPr lang="nl-NL"/>
              <a:t>Op basis van de resultaten</a:t>
            </a:r>
          </a:p>
        </p:txBody>
      </p:sp>
      <p:grpSp>
        <p:nvGrpSpPr>
          <p:cNvPr id="48" name="Groep 47">
            <a:extLst>
              <a:ext uri="{FF2B5EF4-FFF2-40B4-BE49-F238E27FC236}">
                <a16:creationId xmlns:a16="http://schemas.microsoft.com/office/drawing/2014/main" id="{2760E08E-8587-7AF5-048A-2E41DAFC9CB1}"/>
              </a:ext>
            </a:extLst>
          </p:cNvPr>
          <p:cNvGrpSpPr/>
          <p:nvPr/>
        </p:nvGrpSpPr>
        <p:grpSpPr>
          <a:xfrm>
            <a:off x="609064" y="2094121"/>
            <a:ext cx="3226667" cy="1755236"/>
            <a:chOff x="609064" y="2094121"/>
            <a:chExt cx="3226667" cy="1755236"/>
          </a:xfrm>
        </p:grpSpPr>
        <p:sp>
          <p:nvSpPr>
            <p:cNvPr id="55" name="Tekstvak 54">
              <a:extLst>
                <a:ext uri="{FF2B5EF4-FFF2-40B4-BE49-F238E27FC236}">
                  <a16:creationId xmlns:a16="http://schemas.microsoft.com/office/drawing/2014/main" id="{88D11A50-6BF5-4046-8B5A-C7DEB80C0203}"/>
                </a:ext>
              </a:extLst>
            </p:cNvPr>
            <p:cNvSpPr txBox="1"/>
            <p:nvPr/>
          </p:nvSpPr>
          <p:spPr>
            <a:xfrm>
              <a:off x="609064" y="3480025"/>
              <a:ext cx="3226667" cy="369332"/>
            </a:xfrm>
            <a:prstGeom prst="rect">
              <a:avLst/>
            </a:prstGeom>
            <a:noFill/>
          </p:spPr>
          <p:txBody>
            <a:bodyPr wrap="square">
              <a:spAutoFit/>
            </a:bodyPr>
            <a:lstStyle/>
            <a:p>
              <a:pPr algn="ctr"/>
              <a:r>
                <a:rPr lang="nl-NL" b="1"/>
                <a:t>Referentieproject</a:t>
              </a:r>
            </a:p>
          </p:txBody>
        </p:sp>
        <p:pic>
          <p:nvPicPr>
            <p:cNvPr id="7" name="Graphic 6" descr="Bakstenen muur bouwen met effen opvulling">
              <a:extLst>
                <a:ext uri="{FF2B5EF4-FFF2-40B4-BE49-F238E27FC236}">
                  <a16:creationId xmlns:a16="http://schemas.microsoft.com/office/drawing/2014/main" id="{A68E8515-36DE-E4E7-FAB8-5C701988A72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11" name="Graphic 10" descr="Grondstoffen met effen opvulling">
              <a:extLst>
                <a:ext uri="{FF2B5EF4-FFF2-40B4-BE49-F238E27FC236}">
                  <a16:creationId xmlns:a16="http://schemas.microsoft.com/office/drawing/2014/main" id="{E96043F6-2CCB-567C-4D23-5C909FE2A9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31152" y="2768437"/>
              <a:ext cx="692889" cy="692889"/>
            </a:xfrm>
            <a:prstGeom prst="rect">
              <a:avLst/>
            </a:prstGeom>
          </p:spPr>
        </p:pic>
        <p:pic>
          <p:nvPicPr>
            <p:cNvPr id="12" name="Graphic 11" descr="Boorplatform met effen opvulling">
              <a:extLst>
                <a:ext uri="{FF2B5EF4-FFF2-40B4-BE49-F238E27FC236}">
                  <a16:creationId xmlns:a16="http://schemas.microsoft.com/office/drawing/2014/main" id="{A7FBD645-2572-3805-F936-C966B0A1004B}"/>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231152" y="2094121"/>
              <a:ext cx="692889" cy="692889"/>
            </a:xfrm>
            <a:prstGeom prst="rect">
              <a:avLst/>
            </a:prstGeom>
          </p:spPr>
        </p:pic>
        <p:pic>
          <p:nvPicPr>
            <p:cNvPr id="13" name="Graphic 12" descr="Brandstof met effen opvulling">
              <a:extLst>
                <a:ext uri="{FF2B5EF4-FFF2-40B4-BE49-F238E27FC236}">
                  <a16:creationId xmlns:a16="http://schemas.microsoft.com/office/drawing/2014/main" id="{9C61B652-914C-697F-F59E-90B716A520C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319464" y="2094121"/>
              <a:ext cx="692889" cy="692889"/>
            </a:xfrm>
            <a:prstGeom prst="rect">
              <a:avLst/>
            </a:prstGeom>
          </p:spPr>
        </p:pic>
      </p:grpSp>
      <p:sp>
        <p:nvSpPr>
          <p:cNvPr id="47" name="Tekstvak 46">
            <a:extLst>
              <a:ext uri="{FF2B5EF4-FFF2-40B4-BE49-F238E27FC236}">
                <a16:creationId xmlns:a16="http://schemas.microsoft.com/office/drawing/2014/main" id="{B9984739-EC01-B99C-D765-BD6F739D1289}"/>
              </a:ext>
            </a:extLst>
          </p:cNvPr>
          <p:cNvSpPr txBox="1"/>
          <p:nvPr/>
        </p:nvSpPr>
        <p:spPr>
          <a:xfrm>
            <a:off x="4259516" y="3490628"/>
            <a:ext cx="3226667" cy="369332"/>
          </a:xfrm>
          <a:prstGeom prst="rect">
            <a:avLst/>
          </a:prstGeom>
          <a:noFill/>
        </p:spPr>
        <p:txBody>
          <a:bodyPr wrap="square">
            <a:spAutoFit/>
          </a:bodyPr>
          <a:lstStyle/>
          <a:p>
            <a:pPr algn="ctr"/>
            <a:r>
              <a:rPr lang="nl-NL" dirty="0"/>
              <a:t>Projectkosten</a:t>
            </a:r>
          </a:p>
        </p:txBody>
      </p:sp>
      <p:grpSp>
        <p:nvGrpSpPr>
          <p:cNvPr id="15" name="Groep 14">
            <a:extLst>
              <a:ext uri="{FF2B5EF4-FFF2-40B4-BE49-F238E27FC236}">
                <a16:creationId xmlns:a16="http://schemas.microsoft.com/office/drawing/2014/main" id="{823ECE15-9C61-EA15-4557-94F632497938}"/>
              </a:ext>
            </a:extLst>
          </p:cNvPr>
          <p:cNvGrpSpPr/>
          <p:nvPr/>
        </p:nvGrpSpPr>
        <p:grpSpPr>
          <a:xfrm>
            <a:off x="609064" y="4307931"/>
            <a:ext cx="3226667" cy="1755236"/>
            <a:chOff x="609064" y="2094121"/>
            <a:chExt cx="3226667" cy="1755236"/>
          </a:xfrm>
        </p:grpSpPr>
        <p:sp>
          <p:nvSpPr>
            <p:cNvPr id="16" name="Tekstvak 15">
              <a:extLst>
                <a:ext uri="{FF2B5EF4-FFF2-40B4-BE49-F238E27FC236}">
                  <a16:creationId xmlns:a16="http://schemas.microsoft.com/office/drawing/2014/main" id="{D653801B-5C97-BB56-8F7B-D3864C08283A}"/>
                </a:ext>
              </a:extLst>
            </p:cNvPr>
            <p:cNvSpPr txBox="1"/>
            <p:nvPr/>
          </p:nvSpPr>
          <p:spPr>
            <a:xfrm>
              <a:off x="609064" y="3480025"/>
              <a:ext cx="3226667" cy="369332"/>
            </a:xfrm>
            <a:prstGeom prst="rect">
              <a:avLst/>
            </a:prstGeom>
            <a:noFill/>
          </p:spPr>
          <p:txBody>
            <a:bodyPr wrap="square">
              <a:spAutoFit/>
            </a:bodyPr>
            <a:lstStyle/>
            <a:p>
              <a:pPr algn="ctr"/>
              <a:r>
                <a:rPr lang="nl-NL" b="1"/>
                <a:t>Circulaire variant</a:t>
              </a:r>
            </a:p>
          </p:txBody>
        </p:sp>
        <p:pic>
          <p:nvPicPr>
            <p:cNvPr id="17" name="Graphic 16" descr="Bakstenen muur bouwen met effen opvulling">
              <a:extLst>
                <a:ext uri="{FF2B5EF4-FFF2-40B4-BE49-F238E27FC236}">
                  <a16:creationId xmlns:a16="http://schemas.microsoft.com/office/drawing/2014/main" id="{F61C3216-8211-9FDF-D504-97470B807B9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18" name="Graphic 17" descr="Ontkiemen van zaad met effen opvulling">
              <a:extLst>
                <a:ext uri="{FF2B5EF4-FFF2-40B4-BE49-F238E27FC236}">
                  <a16:creationId xmlns:a16="http://schemas.microsoft.com/office/drawing/2014/main" id="{FA544322-C9E2-5710-E4A0-DF2237FA070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231152" y="2768437"/>
              <a:ext cx="692889" cy="692889"/>
            </a:xfrm>
            <a:prstGeom prst="rect">
              <a:avLst/>
            </a:prstGeom>
          </p:spPr>
        </p:pic>
        <p:pic>
          <p:nvPicPr>
            <p:cNvPr id="20" name="Graphic 19" descr="Duurzaamheid met effen opvulling">
              <a:extLst>
                <a:ext uri="{FF2B5EF4-FFF2-40B4-BE49-F238E27FC236}">
                  <a16:creationId xmlns:a16="http://schemas.microsoft.com/office/drawing/2014/main" id="{E7E5F59D-5968-89E9-5A05-73892F505FC8}"/>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231152" y="2094121"/>
              <a:ext cx="692889" cy="692889"/>
            </a:xfrm>
            <a:prstGeom prst="rect">
              <a:avLst/>
            </a:prstGeom>
          </p:spPr>
        </p:pic>
        <p:pic>
          <p:nvPicPr>
            <p:cNvPr id="21" name="Graphic 20" descr="Boomstronk met effen opvulling">
              <a:extLst>
                <a:ext uri="{FF2B5EF4-FFF2-40B4-BE49-F238E27FC236}">
                  <a16:creationId xmlns:a16="http://schemas.microsoft.com/office/drawing/2014/main" id="{901A0749-3AC9-288D-2324-D475A52FB52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319464" y="2094121"/>
              <a:ext cx="692889" cy="692889"/>
            </a:xfrm>
            <a:prstGeom prst="rect">
              <a:avLst/>
            </a:prstGeom>
          </p:spPr>
        </p:pic>
      </p:grpSp>
      <p:cxnSp>
        <p:nvCxnSpPr>
          <p:cNvPr id="36" name="Rechte verbindingslijn 35">
            <a:extLst>
              <a:ext uri="{FF2B5EF4-FFF2-40B4-BE49-F238E27FC236}">
                <a16:creationId xmlns:a16="http://schemas.microsoft.com/office/drawing/2014/main" id="{4C78BAF0-1E90-775D-15BF-472A76594D34}"/>
              </a:ext>
            </a:extLst>
          </p:cNvPr>
          <p:cNvCxnSpPr>
            <a:cxnSpLocks/>
          </p:cNvCxnSpPr>
          <p:nvPr/>
        </p:nvCxnSpPr>
        <p:spPr>
          <a:xfrm>
            <a:off x="1319464" y="4042610"/>
            <a:ext cx="6165598"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Tekstvak 52">
            <a:extLst>
              <a:ext uri="{FF2B5EF4-FFF2-40B4-BE49-F238E27FC236}">
                <a16:creationId xmlns:a16="http://schemas.microsoft.com/office/drawing/2014/main" id="{E6E65963-A92D-5234-5297-4C7BA319ECD4}"/>
              </a:ext>
            </a:extLst>
          </p:cNvPr>
          <p:cNvSpPr txBox="1"/>
          <p:nvPr/>
        </p:nvSpPr>
        <p:spPr>
          <a:xfrm>
            <a:off x="4259516" y="5692697"/>
            <a:ext cx="3226667" cy="369332"/>
          </a:xfrm>
          <a:prstGeom prst="rect">
            <a:avLst/>
          </a:prstGeom>
          <a:noFill/>
        </p:spPr>
        <p:txBody>
          <a:bodyPr wrap="square">
            <a:spAutoFit/>
          </a:bodyPr>
          <a:lstStyle/>
          <a:p>
            <a:pPr algn="ctr"/>
            <a:r>
              <a:rPr lang="nl-NL"/>
              <a:t>Projectkosten (en meerprijs)</a:t>
            </a:r>
          </a:p>
        </p:txBody>
      </p:sp>
      <p:cxnSp>
        <p:nvCxnSpPr>
          <p:cNvPr id="61" name="Rechte verbindingslijn met pijl 60">
            <a:extLst>
              <a:ext uri="{FF2B5EF4-FFF2-40B4-BE49-F238E27FC236}">
                <a16:creationId xmlns:a16="http://schemas.microsoft.com/office/drawing/2014/main" id="{358544F0-7A83-E9E8-2D85-79A9C4E6AE76}"/>
              </a:ext>
            </a:extLst>
          </p:cNvPr>
          <p:cNvCxnSpPr>
            <a:cxnSpLocks/>
          </p:cNvCxnSpPr>
          <p:nvPr/>
        </p:nvCxnSpPr>
        <p:spPr>
          <a:xfrm>
            <a:off x="9670586" y="4466919"/>
            <a:ext cx="0" cy="277255"/>
          </a:xfrm>
          <a:prstGeom prst="straightConnector1">
            <a:avLst/>
          </a:prstGeom>
          <a:ln w="1905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3" name="Rechthoek 62">
            <a:extLst>
              <a:ext uri="{FF2B5EF4-FFF2-40B4-BE49-F238E27FC236}">
                <a16:creationId xmlns:a16="http://schemas.microsoft.com/office/drawing/2014/main" id="{40D52E1C-1721-134D-9490-9E5FEDB9DD07}"/>
              </a:ext>
            </a:extLst>
          </p:cNvPr>
          <p:cNvSpPr/>
          <p:nvPr/>
        </p:nvSpPr>
        <p:spPr>
          <a:xfrm>
            <a:off x="9790893" y="3920620"/>
            <a:ext cx="1791507" cy="126578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nl-NL">
                <a:solidFill>
                  <a:schemeClr val="tx1"/>
                </a:solidFill>
                <a:latin typeface="Muli" panose="00000500000000000000" pitchFamily="2" charset="0"/>
              </a:rPr>
              <a:t>+0,3</a:t>
            </a:r>
            <a:r>
              <a:rPr lang="nl-NL" sz="1800">
                <a:solidFill>
                  <a:schemeClr val="tx1"/>
                </a:solidFill>
                <a:latin typeface="Muli" panose="00000500000000000000" pitchFamily="2" charset="0"/>
              </a:rPr>
              <a:t>% tot +4%</a:t>
            </a:r>
          </a:p>
          <a:p>
            <a:pPr algn="ctr"/>
            <a:r>
              <a:rPr lang="nl-NL">
                <a:solidFill>
                  <a:schemeClr val="tx1"/>
                </a:solidFill>
                <a:latin typeface="Muli" panose="00000500000000000000" pitchFamily="2" charset="0"/>
              </a:rPr>
              <a:t>(In projecten)</a:t>
            </a:r>
            <a:endParaRPr lang="nl-NL" sz="1800">
              <a:solidFill>
                <a:schemeClr val="tx1"/>
              </a:solidFill>
              <a:latin typeface="Muli" panose="00000500000000000000" pitchFamily="2" charset="0"/>
            </a:endParaRPr>
          </a:p>
        </p:txBody>
      </p:sp>
      <p:cxnSp>
        <p:nvCxnSpPr>
          <p:cNvPr id="65" name="Rechte verbindingslijn 64">
            <a:extLst>
              <a:ext uri="{FF2B5EF4-FFF2-40B4-BE49-F238E27FC236}">
                <a16:creationId xmlns:a16="http://schemas.microsoft.com/office/drawing/2014/main" id="{448F5552-3E01-FBCB-B5A3-308ED56A045C}"/>
              </a:ext>
            </a:extLst>
          </p:cNvPr>
          <p:cNvCxnSpPr>
            <a:cxnSpLocks/>
          </p:cNvCxnSpPr>
          <p:nvPr/>
        </p:nvCxnSpPr>
        <p:spPr>
          <a:xfrm flipV="1">
            <a:off x="7576490" y="4509848"/>
            <a:ext cx="2000420" cy="20805"/>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Rechte verbindingslijn 65">
            <a:extLst>
              <a:ext uri="{FF2B5EF4-FFF2-40B4-BE49-F238E27FC236}">
                <a16:creationId xmlns:a16="http://schemas.microsoft.com/office/drawing/2014/main" id="{142D9140-99F4-A017-93BA-38A87E6C8B42}"/>
              </a:ext>
            </a:extLst>
          </p:cNvPr>
          <p:cNvCxnSpPr>
            <a:cxnSpLocks/>
          </p:cNvCxnSpPr>
          <p:nvPr/>
        </p:nvCxnSpPr>
        <p:spPr>
          <a:xfrm>
            <a:off x="7571066" y="4576372"/>
            <a:ext cx="2118969" cy="78003"/>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 name="Graphic 2" descr="Euro met effen opvulling">
            <a:extLst>
              <a:ext uri="{FF2B5EF4-FFF2-40B4-BE49-F238E27FC236}">
                <a16:creationId xmlns:a16="http://schemas.microsoft.com/office/drawing/2014/main" id="{423220B2-10EA-C55E-D987-4CCF86A55BC4}"/>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552602" y="4744174"/>
            <a:ext cx="640496" cy="640496"/>
          </a:xfrm>
          <a:prstGeom prst="rect">
            <a:avLst/>
          </a:prstGeom>
        </p:spPr>
      </p:pic>
      <p:sp>
        <p:nvSpPr>
          <p:cNvPr id="5" name="Rechthoek 4">
            <a:extLst>
              <a:ext uri="{FF2B5EF4-FFF2-40B4-BE49-F238E27FC236}">
                <a16:creationId xmlns:a16="http://schemas.microsoft.com/office/drawing/2014/main" id="{156BCF6F-C2AE-0E39-6DA0-6693FBB5866D}"/>
              </a:ext>
            </a:extLst>
          </p:cNvPr>
          <p:cNvSpPr/>
          <p:nvPr/>
        </p:nvSpPr>
        <p:spPr>
          <a:xfrm>
            <a:off x="4325621" y="2414231"/>
            <a:ext cx="3094458" cy="95314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algn="ctr"/>
            <a:endParaRPr lang="nl-NL" sz="1800" b="1">
              <a:solidFill>
                <a:schemeClr val="tx1"/>
              </a:solidFill>
              <a:latin typeface="Muli" panose="00000500000000000000" pitchFamily="2" charset="0"/>
            </a:endParaRPr>
          </a:p>
        </p:txBody>
      </p:sp>
      <p:pic>
        <p:nvPicPr>
          <p:cNvPr id="8" name="Graphic 7" descr="Euro met effen opvulling">
            <a:extLst>
              <a:ext uri="{FF2B5EF4-FFF2-40B4-BE49-F238E27FC236}">
                <a16:creationId xmlns:a16="http://schemas.microsoft.com/office/drawing/2014/main" id="{97EFD8F4-F99D-8B22-4F86-C7B177DFE73C}"/>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552602" y="2559076"/>
            <a:ext cx="640496" cy="640496"/>
          </a:xfrm>
          <a:prstGeom prst="rect">
            <a:avLst/>
          </a:prstGeom>
        </p:spPr>
      </p:pic>
      <p:sp>
        <p:nvSpPr>
          <p:cNvPr id="9" name="Rechthoek 8">
            <a:extLst>
              <a:ext uri="{FF2B5EF4-FFF2-40B4-BE49-F238E27FC236}">
                <a16:creationId xmlns:a16="http://schemas.microsoft.com/office/drawing/2014/main" id="{DFB812B9-4ACB-8408-1C8C-F146F0DFF2F9}"/>
              </a:ext>
            </a:extLst>
          </p:cNvPr>
          <p:cNvSpPr/>
          <p:nvPr/>
        </p:nvSpPr>
        <p:spPr>
          <a:xfrm>
            <a:off x="4325621" y="4530653"/>
            <a:ext cx="3094458" cy="45719"/>
          </a:xfrm>
          <a:prstGeom prst="rect">
            <a:avLst/>
          </a:prstGeom>
          <a:solidFill>
            <a:srgbClr val="FFFFFF">
              <a:alpha val="80000"/>
            </a:srgbClr>
          </a:solid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sz="1800" b="1">
              <a:solidFill>
                <a:schemeClr val="tx1"/>
              </a:solidFill>
              <a:latin typeface="Muli" panose="00000500000000000000" pitchFamily="2" charset="0"/>
            </a:endParaRPr>
          </a:p>
        </p:txBody>
      </p:sp>
      <p:sp>
        <p:nvSpPr>
          <p:cNvPr id="14" name="Tekstvak 13">
            <a:extLst>
              <a:ext uri="{FF2B5EF4-FFF2-40B4-BE49-F238E27FC236}">
                <a16:creationId xmlns:a16="http://schemas.microsoft.com/office/drawing/2014/main" id="{AFC2D3C9-C482-8C33-057B-E7FFF5703627}"/>
              </a:ext>
            </a:extLst>
          </p:cNvPr>
          <p:cNvSpPr txBox="1"/>
          <p:nvPr/>
        </p:nvSpPr>
        <p:spPr>
          <a:xfrm>
            <a:off x="3050005" y="4218519"/>
            <a:ext cx="6100010" cy="369332"/>
          </a:xfrm>
          <a:prstGeom prst="rect">
            <a:avLst/>
          </a:prstGeom>
          <a:noFill/>
        </p:spPr>
        <p:txBody>
          <a:bodyPr wrap="square">
            <a:spAutoFit/>
          </a:bodyPr>
          <a:lstStyle/>
          <a:p>
            <a:pPr algn="ctr"/>
            <a:r>
              <a:rPr lang="nl-NL" b="1">
                <a:solidFill>
                  <a:schemeClr val="tx1"/>
                </a:solidFill>
                <a:latin typeface="Muli" panose="00000500000000000000" pitchFamily="2" charset="0"/>
              </a:rPr>
              <a:t>+1,4</a:t>
            </a:r>
            <a:r>
              <a:rPr lang="nl-NL" sz="1800" b="1">
                <a:solidFill>
                  <a:schemeClr val="tx1"/>
                </a:solidFill>
                <a:latin typeface="Muli" panose="00000500000000000000" pitchFamily="2" charset="0"/>
              </a:rPr>
              <a:t>%</a:t>
            </a:r>
          </a:p>
        </p:txBody>
      </p:sp>
      <p:pic>
        <p:nvPicPr>
          <p:cNvPr id="6" name="Afbeelding 14" descr="Afbeelding met tekst, cirkel, logo, Lettertype&#10;&#10;Automatisch gegenereerde beschrijving">
            <a:extLst>
              <a:ext uri="{FF2B5EF4-FFF2-40B4-BE49-F238E27FC236}">
                <a16:creationId xmlns:a16="http://schemas.microsoft.com/office/drawing/2014/main" id="{C3972511-F4AE-D593-BDA1-2EA99A594213}"/>
              </a:ext>
            </a:extLst>
          </p:cNvPr>
          <p:cNvPicPr/>
          <p:nvPr/>
        </p:nvPicPr>
        <p:blipFill>
          <a:blip r:embed="rId19"/>
          <a:stretch>
            <a:fillRect/>
          </a:stretch>
        </p:blipFill>
        <p:spPr>
          <a:xfrm>
            <a:off x="10880745" y="200596"/>
            <a:ext cx="1097623" cy="1097623"/>
          </a:xfrm>
          <a:prstGeom prst="rect">
            <a:avLst/>
          </a:prstGeom>
        </p:spPr>
      </p:pic>
      <p:cxnSp>
        <p:nvCxnSpPr>
          <p:cNvPr id="10" name="Straight Connector 9">
            <a:extLst>
              <a:ext uri="{FF2B5EF4-FFF2-40B4-BE49-F238E27FC236}">
                <a16:creationId xmlns:a16="http://schemas.microsoft.com/office/drawing/2014/main" id="{9644B2F4-F930-3A8A-6648-7C1E3D5815E1}"/>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3269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4C5AB37F-4EFC-164E-1B6B-428C18686EE7}"/>
              </a:ext>
            </a:extLst>
          </p:cNvPr>
          <p:cNvSpPr/>
          <p:nvPr/>
        </p:nvSpPr>
        <p:spPr>
          <a:xfrm>
            <a:off x="2739278" y="2297043"/>
            <a:ext cx="1350727" cy="1372524"/>
          </a:xfrm>
          <a:prstGeom prst="rect">
            <a:avLst/>
          </a:prstGeom>
          <a:solidFill>
            <a:srgbClr val="C00000">
              <a:alpha val="49020"/>
            </a:srgbClr>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highlight>
                <a:srgbClr val="FF0000"/>
              </a:highlight>
              <a:uLnTx/>
              <a:uFillTx/>
              <a:latin typeface="Muli" panose="00000500000000000000" pitchFamily="2" charset="0"/>
              <a:ea typeface="+mn-ea"/>
              <a:cs typeface="+mn-cs"/>
            </a:endParaRPr>
          </a:p>
        </p:txBody>
      </p:sp>
      <p:sp>
        <p:nvSpPr>
          <p:cNvPr id="14" name="Rechthoek 13">
            <a:extLst>
              <a:ext uri="{FF2B5EF4-FFF2-40B4-BE49-F238E27FC236}">
                <a16:creationId xmlns:a16="http://schemas.microsoft.com/office/drawing/2014/main" id="{7174CA88-BA39-B234-1D9F-BF24348205AD}"/>
              </a:ext>
            </a:extLst>
          </p:cNvPr>
          <p:cNvSpPr/>
          <p:nvPr/>
        </p:nvSpPr>
        <p:spPr>
          <a:xfrm>
            <a:off x="4553116" y="3108681"/>
            <a:ext cx="1350727" cy="560886"/>
          </a:xfrm>
          <a:prstGeom prst="rect">
            <a:avLst/>
          </a:prstGeom>
          <a:solidFill>
            <a:srgbClr val="C00000">
              <a:alpha val="49020"/>
            </a:srgbClr>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
        <p:nvSpPr>
          <p:cNvPr id="3" name="Titel 2">
            <a:extLst>
              <a:ext uri="{FF2B5EF4-FFF2-40B4-BE49-F238E27FC236}">
                <a16:creationId xmlns:a16="http://schemas.microsoft.com/office/drawing/2014/main" id="{BA956E53-3752-BB8A-8ED1-54B805722CE4}"/>
              </a:ext>
            </a:extLst>
          </p:cNvPr>
          <p:cNvSpPr>
            <a:spLocks noGrp="1"/>
          </p:cNvSpPr>
          <p:nvPr>
            <p:ph type="title"/>
          </p:nvPr>
        </p:nvSpPr>
        <p:spPr/>
        <p:txBody>
          <a:bodyPr lIns="91440" tIns="45720" rIns="91440" bIns="45720" anchor="t">
            <a:normAutofit/>
          </a:bodyPr>
          <a:lstStyle/>
          <a:p>
            <a:r>
              <a:rPr lang="nl-NL">
                <a:latin typeface="Muli"/>
              </a:rPr>
              <a:t>Uitleg: CO</a:t>
            </a:r>
            <a:r>
              <a:rPr lang="nl-NL" baseline="-25000">
                <a:latin typeface="Muli"/>
              </a:rPr>
              <a:t>2</a:t>
            </a:r>
            <a:r>
              <a:rPr lang="nl-NL">
                <a:latin typeface="Muli"/>
              </a:rPr>
              <a:t>-beprijzing</a:t>
            </a:r>
            <a:endParaRPr lang="nl-NL"/>
          </a:p>
        </p:txBody>
      </p:sp>
      <p:sp>
        <p:nvSpPr>
          <p:cNvPr id="4" name="Tijdelijke aanduiding voor tekst 3">
            <a:extLst>
              <a:ext uri="{FF2B5EF4-FFF2-40B4-BE49-F238E27FC236}">
                <a16:creationId xmlns:a16="http://schemas.microsoft.com/office/drawing/2014/main" id="{7952F361-6CE1-942F-F36E-7B489F7E60A0}"/>
              </a:ext>
            </a:extLst>
          </p:cNvPr>
          <p:cNvSpPr>
            <a:spLocks noGrp="1"/>
          </p:cNvSpPr>
          <p:nvPr>
            <p:ph type="body" sz="quarter" idx="11"/>
          </p:nvPr>
        </p:nvSpPr>
        <p:spPr/>
        <p:txBody>
          <a:bodyPr/>
          <a:lstStyle/>
          <a:p>
            <a:r>
              <a:rPr lang="nl-NL"/>
              <a:t>Hoe werkt een CO</a:t>
            </a:r>
            <a:r>
              <a:rPr lang="nl-NL" baseline="-25000"/>
              <a:t>2</a:t>
            </a:r>
            <a:r>
              <a:rPr lang="nl-NL"/>
              <a:t> prijs?</a:t>
            </a:r>
          </a:p>
        </p:txBody>
      </p:sp>
      <p:sp>
        <p:nvSpPr>
          <p:cNvPr id="10" name="Rechthoek 9">
            <a:extLst>
              <a:ext uri="{FF2B5EF4-FFF2-40B4-BE49-F238E27FC236}">
                <a16:creationId xmlns:a16="http://schemas.microsoft.com/office/drawing/2014/main" id="{90011789-333A-1DD8-75EC-AA62A18132F9}"/>
              </a:ext>
            </a:extLst>
          </p:cNvPr>
          <p:cNvSpPr/>
          <p:nvPr/>
        </p:nvSpPr>
        <p:spPr>
          <a:xfrm>
            <a:off x="2739279" y="3695089"/>
            <a:ext cx="1350727" cy="12875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rPr>
              <a:t>A </a:t>
            </a:r>
          </a:p>
        </p:txBody>
      </p:sp>
      <p:sp>
        <p:nvSpPr>
          <p:cNvPr id="11" name="Rechthoek 10">
            <a:extLst>
              <a:ext uri="{FF2B5EF4-FFF2-40B4-BE49-F238E27FC236}">
                <a16:creationId xmlns:a16="http://schemas.microsoft.com/office/drawing/2014/main" id="{D538FD72-20A3-7B9C-FD14-A8884F7D33D1}"/>
              </a:ext>
            </a:extLst>
          </p:cNvPr>
          <p:cNvSpPr/>
          <p:nvPr/>
        </p:nvSpPr>
        <p:spPr>
          <a:xfrm>
            <a:off x="4553116" y="3695089"/>
            <a:ext cx="1350727" cy="12875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rPr>
              <a:t>B</a:t>
            </a:r>
          </a:p>
        </p:txBody>
      </p:sp>
      <p:graphicFrame>
        <p:nvGraphicFramePr>
          <p:cNvPr id="12" name="Tabel 11">
            <a:extLst>
              <a:ext uri="{FF2B5EF4-FFF2-40B4-BE49-F238E27FC236}">
                <a16:creationId xmlns:a16="http://schemas.microsoft.com/office/drawing/2014/main" id="{C8F44AD7-97F6-F9E9-34BA-BDB4DAC86D7F}"/>
              </a:ext>
            </a:extLst>
          </p:cNvPr>
          <p:cNvGraphicFramePr>
            <a:graphicFrameLocks noGrp="1"/>
          </p:cNvGraphicFramePr>
          <p:nvPr/>
        </p:nvGraphicFramePr>
        <p:xfrm>
          <a:off x="644940" y="5141474"/>
          <a:ext cx="5539407" cy="1483360"/>
        </p:xfrm>
        <a:graphic>
          <a:graphicData uri="http://schemas.openxmlformats.org/drawingml/2006/table">
            <a:tbl>
              <a:tblPr firstRow="1" bandRow="1">
                <a:tableStyleId>{5C22544A-7EE6-4342-B048-85BDC9FD1C3A}</a:tableStyleId>
              </a:tblPr>
              <a:tblGrid>
                <a:gridCol w="1846469">
                  <a:extLst>
                    <a:ext uri="{9D8B030D-6E8A-4147-A177-3AD203B41FA5}">
                      <a16:colId xmlns:a16="http://schemas.microsoft.com/office/drawing/2014/main" val="2991367782"/>
                    </a:ext>
                  </a:extLst>
                </a:gridCol>
                <a:gridCol w="1846469">
                  <a:extLst>
                    <a:ext uri="{9D8B030D-6E8A-4147-A177-3AD203B41FA5}">
                      <a16:colId xmlns:a16="http://schemas.microsoft.com/office/drawing/2014/main" val="1278841470"/>
                    </a:ext>
                  </a:extLst>
                </a:gridCol>
                <a:gridCol w="1846469">
                  <a:extLst>
                    <a:ext uri="{9D8B030D-6E8A-4147-A177-3AD203B41FA5}">
                      <a16:colId xmlns:a16="http://schemas.microsoft.com/office/drawing/2014/main" val="2086739352"/>
                    </a:ext>
                  </a:extLst>
                </a:gridCol>
              </a:tblGrid>
              <a:tr h="370840">
                <a:tc>
                  <a:txBody>
                    <a:bodyPr/>
                    <a:lstStyle/>
                    <a:p>
                      <a:endParaRPr lang="nl-NL"/>
                    </a:p>
                  </a:txBody>
                  <a:tcPr/>
                </a:tc>
                <a:tc>
                  <a:txBody>
                    <a:bodyPr/>
                    <a:lstStyle/>
                    <a:p>
                      <a:r>
                        <a:rPr lang="nl-NL"/>
                        <a:t>Variant A</a:t>
                      </a:r>
                    </a:p>
                  </a:txBody>
                  <a:tcPr/>
                </a:tc>
                <a:tc>
                  <a:txBody>
                    <a:bodyPr/>
                    <a:lstStyle/>
                    <a:p>
                      <a:r>
                        <a:rPr lang="nl-NL"/>
                        <a:t>Variant B</a:t>
                      </a:r>
                    </a:p>
                  </a:txBody>
                  <a:tcPr/>
                </a:tc>
                <a:extLst>
                  <a:ext uri="{0D108BD9-81ED-4DB2-BD59-A6C34878D82A}">
                    <a16:rowId xmlns:a16="http://schemas.microsoft.com/office/drawing/2014/main" val="3811109590"/>
                  </a:ext>
                </a:extLst>
              </a:tr>
              <a:tr h="370840">
                <a:tc>
                  <a:txBody>
                    <a:bodyPr/>
                    <a:lstStyle/>
                    <a:p>
                      <a:r>
                        <a:rPr lang="nl-NL"/>
                        <a:t>Prijs </a:t>
                      </a:r>
                    </a:p>
                  </a:txBody>
                  <a:tcPr/>
                </a:tc>
                <a:tc>
                  <a:txBody>
                    <a:bodyPr/>
                    <a:lstStyle/>
                    <a:p>
                      <a:r>
                        <a:rPr lang="nl-NL" b="1" u="sng"/>
                        <a:t>1.000</a:t>
                      </a:r>
                    </a:p>
                  </a:txBody>
                  <a:tcPr/>
                </a:tc>
                <a:tc>
                  <a:txBody>
                    <a:bodyPr/>
                    <a:lstStyle/>
                    <a:p>
                      <a:r>
                        <a:rPr lang="nl-NL" b="1" u="sng"/>
                        <a:t>1.000</a:t>
                      </a:r>
                    </a:p>
                  </a:txBody>
                  <a:tcPr/>
                </a:tc>
                <a:extLst>
                  <a:ext uri="{0D108BD9-81ED-4DB2-BD59-A6C34878D82A}">
                    <a16:rowId xmlns:a16="http://schemas.microsoft.com/office/drawing/2014/main" val="3589911832"/>
                  </a:ext>
                </a:extLst>
              </a:tr>
              <a:tr h="370840">
                <a:tc>
                  <a:txBody>
                    <a:bodyPr/>
                    <a:lstStyle/>
                    <a:p>
                      <a:r>
                        <a:rPr lang="nl-NL"/>
                        <a:t>CO</a:t>
                      </a:r>
                      <a:r>
                        <a:rPr lang="nl-NL" baseline="-25000"/>
                        <a:t>2</a:t>
                      </a:r>
                      <a:r>
                        <a:rPr lang="nl-NL"/>
                        <a:t> uitstoot</a:t>
                      </a:r>
                    </a:p>
                  </a:txBody>
                  <a:tcPr/>
                </a:tc>
                <a:tc>
                  <a:txBody>
                    <a:bodyPr/>
                    <a:lstStyle/>
                    <a:p>
                      <a:r>
                        <a:rPr lang="nl-NL" b="1">
                          <a:solidFill>
                            <a:srgbClr val="C00000"/>
                          </a:solidFill>
                        </a:rPr>
                        <a:t>1 ton</a:t>
                      </a:r>
                    </a:p>
                  </a:txBody>
                  <a:tcPr/>
                </a:tc>
                <a:tc>
                  <a:txBody>
                    <a:bodyPr/>
                    <a:lstStyle/>
                    <a:p>
                      <a:r>
                        <a:rPr lang="nl-NL" b="1">
                          <a:solidFill>
                            <a:srgbClr val="C00000"/>
                          </a:solidFill>
                        </a:rPr>
                        <a:t>0,5 ton</a:t>
                      </a:r>
                    </a:p>
                  </a:txBody>
                  <a:tcPr/>
                </a:tc>
                <a:extLst>
                  <a:ext uri="{0D108BD9-81ED-4DB2-BD59-A6C34878D82A}">
                    <a16:rowId xmlns:a16="http://schemas.microsoft.com/office/drawing/2014/main" val="2917697670"/>
                  </a:ext>
                </a:extLst>
              </a:tr>
              <a:tr h="370840">
                <a:tc>
                  <a:txBody>
                    <a:bodyPr/>
                    <a:lstStyle/>
                    <a:p>
                      <a:r>
                        <a:rPr lang="nl-NL"/>
                        <a:t>Incl. CO</a:t>
                      </a:r>
                      <a:r>
                        <a:rPr lang="nl-NL" baseline="-25000"/>
                        <a:t>2</a:t>
                      </a:r>
                      <a:r>
                        <a:rPr lang="nl-NL"/>
                        <a:t> prijs</a:t>
                      </a:r>
                    </a:p>
                  </a:txBody>
                  <a:tcPr/>
                </a:tc>
                <a:tc>
                  <a:txBody>
                    <a:bodyPr/>
                    <a:lstStyle/>
                    <a:p>
                      <a:r>
                        <a:rPr lang="nl-NL"/>
                        <a:t>1.875</a:t>
                      </a:r>
                    </a:p>
                  </a:txBody>
                  <a:tcPr/>
                </a:tc>
                <a:tc>
                  <a:txBody>
                    <a:bodyPr/>
                    <a:lstStyle/>
                    <a:p>
                      <a:r>
                        <a:rPr lang="nl-NL" b="1" u="sng" dirty="0"/>
                        <a:t>1.437,5</a:t>
                      </a:r>
                    </a:p>
                  </a:txBody>
                  <a:tcPr/>
                </a:tc>
                <a:extLst>
                  <a:ext uri="{0D108BD9-81ED-4DB2-BD59-A6C34878D82A}">
                    <a16:rowId xmlns:a16="http://schemas.microsoft.com/office/drawing/2014/main" val="1617388619"/>
                  </a:ext>
                </a:extLst>
              </a:tr>
            </a:tbl>
          </a:graphicData>
        </a:graphic>
      </p:graphicFrame>
      <p:pic>
        <p:nvPicPr>
          <p:cNvPr id="15" name="Graphic 14" descr="Energiecentrale met effen opvulling">
            <a:extLst>
              <a:ext uri="{FF2B5EF4-FFF2-40B4-BE49-F238E27FC236}">
                <a16:creationId xmlns:a16="http://schemas.microsoft.com/office/drawing/2014/main" id="{E5B56300-47BA-1EE7-141F-3A1BFB74C8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393" y="2638888"/>
            <a:ext cx="640496" cy="640496"/>
          </a:xfrm>
          <a:prstGeom prst="rect">
            <a:avLst/>
          </a:prstGeom>
        </p:spPr>
      </p:pic>
      <p:pic>
        <p:nvPicPr>
          <p:cNvPr id="16" name="Graphic 15" descr="Energiecentrale met effen opvulling">
            <a:extLst>
              <a:ext uri="{FF2B5EF4-FFF2-40B4-BE49-F238E27FC236}">
                <a16:creationId xmlns:a16="http://schemas.microsoft.com/office/drawing/2014/main" id="{6C4F9DA5-A568-C77C-DD16-7DF99A9BC6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63532" y="3183273"/>
            <a:ext cx="432395" cy="432395"/>
          </a:xfrm>
          <a:prstGeom prst="rect">
            <a:avLst/>
          </a:prstGeom>
        </p:spPr>
      </p:pic>
      <p:sp>
        <p:nvSpPr>
          <p:cNvPr id="20" name="Pijl: rechts 19">
            <a:extLst>
              <a:ext uri="{FF2B5EF4-FFF2-40B4-BE49-F238E27FC236}">
                <a16:creationId xmlns:a16="http://schemas.microsoft.com/office/drawing/2014/main" id="{4B8721E7-3697-67EA-0FE8-AD6C3BF0FB2B}"/>
              </a:ext>
            </a:extLst>
          </p:cNvPr>
          <p:cNvSpPr/>
          <p:nvPr/>
        </p:nvSpPr>
        <p:spPr>
          <a:xfrm>
            <a:off x="6474860" y="3724913"/>
            <a:ext cx="1350727" cy="555487"/>
          </a:xfrm>
          <a:prstGeom prs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21" name="Tekstvak 20">
            <a:extLst>
              <a:ext uri="{FF2B5EF4-FFF2-40B4-BE49-F238E27FC236}">
                <a16:creationId xmlns:a16="http://schemas.microsoft.com/office/drawing/2014/main" id="{60945625-9B7B-CE7F-AA47-17E323BF0D36}"/>
              </a:ext>
            </a:extLst>
          </p:cNvPr>
          <p:cNvSpPr txBox="1"/>
          <p:nvPr/>
        </p:nvSpPr>
        <p:spPr>
          <a:xfrm>
            <a:off x="8017564" y="2353702"/>
            <a:ext cx="3529496"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Muli"/>
                <a:ea typeface="+mn-ea"/>
                <a:cs typeface="+mn-cs"/>
              </a:rPr>
              <a:t>Fictieve prijs om te optimaliseren op de beste maatschappelijk waard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NL" sz="1800" b="0" i="0" u="none" strike="noStrike" kern="1200" cap="none" spc="0" normalizeH="0" baseline="0" noProof="0" dirty="0">
                <a:ln>
                  <a:noFill/>
                </a:ln>
                <a:solidFill>
                  <a:srgbClr val="000000"/>
                </a:solidFill>
                <a:effectLst/>
                <a:uLnTx/>
                <a:uFillTx/>
                <a:latin typeface="Muli"/>
                <a:ea typeface="+mn-ea"/>
                <a:cs typeface="+mn-cs"/>
              </a:rPr>
              <a:t>Zet zeer vervuilende materialen </a:t>
            </a:r>
            <a:r>
              <a:rPr kumimoji="0" lang="nl-NL" sz="1800" b="1" i="0" u="sng" strike="noStrike" kern="1200" cap="none" spc="0" normalizeH="0" baseline="0" noProof="0" dirty="0">
                <a:ln>
                  <a:noFill/>
                </a:ln>
                <a:solidFill>
                  <a:srgbClr val="000000"/>
                </a:solidFill>
                <a:effectLst/>
                <a:uLnTx/>
                <a:uFillTx/>
                <a:latin typeface="Muli"/>
                <a:ea typeface="+mn-ea"/>
                <a:cs typeface="+mn-cs"/>
              </a:rPr>
              <a:t>buiten spel</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NL" sz="1800" b="0" i="0" u="none" strike="noStrike" kern="1200" cap="none" spc="0" normalizeH="0" baseline="0" noProof="0" dirty="0">
                <a:ln>
                  <a:noFill/>
                </a:ln>
                <a:solidFill>
                  <a:srgbClr val="000000"/>
                </a:solidFill>
                <a:effectLst/>
                <a:uLnTx/>
                <a:uFillTx/>
                <a:latin typeface="Muli"/>
                <a:ea typeface="+mn-ea"/>
                <a:cs typeface="+mn-cs"/>
              </a:rPr>
              <a:t>Maakt het mogelijk om te </a:t>
            </a:r>
            <a:r>
              <a:rPr kumimoji="0" lang="nl-NL" sz="1800" b="1" i="0" u="sng" strike="noStrike" kern="1200" cap="none" spc="0" normalizeH="0" baseline="0" noProof="0" dirty="0">
                <a:ln>
                  <a:noFill/>
                </a:ln>
                <a:solidFill>
                  <a:srgbClr val="000000"/>
                </a:solidFill>
                <a:effectLst/>
                <a:uLnTx/>
                <a:uFillTx/>
                <a:latin typeface="Muli"/>
                <a:ea typeface="+mn-ea"/>
                <a:cs typeface="+mn-cs"/>
              </a:rPr>
              <a:t>optimaliseren</a:t>
            </a:r>
            <a:r>
              <a:rPr kumimoji="0" lang="nl-NL" sz="1800" b="0" i="0" u="none" strike="noStrike" kern="1200" cap="none" spc="0" normalizeH="0" baseline="0" noProof="0" dirty="0">
                <a:ln>
                  <a:noFill/>
                </a:ln>
                <a:solidFill>
                  <a:srgbClr val="000000"/>
                </a:solidFill>
                <a:effectLst/>
                <a:uLnTx/>
                <a:uFillTx/>
                <a:latin typeface="Muli"/>
                <a:ea typeface="+mn-ea"/>
                <a:cs typeface="+mn-cs"/>
              </a:rPr>
              <a:t> op CO</a:t>
            </a:r>
            <a:r>
              <a:rPr kumimoji="0" lang="nl-NL" sz="1800" b="0" i="0" u="none" strike="noStrike" kern="1200" cap="none" spc="0" normalizeH="0" baseline="-25000" noProof="0" dirty="0">
                <a:ln>
                  <a:noFill/>
                </a:ln>
                <a:solidFill>
                  <a:srgbClr val="000000"/>
                </a:solidFill>
                <a:effectLst/>
                <a:uLnTx/>
                <a:uFillTx/>
                <a:latin typeface="Muli"/>
                <a:ea typeface="+mn-ea"/>
                <a:cs typeface="+mn-cs"/>
              </a:rPr>
              <a:t>2</a:t>
            </a:r>
            <a:r>
              <a:rPr kumimoji="0" lang="nl-NL" sz="1800" b="0" i="0" u="none" strike="noStrike" kern="1200" cap="none" spc="0" normalizeH="0" baseline="0" noProof="0" dirty="0">
                <a:ln>
                  <a:noFill/>
                </a:ln>
                <a:solidFill>
                  <a:srgbClr val="000000"/>
                </a:solidFill>
                <a:effectLst/>
                <a:uLnTx/>
                <a:uFillTx/>
                <a:latin typeface="Muli"/>
                <a:ea typeface="+mn-ea"/>
                <a:cs typeface="+mn-cs"/>
              </a:rPr>
              <a:t> uitstoot + prij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NL" sz="1800" b="0" i="0" u="none" strike="noStrike" kern="1200" cap="none" spc="0" normalizeH="0" baseline="0" noProof="0" dirty="0">
                <a:ln>
                  <a:noFill/>
                </a:ln>
                <a:solidFill>
                  <a:srgbClr val="000000"/>
                </a:solidFill>
                <a:effectLst/>
                <a:uLnTx/>
                <a:uFillTx/>
                <a:latin typeface="Muli"/>
                <a:ea typeface="+mn-ea"/>
                <a:cs typeface="+mn-cs"/>
              </a:rPr>
              <a:t>Biedt een </a:t>
            </a:r>
            <a:r>
              <a:rPr kumimoji="0" lang="nl-NL" sz="1800" b="1" i="0" u="sng" strike="noStrike" kern="1200" cap="none" spc="0" normalizeH="0" baseline="0" noProof="0" dirty="0">
                <a:ln>
                  <a:noFill/>
                </a:ln>
                <a:solidFill>
                  <a:srgbClr val="000000"/>
                </a:solidFill>
                <a:effectLst/>
                <a:uLnTx/>
                <a:uFillTx/>
                <a:latin typeface="Muli"/>
                <a:ea typeface="+mn-ea"/>
                <a:cs typeface="+mn-cs"/>
              </a:rPr>
              <a:t>denkkader</a:t>
            </a:r>
            <a:r>
              <a:rPr kumimoji="0" lang="nl-NL" sz="1800" b="0" i="0" u="none" strike="noStrike" kern="1200" cap="none" spc="0" normalizeH="0" baseline="0" noProof="0" dirty="0">
                <a:ln>
                  <a:noFill/>
                </a:ln>
                <a:solidFill>
                  <a:srgbClr val="000000"/>
                </a:solidFill>
                <a:effectLst/>
                <a:uLnTx/>
                <a:uFillTx/>
                <a:latin typeface="Muli"/>
                <a:ea typeface="+mn-ea"/>
                <a:cs typeface="+mn-cs"/>
              </a:rPr>
              <a:t> waardoor </a:t>
            </a:r>
            <a:r>
              <a:rPr kumimoji="0" lang="nl-NL" sz="1800" b="1" i="0" u="sng" strike="noStrike" kern="1200" cap="none" spc="0" normalizeH="0" baseline="0" noProof="0" dirty="0">
                <a:ln>
                  <a:noFill/>
                </a:ln>
                <a:solidFill>
                  <a:srgbClr val="000000"/>
                </a:solidFill>
                <a:effectLst/>
                <a:uLnTx/>
                <a:uFillTx/>
                <a:latin typeface="Muli"/>
                <a:ea typeface="+mn-ea"/>
                <a:cs typeface="+mn-cs"/>
              </a:rPr>
              <a:t>andere oplossingen </a:t>
            </a:r>
            <a:r>
              <a:rPr kumimoji="0" lang="nl-NL" sz="1800" b="0" i="0" u="none" strike="noStrike" kern="1200" cap="none" spc="0" normalizeH="0" baseline="0" noProof="0" dirty="0">
                <a:ln>
                  <a:noFill/>
                </a:ln>
                <a:solidFill>
                  <a:srgbClr val="000000"/>
                </a:solidFill>
                <a:effectLst/>
                <a:uLnTx/>
                <a:uFillTx/>
                <a:latin typeface="Muli"/>
                <a:ea typeface="+mn-ea"/>
                <a:cs typeface="+mn-cs"/>
              </a:rPr>
              <a:t>mogelijk word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NL" sz="1800" b="0" i="0" u="none" strike="noStrike" kern="1200" cap="none" spc="0" normalizeH="0" baseline="0" noProof="0" dirty="0">
                <a:ln>
                  <a:noFill/>
                </a:ln>
                <a:solidFill>
                  <a:srgbClr val="000000"/>
                </a:solidFill>
                <a:effectLst/>
                <a:uLnTx/>
                <a:uFillTx/>
                <a:latin typeface="Muli"/>
                <a:ea typeface="+mn-ea"/>
                <a:cs typeface="+mn-cs"/>
              </a:rPr>
              <a:t>Stimuleert </a:t>
            </a:r>
            <a:r>
              <a:rPr kumimoji="0" lang="nl-NL" sz="1800" b="1" i="0" u="sng" strike="noStrike" kern="1200" cap="none" spc="0" normalizeH="0" baseline="0" noProof="0" dirty="0">
                <a:ln>
                  <a:noFill/>
                </a:ln>
                <a:solidFill>
                  <a:srgbClr val="000000"/>
                </a:solidFill>
                <a:effectLst/>
                <a:uLnTx/>
                <a:uFillTx/>
                <a:latin typeface="Muli"/>
                <a:ea typeface="+mn-ea"/>
                <a:cs typeface="+mn-cs"/>
              </a:rPr>
              <a:t>opschaling</a:t>
            </a:r>
            <a:r>
              <a:rPr kumimoji="0" lang="nl-NL" sz="1800" b="0" i="0" u="none" strike="noStrike" kern="1200" cap="none" spc="0" normalizeH="0" baseline="0" noProof="0" dirty="0">
                <a:ln>
                  <a:noFill/>
                </a:ln>
                <a:solidFill>
                  <a:srgbClr val="000000"/>
                </a:solidFill>
                <a:effectLst/>
                <a:uLnTx/>
                <a:uFillTx/>
                <a:latin typeface="Muli"/>
                <a:ea typeface="+mn-ea"/>
                <a:cs typeface="+mn-cs"/>
              </a:rPr>
              <a:t> van </a:t>
            </a:r>
            <a:r>
              <a:rPr kumimoji="0" lang="nl-NL" sz="1800" b="0" i="0" u="none" strike="noStrike" kern="1200" cap="none" spc="0" normalizeH="0" baseline="0" noProof="0" dirty="0" err="1">
                <a:ln>
                  <a:noFill/>
                </a:ln>
                <a:solidFill>
                  <a:srgbClr val="000000"/>
                </a:solidFill>
                <a:effectLst/>
                <a:uLnTx/>
                <a:uFillTx/>
                <a:latin typeface="Muli"/>
                <a:ea typeface="+mn-ea"/>
                <a:cs typeface="+mn-cs"/>
              </a:rPr>
              <a:t>biobased</a:t>
            </a:r>
            <a:r>
              <a:rPr kumimoji="0" lang="nl-NL" sz="1800" b="0" i="0" u="none" strike="noStrike" kern="1200" cap="none" spc="0" normalizeH="0" baseline="0" noProof="0" dirty="0">
                <a:ln>
                  <a:noFill/>
                </a:ln>
                <a:solidFill>
                  <a:srgbClr val="000000"/>
                </a:solidFill>
                <a:effectLst/>
                <a:uLnTx/>
                <a:uFillTx/>
                <a:latin typeface="Muli"/>
                <a:ea typeface="+mn-ea"/>
                <a:cs typeface="+mn-cs"/>
              </a:rPr>
              <a:t> en hergebruikte materialen</a:t>
            </a:r>
          </a:p>
        </p:txBody>
      </p:sp>
      <p:pic>
        <p:nvPicPr>
          <p:cNvPr id="2" name="Afbeelding 14" descr="Afbeelding met tekst, cirkel, logo, Lettertype&#10;&#10;Automatisch gegenereerde beschrijving">
            <a:extLst>
              <a:ext uri="{FF2B5EF4-FFF2-40B4-BE49-F238E27FC236}">
                <a16:creationId xmlns:a16="http://schemas.microsoft.com/office/drawing/2014/main" id="{9524B43E-AD25-A659-7ECB-E9C952BA2CA5}"/>
              </a:ext>
            </a:extLst>
          </p:cNvPr>
          <p:cNvPicPr/>
          <p:nvPr/>
        </p:nvPicPr>
        <p:blipFill>
          <a:blip r:embed="rId4"/>
          <a:stretch>
            <a:fillRect/>
          </a:stretch>
        </p:blipFill>
        <p:spPr>
          <a:xfrm>
            <a:off x="10880745" y="200596"/>
            <a:ext cx="1097623" cy="1097623"/>
          </a:xfrm>
          <a:prstGeom prst="rect">
            <a:avLst/>
          </a:prstGeom>
        </p:spPr>
      </p:pic>
      <p:cxnSp>
        <p:nvCxnSpPr>
          <p:cNvPr id="5" name="Straight Connector 4">
            <a:extLst>
              <a:ext uri="{FF2B5EF4-FFF2-40B4-BE49-F238E27FC236}">
                <a16:creationId xmlns:a16="http://schemas.microsoft.com/office/drawing/2014/main" id="{CCFD216A-DF68-B90E-0DCC-CC3CC0C5B239}"/>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545614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B358E-8DB9-D118-1B77-7D6D611F581F}"/>
            </a:ext>
          </a:extLst>
        </p:cNvPr>
        <p:cNvGrpSpPr/>
        <p:nvPr/>
      </p:nvGrpSpPr>
      <p:grpSpPr>
        <a:xfrm>
          <a:off x="0" y="0"/>
          <a:ext cx="0" cy="0"/>
          <a:chOff x="0" y="0"/>
          <a:chExt cx="0" cy="0"/>
        </a:xfrm>
      </p:grpSpPr>
      <p:cxnSp>
        <p:nvCxnSpPr>
          <p:cNvPr id="12" name="Rechte verbindingslijn 11">
            <a:extLst>
              <a:ext uri="{FF2B5EF4-FFF2-40B4-BE49-F238E27FC236}">
                <a16:creationId xmlns:a16="http://schemas.microsoft.com/office/drawing/2014/main" id="{3F04FD6A-E9B1-1C33-073E-CC1E41974718}"/>
              </a:ext>
            </a:extLst>
          </p:cNvPr>
          <p:cNvCxnSpPr>
            <a:cxnSpLocks/>
          </p:cNvCxnSpPr>
          <p:nvPr/>
        </p:nvCxnSpPr>
        <p:spPr>
          <a:xfrm>
            <a:off x="9752372" y="2996783"/>
            <a:ext cx="173192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26EDBCD4-1A02-7076-70A7-F3D06E6C1E00}"/>
              </a:ext>
            </a:extLst>
          </p:cNvPr>
          <p:cNvCxnSpPr>
            <a:cxnSpLocks/>
          </p:cNvCxnSpPr>
          <p:nvPr/>
        </p:nvCxnSpPr>
        <p:spPr>
          <a:xfrm>
            <a:off x="9752372" y="3418911"/>
            <a:ext cx="1731923" cy="1714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A30BC212-402D-2854-1076-C1D45F769BD7}"/>
              </a:ext>
            </a:extLst>
          </p:cNvPr>
          <p:cNvSpPr>
            <a:spLocks noGrp="1"/>
          </p:cNvSpPr>
          <p:nvPr>
            <p:ph type="title"/>
          </p:nvPr>
        </p:nvSpPr>
        <p:spPr>
          <a:xfrm>
            <a:off x="609064" y="383474"/>
            <a:ext cx="10512000" cy="659829"/>
          </a:xfrm>
        </p:spPr>
        <p:txBody>
          <a:bodyPr/>
          <a:lstStyle/>
          <a:p>
            <a:r>
              <a:rPr lang="nl-NL" dirty="0"/>
              <a:t>Is CO</a:t>
            </a:r>
            <a:r>
              <a:rPr lang="nl-NL" baseline="-25000" dirty="0"/>
              <a:t>2</a:t>
            </a:r>
            <a:r>
              <a:rPr lang="nl-NL" dirty="0"/>
              <a:t>-beprijzing een effectief sturingsmiddel?</a:t>
            </a:r>
          </a:p>
        </p:txBody>
      </p:sp>
      <p:sp>
        <p:nvSpPr>
          <p:cNvPr id="4" name="Tijdelijke aanduiding voor tekst 3">
            <a:extLst>
              <a:ext uri="{FF2B5EF4-FFF2-40B4-BE49-F238E27FC236}">
                <a16:creationId xmlns:a16="http://schemas.microsoft.com/office/drawing/2014/main" id="{688753B0-7306-79C1-15C7-798B878701A1}"/>
              </a:ext>
            </a:extLst>
          </p:cNvPr>
          <p:cNvSpPr>
            <a:spLocks noGrp="1"/>
          </p:cNvSpPr>
          <p:nvPr>
            <p:ph type="body" sz="quarter" idx="11"/>
          </p:nvPr>
        </p:nvSpPr>
        <p:spPr/>
        <p:txBody>
          <a:bodyPr/>
          <a:lstStyle/>
          <a:p>
            <a:r>
              <a:rPr lang="nl-NL"/>
              <a:t>Met bijvoorbeeld de € 875 per ton CO</a:t>
            </a:r>
            <a:r>
              <a:rPr lang="nl-NL" baseline="-25000"/>
              <a:t>2</a:t>
            </a:r>
          </a:p>
        </p:txBody>
      </p:sp>
      <p:sp>
        <p:nvSpPr>
          <p:cNvPr id="55" name="Tekstvak 54">
            <a:extLst>
              <a:ext uri="{FF2B5EF4-FFF2-40B4-BE49-F238E27FC236}">
                <a16:creationId xmlns:a16="http://schemas.microsoft.com/office/drawing/2014/main" id="{660A4DB5-EE70-9B62-BA05-7EBC6CF6BF00}"/>
              </a:ext>
            </a:extLst>
          </p:cNvPr>
          <p:cNvSpPr txBox="1"/>
          <p:nvPr/>
        </p:nvSpPr>
        <p:spPr>
          <a:xfrm>
            <a:off x="702335" y="1897057"/>
            <a:ext cx="322666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a:ea typeface="+mn-ea"/>
                <a:cs typeface="+mn-cs"/>
              </a:rPr>
              <a:t>Referentieproject</a:t>
            </a:r>
          </a:p>
        </p:txBody>
      </p:sp>
      <p:grpSp>
        <p:nvGrpSpPr>
          <p:cNvPr id="8" name="Groep 7">
            <a:extLst>
              <a:ext uri="{FF2B5EF4-FFF2-40B4-BE49-F238E27FC236}">
                <a16:creationId xmlns:a16="http://schemas.microsoft.com/office/drawing/2014/main" id="{58B2D9CC-4761-6097-627F-3DC66E377125}"/>
              </a:ext>
            </a:extLst>
          </p:cNvPr>
          <p:cNvGrpSpPr/>
          <p:nvPr/>
        </p:nvGrpSpPr>
        <p:grpSpPr>
          <a:xfrm>
            <a:off x="609064" y="2094121"/>
            <a:ext cx="3226667" cy="1755236"/>
            <a:chOff x="609064" y="2094121"/>
            <a:chExt cx="3226667" cy="1755236"/>
          </a:xfrm>
        </p:grpSpPr>
        <p:sp>
          <p:nvSpPr>
            <p:cNvPr id="9" name="Tekstvak 8">
              <a:extLst>
                <a:ext uri="{FF2B5EF4-FFF2-40B4-BE49-F238E27FC236}">
                  <a16:creationId xmlns:a16="http://schemas.microsoft.com/office/drawing/2014/main" id="{33CDB587-CC90-E550-F832-C3F26101DF81}"/>
                </a:ext>
              </a:extLst>
            </p:cNvPr>
            <p:cNvSpPr txBox="1"/>
            <p:nvPr/>
          </p:nvSpPr>
          <p:spPr>
            <a:xfrm>
              <a:off x="609064" y="3480025"/>
              <a:ext cx="322666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a:ea typeface="+mn-ea"/>
                  <a:cs typeface="+mn-cs"/>
                </a:rPr>
                <a:t>Referentieproject</a:t>
              </a:r>
            </a:p>
          </p:txBody>
        </p:sp>
        <p:pic>
          <p:nvPicPr>
            <p:cNvPr id="10" name="Graphic 9" descr="Bakstenen muur bouwen met effen opvulling">
              <a:extLst>
                <a:ext uri="{FF2B5EF4-FFF2-40B4-BE49-F238E27FC236}">
                  <a16:creationId xmlns:a16="http://schemas.microsoft.com/office/drawing/2014/main" id="{80725DBC-397D-2D3F-F217-1C9A49BE338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11" name="Graphic 10" descr="Grondstoffen met effen opvulling">
              <a:extLst>
                <a:ext uri="{FF2B5EF4-FFF2-40B4-BE49-F238E27FC236}">
                  <a16:creationId xmlns:a16="http://schemas.microsoft.com/office/drawing/2014/main" id="{1A02120F-17E8-6102-E9CF-0DF98584AB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31152" y="2768437"/>
              <a:ext cx="692889" cy="692889"/>
            </a:xfrm>
            <a:prstGeom prst="rect">
              <a:avLst/>
            </a:prstGeom>
          </p:spPr>
        </p:pic>
        <p:pic>
          <p:nvPicPr>
            <p:cNvPr id="18" name="Graphic 17" descr="Boorplatform met effen opvulling">
              <a:extLst>
                <a:ext uri="{FF2B5EF4-FFF2-40B4-BE49-F238E27FC236}">
                  <a16:creationId xmlns:a16="http://schemas.microsoft.com/office/drawing/2014/main" id="{B3BE71B7-83CE-FBF8-E6A1-CA2CBA47D3B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231152" y="2094121"/>
              <a:ext cx="692889" cy="692889"/>
            </a:xfrm>
            <a:prstGeom prst="rect">
              <a:avLst/>
            </a:prstGeom>
          </p:spPr>
        </p:pic>
        <p:pic>
          <p:nvPicPr>
            <p:cNvPr id="21" name="Graphic 20" descr="Brandstof met effen opvulling">
              <a:extLst>
                <a:ext uri="{FF2B5EF4-FFF2-40B4-BE49-F238E27FC236}">
                  <a16:creationId xmlns:a16="http://schemas.microsoft.com/office/drawing/2014/main" id="{5CEE9694-1D57-FBEC-E5C5-CB88AA51298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319464" y="2094121"/>
              <a:ext cx="692889" cy="692889"/>
            </a:xfrm>
            <a:prstGeom prst="rect">
              <a:avLst/>
            </a:prstGeom>
          </p:spPr>
        </p:pic>
      </p:grpSp>
      <p:grpSp>
        <p:nvGrpSpPr>
          <p:cNvPr id="34" name="Groep 33">
            <a:extLst>
              <a:ext uri="{FF2B5EF4-FFF2-40B4-BE49-F238E27FC236}">
                <a16:creationId xmlns:a16="http://schemas.microsoft.com/office/drawing/2014/main" id="{D444C035-5818-F2D9-4D7E-634E2D53197E}"/>
              </a:ext>
            </a:extLst>
          </p:cNvPr>
          <p:cNvGrpSpPr/>
          <p:nvPr/>
        </p:nvGrpSpPr>
        <p:grpSpPr>
          <a:xfrm>
            <a:off x="609064" y="4307931"/>
            <a:ext cx="3226667" cy="1755236"/>
            <a:chOff x="609064" y="2094121"/>
            <a:chExt cx="3226667" cy="1755236"/>
          </a:xfrm>
        </p:grpSpPr>
        <p:sp>
          <p:nvSpPr>
            <p:cNvPr id="35" name="Tekstvak 34">
              <a:extLst>
                <a:ext uri="{FF2B5EF4-FFF2-40B4-BE49-F238E27FC236}">
                  <a16:creationId xmlns:a16="http://schemas.microsoft.com/office/drawing/2014/main" id="{FDD5E735-51A5-A3C2-C80F-E14626D6E7E3}"/>
                </a:ext>
              </a:extLst>
            </p:cNvPr>
            <p:cNvSpPr txBox="1"/>
            <p:nvPr/>
          </p:nvSpPr>
          <p:spPr>
            <a:xfrm>
              <a:off x="609064" y="3480025"/>
              <a:ext cx="322666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a:ea typeface="+mn-ea"/>
                  <a:cs typeface="+mn-cs"/>
                </a:rPr>
                <a:t>Circulaire variant</a:t>
              </a:r>
            </a:p>
          </p:txBody>
        </p:sp>
        <p:pic>
          <p:nvPicPr>
            <p:cNvPr id="36" name="Graphic 35" descr="Bakstenen muur bouwen met effen opvulling">
              <a:extLst>
                <a:ext uri="{FF2B5EF4-FFF2-40B4-BE49-F238E27FC236}">
                  <a16:creationId xmlns:a16="http://schemas.microsoft.com/office/drawing/2014/main" id="{65DD8386-5CD8-FA9C-F295-4ED9E9CD7E6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37" name="Graphic 36" descr="Ontkiemen van zaad met effen opvulling">
              <a:extLst>
                <a:ext uri="{FF2B5EF4-FFF2-40B4-BE49-F238E27FC236}">
                  <a16:creationId xmlns:a16="http://schemas.microsoft.com/office/drawing/2014/main" id="{E0AA22CC-A56C-F91D-6B61-E80D3F0F1BF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231152" y="2768437"/>
              <a:ext cx="692889" cy="692889"/>
            </a:xfrm>
            <a:prstGeom prst="rect">
              <a:avLst/>
            </a:prstGeom>
          </p:spPr>
        </p:pic>
        <p:pic>
          <p:nvPicPr>
            <p:cNvPr id="38" name="Graphic 37" descr="Duurzaamheid met effen opvulling">
              <a:extLst>
                <a:ext uri="{FF2B5EF4-FFF2-40B4-BE49-F238E27FC236}">
                  <a16:creationId xmlns:a16="http://schemas.microsoft.com/office/drawing/2014/main" id="{098F5C51-9674-D143-A9B2-62342DDF0390}"/>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231152" y="2094121"/>
              <a:ext cx="692889" cy="692889"/>
            </a:xfrm>
            <a:prstGeom prst="rect">
              <a:avLst/>
            </a:prstGeom>
          </p:spPr>
        </p:pic>
        <p:pic>
          <p:nvPicPr>
            <p:cNvPr id="39" name="Graphic 38" descr="Boomstronk met effen opvulling">
              <a:extLst>
                <a:ext uri="{FF2B5EF4-FFF2-40B4-BE49-F238E27FC236}">
                  <a16:creationId xmlns:a16="http://schemas.microsoft.com/office/drawing/2014/main" id="{1D4BACF7-7250-D627-C7D8-7D3C8502266C}"/>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319464" y="2094121"/>
              <a:ext cx="692889" cy="692889"/>
            </a:xfrm>
            <a:prstGeom prst="rect">
              <a:avLst/>
            </a:prstGeom>
          </p:spPr>
        </p:pic>
      </p:grpSp>
      <p:cxnSp>
        <p:nvCxnSpPr>
          <p:cNvPr id="40" name="Rechte verbindingslijn 39">
            <a:extLst>
              <a:ext uri="{FF2B5EF4-FFF2-40B4-BE49-F238E27FC236}">
                <a16:creationId xmlns:a16="http://schemas.microsoft.com/office/drawing/2014/main" id="{E40396E4-FB0E-35D5-BD7C-F1228FECDC61}"/>
              </a:ext>
            </a:extLst>
          </p:cNvPr>
          <p:cNvCxnSpPr>
            <a:cxnSpLocks/>
          </p:cNvCxnSpPr>
          <p:nvPr/>
        </p:nvCxnSpPr>
        <p:spPr>
          <a:xfrm>
            <a:off x="1319464" y="4042610"/>
            <a:ext cx="6165598" cy="0"/>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Rechthoek 40">
            <a:extLst>
              <a:ext uri="{FF2B5EF4-FFF2-40B4-BE49-F238E27FC236}">
                <a16:creationId xmlns:a16="http://schemas.microsoft.com/office/drawing/2014/main" id="{0A4C67DC-90CF-B32C-9158-2580BEC7E365}"/>
              </a:ext>
            </a:extLst>
          </p:cNvPr>
          <p:cNvSpPr/>
          <p:nvPr/>
        </p:nvSpPr>
        <p:spPr>
          <a:xfrm>
            <a:off x="4325621" y="4599329"/>
            <a:ext cx="3094458" cy="95314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
        <p:nvSpPr>
          <p:cNvPr id="42" name="Tekstvak 41">
            <a:extLst>
              <a:ext uri="{FF2B5EF4-FFF2-40B4-BE49-F238E27FC236}">
                <a16:creationId xmlns:a16="http://schemas.microsoft.com/office/drawing/2014/main" id="{D1AE3777-A9E9-909C-F82A-B57A5A41A20F}"/>
              </a:ext>
            </a:extLst>
          </p:cNvPr>
          <p:cNvSpPr txBox="1"/>
          <p:nvPr/>
        </p:nvSpPr>
        <p:spPr>
          <a:xfrm>
            <a:off x="4259516" y="3490628"/>
            <a:ext cx="322666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Muli"/>
                <a:ea typeface="+mn-ea"/>
                <a:cs typeface="+mn-cs"/>
              </a:rPr>
              <a:t>Projectkosten</a:t>
            </a:r>
          </a:p>
        </p:txBody>
      </p:sp>
      <p:sp>
        <p:nvSpPr>
          <p:cNvPr id="43" name="Tekstvak 42">
            <a:extLst>
              <a:ext uri="{FF2B5EF4-FFF2-40B4-BE49-F238E27FC236}">
                <a16:creationId xmlns:a16="http://schemas.microsoft.com/office/drawing/2014/main" id="{E018A23F-FB90-1C6C-B3E5-7D2ECA767933}"/>
              </a:ext>
            </a:extLst>
          </p:cNvPr>
          <p:cNvSpPr txBox="1"/>
          <p:nvPr/>
        </p:nvSpPr>
        <p:spPr>
          <a:xfrm>
            <a:off x="4259516" y="5692697"/>
            <a:ext cx="322666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Muli"/>
                <a:ea typeface="+mn-ea"/>
                <a:cs typeface="+mn-cs"/>
              </a:rPr>
              <a:t>Projectkosten (en meerprijs)</a:t>
            </a:r>
          </a:p>
        </p:txBody>
      </p:sp>
      <p:pic>
        <p:nvPicPr>
          <p:cNvPr id="44" name="Graphic 43" descr="Euro met effen opvulling">
            <a:extLst>
              <a:ext uri="{FF2B5EF4-FFF2-40B4-BE49-F238E27FC236}">
                <a16:creationId xmlns:a16="http://schemas.microsoft.com/office/drawing/2014/main" id="{542A0581-2CDB-667A-01D8-8694F99FB834}"/>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552602" y="4744174"/>
            <a:ext cx="640496" cy="640496"/>
          </a:xfrm>
          <a:prstGeom prst="rect">
            <a:avLst/>
          </a:prstGeom>
        </p:spPr>
      </p:pic>
      <p:sp>
        <p:nvSpPr>
          <p:cNvPr id="45" name="Rechthoek 44">
            <a:extLst>
              <a:ext uri="{FF2B5EF4-FFF2-40B4-BE49-F238E27FC236}">
                <a16:creationId xmlns:a16="http://schemas.microsoft.com/office/drawing/2014/main" id="{A2DF7507-F5BF-C52B-41E8-CFFFE037D8E1}"/>
              </a:ext>
            </a:extLst>
          </p:cNvPr>
          <p:cNvSpPr/>
          <p:nvPr/>
        </p:nvSpPr>
        <p:spPr>
          <a:xfrm>
            <a:off x="4325621" y="2414231"/>
            <a:ext cx="3094458" cy="95314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dirty="0">
              <a:ln>
                <a:noFill/>
              </a:ln>
              <a:solidFill>
                <a:srgbClr val="000000"/>
              </a:solidFill>
              <a:effectLst/>
              <a:uLnTx/>
              <a:uFillTx/>
              <a:latin typeface="Muli" panose="00000500000000000000" pitchFamily="2" charset="0"/>
              <a:ea typeface="+mn-ea"/>
              <a:cs typeface="+mn-cs"/>
            </a:endParaRPr>
          </a:p>
        </p:txBody>
      </p:sp>
      <p:pic>
        <p:nvPicPr>
          <p:cNvPr id="46" name="Graphic 45" descr="Euro met effen opvulling">
            <a:extLst>
              <a:ext uri="{FF2B5EF4-FFF2-40B4-BE49-F238E27FC236}">
                <a16:creationId xmlns:a16="http://schemas.microsoft.com/office/drawing/2014/main" id="{DC52B996-3EE4-8CD6-DDCB-5CBF5B341826}"/>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552602" y="2559076"/>
            <a:ext cx="640496" cy="640496"/>
          </a:xfrm>
          <a:prstGeom prst="rect">
            <a:avLst/>
          </a:prstGeom>
        </p:spPr>
      </p:pic>
      <p:sp>
        <p:nvSpPr>
          <p:cNvPr id="47" name="Rechthoek 46">
            <a:extLst>
              <a:ext uri="{FF2B5EF4-FFF2-40B4-BE49-F238E27FC236}">
                <a16:creationId xmlns:a16="http://schemas.microsoft.com/office/drawing/2014/main" id="{87C78AEA-3D62-26F5-4653-2AFC661760F6}"/>
              </a:ext>
            </a:extLst>
          </p:cNvPr>
          <p:cNvSpPr/>
          <p:nvPr/>
        </p:nvSpPr>
        <p:spPr>
          <a:xfrm>
            <a:off x="4325621" y="4530653"/>
            <a:ext cx="3094458" cy="45719"/>
          </a:xfrm>
          <a:prstGeom prst="rect">
            <a:avLst/>
          </a:prstGeom>
          <a:solidFill>
            <a:srgbClr val="FFFFFF">
              <a:alpha val="80000"/>
            </a:srgbClr>
          </a:solid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
        <p:nvSpPr>
          <p:cNvPr id="48" name="Tekstvak 47">
            <a:extLst>
              <a:ext uri="{FF2B5EF4-FFF2-40B4-BE49-F238E27FC236}">
                <a16:creationId xmlns:a16="http://schemas.microsoft.com/office/drawing/2014/main" id="{0C91CC57-655D-83A5-91E3-AD0F928C05AC}"/>
              </a:ext>
            </a:extLst>
          </p:cNvPr>
          <p:cNvSpPr txBox="1"/>
          <p:nvPr/>
        </p:nvSpPr>
        <p:spPr>
          <a:xfrm>
            <a:off x="3050005" y="4218519"/>
            <a:ext cx="610001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rPr>
              <a:t>+1,4%</a:t>
            </a:r>
          </a:p>
        </p:txBody>
      </p:sp>
      <p:sp>
        <p:nvSpPr>
          <p:cNvPr id="50" name="Rechthoek 49">
            <a:extLst>
              <a:ext uri="{FF2B5EF4-FFF2-40B4-BE49-F238E27FC236}">
                <a16:creationId xmlns:a16="http://schemas.microsoft.com/office/drawing/2014/main" id="{8C2FBC07-A86C-31BE-A293-AE0123DD64F8}"/>
              </a:ext>
            </a:extLst>
          </p:cNvPr>
          <p:cNvSpPr/>
          <p:nvPr/>
        </p:nvSpPr>
        <p:spPr>
          <a:xfrm>
            <a:off x="7420079" y="1965542"/>
            <a:ext cx="1729936" cy="448690"/>
          </a:xfrm>
          <a:prstGeom prst="rect">
            <a:avLst/>
          </a:prstGeom>
          <a:solidFill>
            <a:srgbClr val="C00000">
              <a:alpha val="49020"/>
            </a:srgb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FFFFFF"/>
                </a:solidFill>
                <a:effectLst/>
                <a:uLnTx/>
                <a:uFillTx/>
                <a:latin typeface="Muli" panose="00000500000000000000" pitchFamily="2" charset="0"/>
                <a:ea typeface="+mn-ea"/>
                <a:cs typeface="+mn-cs"/>
              </a:rPr>
              <a:t>CO</a:t>
            </a:r>
            <a:r>
              <a:rPr kumimoji="0" lang="nl-NL" sz="1600" b="1" i="0" u="none" strike="noStrike" kern="1200" cap="none" spc="0" normalizeH="0" baseline="-25000" noProof="0">
                <a:ln>
                  <a:noFill/>
                </a:ln>
                <a:solidFill>
                  <a:srgbClr val="FFFFFF"/>
                </a:solidFill>
                <a:effectLst/>
                <a:uLnTx/>
                <a:uFillTx/>
                <a:latin typeface="Muli" panose="00000500000000000000" pitchFamily="2" charset="0"/>
                <a:ea typeface="+mn-ea"/>
                <a:cs typeface="+mn-cs"/>
              </a:rPr>
              <a:t>2</a:t>
            </a:r>
            <a:r>
              <a:rPr kumimoji="0" lang="nl-NL" sz="1600" b="1" i="0" u="none" strike="noStrike" kern="1200" cap="none" spc="0" normalizeH="0" baseline="0" noProof="0">
                <a:ln>
                  <a:noFill/>
                </a:ln>
                <a:solidFill>
                  <a:srgbClr val="FFFFFF"/>
                </a:solidFill>
                <a:effectLst/>
                <a:uLnTx/>
                <a:uFillTx/>
                <a:latin typeface="Muli" panose="00000500000000000000" pitchFamily="2" charset="0"/>
                <a:ea typeface="+mn-ea"/>
                <a:cs typeface="+mn-cs"/>
              </a:rPr>
              <a:t>-prijs</a:t>
            </a:r>
          </a:p>
        </p:txBody>
      </p:sp>
      <p:sp>
        <p:nvSpPr>
          <p:cNvPr id="52" name="Rechthoek 51">
            <a:extLst>
              <a:ext uri="{FF2B5EF4-FFF2-40B4-BE49-F238E27FC236}">
                <a16:creationId xmlns:a16="http://schemas.microsoft.com/office/drawing/2014/main" id="{2B77C8BE-CC3E-EA7F-16CD-BF799929B596}"/>
              </a:ext>
            </a:extLst>
          </p:cNvPr>
          <p:cNvSpPr/>
          <p:nvPr/>
        </p:nvSpPr>
        <p:spPr>
          <a:xfrm>
            <a:off x="7420079" y="4207041"/>
            <a:ext cx="1729936" cy="323612"/>
          </a:xfrm>
          <a:prstGeom prst="rect">
            <a:avLst/>
          </a:prstGeom>
          <a:solidFill>
            <a:srgbClr val="C00000">
              <a:alpha val="49020"/>
            </a:srgb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rgbClr val="FFFFFF"/>
                </a:solidFill>
                <a:effectLst/>
                <a:uLnTx/>
                <a:uFillTx/>
                <a:latin typeface="Muli" panose="00000500000000000000" pitchFamily="2" charset="0"/>
                <a:ea typeface="+mn-ea"/>
                <a:cs typeface="+mn-cs"/>
              </a:rPr>
              <a:t>CO</a:t>
            </a:r>
            <a:r>
              <a:rPr kumimoji="0" lang="nl-NL" sz="1600" b="1" i="0" u="none" strike="noStrike" kern="1200" cap="none" spc="0" normalizeH="0" baseline="-25000" noProof="0">
                <a:ln>
                  <a:noFill/>
                </a:ln>
                <a:solidFill>
                  <a:srgbClr val="FFFFFF"/>
                </a:solidFill>
                <a:effectLst/>
                <a:uLnTx/>
                <a:uFillTx/>
                <a:latin typeface="Muli" panose="00000500000000000000" pitchFamily="2" charset="0"/>
                <a:ea typeface="+mn-ea"/>
                <a:cs typeface="+mn-cs"/>
              </a:rPr>
              <a:t>2</a:t>
            </a:r>
            <a:r>
              <a:rPr kumimoji="0" lang="nl-NL" sz="1600" b="1" i="0" u="none" strike="noStrike" kern="1200" cap="none" spc="0" normalizeH="0" baseline="0" noProof="0">
                <a:ln>
                  <a:noFill/>
                </a:ln>
                <a:solidFill>
                  <a:srgbClr val="FFFFFF"/>
                </a:solidFill>
                <a:effectLst/>
                <a:uLnTx/>
                <a:uFillTx/>
                <a:latin typeface="Muli" panose="00000500000000000000" pitchFamily="2" charset="0"/>
                <a:ea typeface="+mn-ea"/>
                <a:cs typeface="+mn-cs"/>
              </a:rPr>
              <a:t>-prijs</a:t>
            </a:r>
          </a:p>
        </p:txBody>
      </p:sp>
      <p:sp>
        <p:nvSpPr>
          <p:cNvPr id="14" name="Rechthoek 13">
            <a:extLst>
              <a:ext uri="{FF2B5EF4-FFF2-40B4-BE49-F238E27FC236}">
                <a16:creationId xmlns:a16="http://schemas.microsoft.com/office/drawing/2014/main" id="{F8C667FC-CCCB-3553-3663-654A7615560F}"/>
              </a:ext>
            </a:extLst>
          </p:cNvPr>
          <p:cNvSpPr/>
          <p:nvPr/>
        </p:nvSpPr>
        <p:spPr>
          <a:xfrm>
            <a:off x="9752373" y="3436054"/>
            <a:ext cx="279853" cy="95314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
        <p:nvSpPr>
          <p:cNvPr id="16" name="Tekstvak 15">
            <a:extLst>
              <a:ext uri="{FF2B5EF4-FFF2-40B4-BE49-F238E27FC236}">
                <a16:creationId xmlns:a16="http://schemas.microsoft.com/office/drawing/2014/main" id="{38264DA3-CDC1-41EF-572B-60B91899506B}"/>
              </a:ext>
            </a:extLst>
          </p:cNvPr>
          <p:cNvSpPr txBox="1"/>
          <p:nvPr/>
        </p:nvSpPr>
        <p:spPr>
          <a:xfrm>
            <a:off x="11425287" y="2853507"/>
            <a:ext cx="51007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000000"/>
                </a:solidFill>
                <a:effectLst/>
                <a:uLnTx/>
                <a:uFillTx/>
                <a:latin typeface="Muli"/>
                <a:ea typeface="+mn-ea"/>
                <a:cs typeface="+mn-cs"/>
              </a:rPr>
              <a:t>+</a:t>
            </a:r>
            <a:r>
              <a:rPr kumimoji="0" lang="nl-NL" sz="1050" b="0" i="0" u="none" strike="noStrike" kern="1200" cap="none" spc="0" normalizeH="0" baseline="0" noProof="0">
                <a:ln>
                  <a:noFill/>
                </a:ln>
                <a:solidFill>
                  <a:srgbClr val="000000"/>
                </a:solidFill>
                <a:effectLst/>
                <a:uLnTx/>
                <a:uFillTx/>
                <a:latin typeface="Muli"/>
                <a:ea typeface="+mn-ea"/>
                <a:cs typeface="+mn-cs"/>
              </a:rPr>
              <a:t>875</a:t>
            </a:r>
            <a:endParaRPr kumimoji="0" lang="nl-NL" sz="1800" b="0" i="0" u="none" strike="noStrike" kern="1200" cap="none" spc="0" normalizeH="0" baseline="0" noProof="0">
              <a:ln>
                <a:noFill/>
              </a:ln>
              <a:solidFill>
                <a:srgbClr val="000000"/>
              </a:solidFill>
              <a:effectLst/>
              <a:uLnTx/>
              <a:uFillTx/>
              <a:latin typeface="Muli"/>
              <a:ea typeface="+mn-ea"/>
              <a:cs typeface="+mn-cs"/>
            </a:endParaRPr>
          </a:p>
        </p:txBody>
      </p:sp>
      <p:sp>
        <p:nvSpPr>
          <p:cNvPr id="17" name="Tekstvak 16">
            <a:extLst>
              <a:ext uri="{FF2B5EF4-FFF2-40B4-BE49-F238E27FC236}">
                <a16:creationId xmlns:a16="http://schemas.microsoft.com/office/drawing/2014/main" id="{4EE4F74E-6BE6-2332-2AEF-6CE1575907F8}"/>
              </a:ext>
            </a:extLst>
          </p:cNvPr>
          <p:cNvSpPr txBox="1"/>
          <p:nvPr/>
        </p:nvSpPr>
        <p:spPr>
          <a:xfrm>
            <a:off x="11415712" y="3293272"/>
            <a:ext cx="34977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000000"/>
                </a:solidFill>
                <a:effectLst/>
                <a:uLnTx/>
                <a:uFillTx/>
                <a:latin typeface="Muli"/>
                <a:ea typeface="+mn-ea"/>
                <a:cs typeface="+mn-cs"/>
              </a:rPr>
              <a:t>+</a:t>
            </a:r>
            <a:r>
              <a:rPr kumimoji="0" lang="nl-NL" sz="1050" b="0" i="0" u="none" strike="noStrike" kern="1200" cap="none" spc="0" normalizeH="0" baseline="0" noProof="0">
                <a:ln>
                  <a:noFill/>
                </a:ln>
                <a:solidFill>
                  <a:srgbClr val="000000"/>
                </a:solidFill>
                <a:effectLst/>
                <a:uLnTx/>
                <a:uFillTx/>
                <a:latin typeface="Muli"/>
                <a:ea typeface="+mn-ea"/>
                <a:cs typeface="+mn-cs"/>
              </a:rPr>
              <a:t>0</a:t>
            </a:r>
            <a:endParaRPr kumimoji="0" lang="nl-NL" sz="1800" b="0" i="0" u="none" strike="noStrike" kern="1200" cap="none" spc="0" normalizeH="0" baseline="0" noProof="0">
              <a:ln>
                <a:noFill/>
              </a:ln>
              <a:solidFill>
                <a:srgbClr val="000000"/>
              </a:solidFill>
              <a:effectLst/>
              <a:uLnTx/>
              <a:uFillTx/>
              <a:latin typeface="Muli"/>
              <a:ea typeface="+mn-ea"/>
              <a:cs typeface="+mn-cs"/>
            </a:endParaRPr>
          </a:p>
        </p:txBody>
      </p:sp>
      <p:sp>
        <p:nvSpPr>
          <p:cNvPr id="22" name="Rechthoek 21">
            <a:extLst>
              <a:ext uri="{FF2B5EF4-FFF2-40B4-BE49-F238E27FC236}">
                <a16:creationId xmlns:a16="http://schemas.microsoft.com/office/drawing/2014/main" id="{BA17F30A-DCFC-98ED-B1A5-0EEB11B05E05}"/>
              </a:ext>
            </a:extLst>
          </p:cNvPr>
          <p:cNvSpPr/>
          <p:nvPr/>
        </p:nvSpPr>
        <p:spPr>
          <a:xfrm>
            <a:off x="10477414" y="3439089"/>
            <a:ext cx="279853" cy="95010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cxnSp>
        <p:nvCxnSpPr>
          <p:cNvPr id="25" name="Rechte verbindingslijn 24">
            <a:extLst>
              <a:ext uri="{FF2B5EF4-FFF2-40B4-BE49-F238E27FC236}">
                <a16:creationId xmlns:a16="http://schemas.microsoft.com/office/drawing/2014/main" id="{292F5987-DC17-707E-A9D2-BB96CFFD76AB}"/>
              </a:ext>
            </a:extLst>
          </p:cNvPr>
          <p:cNvCxnSpPr>
            <a:cxnSpLocks/>
          </p:cNvCxnSpPr>
          <p:nvPr/>
        </p:nvCxnSpPr>
        <p:spPr>
          <a:xfrm>
            <a:off x="9501902" y="4399879"/>
            <a:ext cx="235323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kstvak 27">
            <a:extLst>
              <a:ext uri="{FF2B5EF4-FFF2-40B4-BE49-F238E27FC236}">
                <a16:creationId xmlns:a16="http://schemas.microsoft.com/office/drawing/2014/main" id="{7E8F522C-CE91-C516-BD1A-79237B97A94E}"/>
              </a:ext>
            </a:extLst>
          </p:cNvPr>
          <p:cNvSpPr txBox="1"/>
          <p:nvPr/>
        </p:nvSpPr>
        <p:spPr>
          <a:xfrm>
            <a:off x="9150015" y="4577671"/>
            <a:ext cx="3015296"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Muli"/>
                <a:ea typeface="+mn-ea"/>
                <a:cs typeface="+mn-cs"/>
              </a:rPr>
              <a:t>Bij een gemiddelde prijs van €481 is de circulaire variant gemiddeld “goedkop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Muli"/>
                <a:ea typeface="+mn-ea"/>
                <a:cs typeface="+mn-cs"/>
              </a:rPr>
              <a:t>(range €200- €800 euro)</a:t>
            </a:r>
          </a:p>
        </p:txBody>
      </p:sp>
      <p:sp>
        <p:nvSpPr>
          <p:cNvPr id="15" name="Rechthoek 14">
            <a:extLst>
              <a:ext uri="{FF2B5EF4-FFF2-40B4-BE49-F238E27FC236}">
                <a16:creationId xmlns:a16="http://schemas.microsoft.com/office/drawing/2014/main" id="{0453C226-FDCE-EC82-1FD7-94D3951A64AB}"/>
              </a:ext>
            </a:extLst>
          </p:cNvPr>
          <p:cNvSpPr/>
          <p:nvPr/>
        </p:nvSpPr>
        <p:spPr>
          <a:xfrm>
            <a:off x="9752372" y="2987664"/>
            <a:ext cx="279853" cy="448389"/>
          </a:xfrm>
          <a:prstGeom prst="rect">
            <a:avLst/>
          </a:prstGeom>
          <a:solidFill>
            <a:srgbClr val="C00000">
              <a:alpha val="49020"/>
            </a:srgb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23" name="Rechthoek 22">
            <a:extLst>
              <a:ext uri="{FF2B5EF4-FFF2-40B4-BE49-F238E27FC236}">
                <a16:creationId xmlns:a16="http://schemas.microsoft.com/office/drawing/2014/main" id="{252E8081-DF59-682A-47E4-CD5F50D62FA7}"/>
              </a:ext>
            </a:extLst>
          </p:cNvPr>
          <p:cNvSpPr/>
          <p:nvPr/>
        </p:nvSpPr>
        <p:spPr>
          <a:xfrm>
            <a:off x="10477414" y="3156537"/>
            <a:ext cx="279853" cy="213704"/>
          </a:xfrm>
          <a:prstGeom prst="rect">
            <a:avLst/>
          </a:prstGeom>
          <a:solidFill>
            <a:srgbClr val="C00000">
              <a:alpha val="49020"/>
            </a:srgbClr>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5" name="Rechthoek 4">
            <a:extLst>
              <a:ext uri="{FF2B5EF4-FFF2-40B4-BE49-F238E27FC236}">
                <a16:creationId xmlns:a16="http://schemas.microsoft.com/office/drawing/2014/main" id="{0BA20362-35A5-49FB-9F44-8C239B46B7F1}"/>
              </a:ext>
            </a:extLst>
          </p:cNvPr>
          <p:cNvSpPr/>
          <p:nvPr/>
        </p:nvSpPr>
        <p:spPr>
          <a:xfrm>
            <a:off x="10477414" y="3372580"/>
            <a:ext cx="279853" cy="55826"/>
          </a:xfrm>
          <a:prstGeom prst="rect">
            <a:avLst/>
          </a:prstGeom>
          <a:solidFill>
            <a:srgbClr val="02BF7E">
              <a:alpha val="80000"/>
            </a:srgbClr>
          </a:solidFill>
          <a:ln w="38100">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
        <p:nvSpPr>
          <p:cNvPr id="19" name="Tekstvak 18">
            <a:extLst>
              <a:ext uri="{FF2B5EF4-FFF2-40B4-BE49-F238E27FC236}">
                <a16:creationId xmlns:a16="http://schemas.microsoft.com/office/drawing/2014/main" id="{F9887AA1-3B5F-CCF2-9EBC-F6B949CB26EC}"/>
              </a:ext>
            </a:extLst>
          </p:cNvPr>
          <p:cNvSpPr txBox="1"/>
          <p:nvPr/>
        </p:nvSpPr>
        <p:spPr>
          <a:xfrm>
            <a:off x="10757267" y="3043638"/>
            <a:ext cx="56137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000000"/>
                </a:solidFill>
                <a:effectLst/>
                <a:uLnTx/>
                <a:uFillTx/>
                <a:latin typeface="Muli"/>
                <a:ea typeface="+mn-ea"/>
                <a:cs typeface="+mn-cs"/>
              </a:rPr>
              <a:t>€481 </a:t>
            </a:r>
          </a:p>
        </p:txBody>
      </p:sp>
      <p:sp>
        <p:nvSpPr>
          <p:cNvPr id="20" name="Tekstvak 19">
            <a:extLst>
              <a:ext uri="{FF2B5EF4-FFF2-40B4-BE49-F238E27FC236}">
                <a16:creationId xmlns:a16="http://schemas.microsoft.com/office/drawing/2014/main" id="{EA602FA1-1300-A430-2E04-B6B914EE1864}"/>
              </a:ext>
            </a:extLst>
          </p:cNvPr>
          <p:cNvSpPr txBox="1"/>
          <p:nvPr/>
        </p:nvSpPr>
        <p:spPr>
          <a:xfrm>
            <a:off x="10032225" y="2626058"/>
            <a:ext cx="149592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Muli"/>
                <a:ea typeface="+mn-ea"/>
                <a:cs typeface="+mn-cs"/>
              </a:rPr>
              <a:t>Kantelpunt zit nu op</a:t>
            </a:r>
          </a:p>
        </p:txBody>
      </p:sp>
      <p:pic>
        <p:nvPicPr>
          <p:cNvPr id="3" name="Afbeelding 14" descr="Afbeelding met tekst, cirkel, logo, Lettertype&#10;&#10;Automatisch gegenereerde beschrijving">
            <a:extLst>
              <a:ext uri="{FF2B5EF4-FFF2-40B4-BE49-F238E27FC236}">
                <a16:creationId xmlns:a16="http://schemas.microsoft.com/office/drawing/2014/main" id="{894D5DD6-75A0-17FB-989B-D07A59FD199E}"/>
              </a:ext>
            </a:extLst>
          </p:cNvPr>
          <p:cNvPicPr/>
          <p:nvPr/>
        </p:nvPicPr>
        <p:blipFill>
          <a:blip r:embed="rId19"/>
          <a:stretch>
            <a:fillRect/>
          </a:stretch>
        </p:blipFill>
        <p:spPr>
          <a:xfrm>
            <a:off x="11041788" y="179095"/>
            <a:ext cx="1097623" cy="1097623"/>
          </a:xfrm>
          <a:prstGeom prst="rect">
            <a:avLst/>
          </a:prstGeom>
        </p:spPr>
      </p:pic>
      <p:cxnSp>
        <p:nvCxnSpPr>
          <p:cNvPr id="6" name="Straight Connector 5">
            <a:extLst>
              <a:ext uri="{FF2B5EF4-FFF2-40B4-BE49-F238E27FC236}">
                <a16:creationId xmlns:a16="http://schemas.microsoft.com/office/drawing/2014/main" id="{3EC71A74-8B39-83C6-F5E7-7711931A8734}"/>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814358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2" grpId="0" animBg="1"/>
      <p:bldP spid="14" grpId="0" animBg="1"/>
      <p:bldP spid="16" grpId="0"/>
      <p:bldP spid="17" grpId="0"/>
      <p:bldP spid="22" grpId="0" animBg="1"/>
      <p:bldP spid="28" grpId="0"/>
      <p:bldP spid="15" grpId="0" animBg="1"/>
      <p:bldP spid="23" grpId="0" animBg="1"/>
      <p:bldP spid="5" grpId="0" animBg="1"/>
      <p:bldP spid="19" grpId="0"/>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1A1B23-E5CF-9A27-92BC-28203EB8AF08}"/>
              </a:ext>
            </a:extLst>
          </p:cNvPr>
          <p:cNvSpPr>
            <a:spLocks noGrp="1"/>
          </p:cNvSpPr>
          <p:nvPr>
            <p:ph type="title"/>
          </p:nvPr>
        </p:nvSpPr>
        <p:spPr/>
        <p:txBody>
          <a:bodyPr/>
          <a:lstStyle/>
          <a:p>
            <a:r>
              <a:rPr lang="nl-NL"/>
              <a:t>CO</a:t>
            </a:r>
            <a:r>
              <a:rPr lang="nl-NL" baseline="-25000"/>
              <a:t>2</a:t>
            </a:r>
            <a:r>
              <a:rPr lang="nl-NL"/>
              <a:t>-prijs vanaf de start?</a:t>
            </a:r>
          </a:p>
        </p:txBody>
      </p:sp>
      <p:sp>
        <p:nvSpPr>
          <p:cNvPr id="4" name="Tijdelijke aanduiding voor tekst 3">
            <a:extLst>
              <a:ext uri="{FF2B5EF4-FFF2-40B4-BE49-F238E27FC236}">
                <a16:creationId xmlns:a16="http://schemas.microsoft.com/office/drawing/2014/main" id="{91A32D6E-3175-F7FF-DDFE-6BB4134C85F8}"/>
              </a:ext>
            </a:extLst>
          </p:cNvPr>
          <p:cNvSpPr>
            <a:spLocks noGrp="1"/>
          </p:cNvSpPr>
          <p:nvPr>
            <p:ph type="body" sz="quarter" idx="11"/>
          </p:nvPr>
        </p:nvSpPr>
        <p:spPr/>
        <p:txBody>
          <a:bodyPr/>
          <a:lstStyle/>
          <a:p>
            <a:r>
              <a:rPr lang="nl-NL"/>
              <a:t>Wat ontstaat er als je vanaf het begin start met CO2 prijs? </a:t>
            </a:r>
          </a:p>
        </p:txBody>
      </p:sp>
      <p:sp>
        <p:nvSpPr>
          <p:cNvPr id="8" name="Rechthoek 7">
            <a:extLst>
              <a:ext uri="{FF2B5EF4-FFF2-40B4-BE49-F238E27FC236}">
                <a16:creationId xmlns:a16="http://schemas.microsoft.com/office/drawing/2014/main" id="{2E670DB7-26BF-66BC-BB01-A37C1981575E}"/>
              </a:ext>
            </a:extLst>
          </p:cNvPr>
          <p:cNvSpPr/>
          <p:nvPr/>
        </p:nvSpPr>
        <p:spPr>
          <a:xfrm>
            <a:off x="2517913" y="2249687"/>
            <a:ext cx="1229334" cy="7171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ontwerp</a:t>
            </a:r>
          </a:p>
        </p:txBody>
      </p:sp>
      <p:sp>
        <p:nvSpPr>
          <p:cNvPr id="9" name="Rechthoek 8">
            <a:extLst>
              <a:ext uri="{FF2B5EF4-FFF2-40B4-BE49-F238E27FC236}">
                <a16:creationId xmlns:a16="http://schemas.microsoft.com/office/drawing/2014/main" id="{11D61D69-C51B-676E-37B5-1168D4413AC3}"/>
              </a:ext>
            </a:extLst>
          </p:cNvPr>
          <p:cNvSpPr/>
          <p:nvPr/>
        </p:nvSpPr>
        <p:spPr>
          <a:xfrm>
            <a:off x="3827345" y="2249687"/>
            <a:ext cx="2357004" cy="717176"/>
          </a:xfrm>
          <a:prstGeom prst="rect">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realisatie</a:t>
            </a:r>
          </a:p>
        </p:txBody>
      </p:sp>
      <p:pic>
        <p:nvPicPr>
          <p:cNvPr id="10" name="Graphic 9" descr="Vrouwelijke bouwvakker met effen opvulling">
            <a:extLst>
              <a:ext uri="{FF2B5EF4-FFF2-40B4-BE49-F238E27FC236}">
                <a16:creationId xmlns:a16="http://schemas.microsoft.com/office/drawing/2014/main" id="{57DACA2A-C36B-DB87-55E7-E661D103E4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91991" y="2052463"/>
            <a:ext cx="914400" cy="914400"/>
          </a:xfrm>
          <a:prstGeom prst="rect">
            <a:avLst/>
          </a:prstGeom>
        </p:spPr>
      </p:pic>
      <p:sp>
        <p:nvSpPr>
          <p:cNvPr id="11" name="Pijl: rechts 10">
            <a:extLst>
              <a:ext uri="{FF2B5EF4-FFF2-40B4-BE49-F238E27FC236}">
                <a16:creationId xmlns:a16="http://schemas.microsoft.com/office/drawing/2014/main" id="{6F0865AB-E738-B837-ABD8-C5E5F8BD38ED}"/>
              </a:ext>
            </a:extLst>
          </p:cNvPr>
          <p:cNvSpPr/>
          <p:nvPr/>
        </p:nvSpPr>
        <p:spPr>
          <a:xfrm flipH="1">
            <a:off x="6488134" y="2501315"/>
            <a:ext cx="680278" cy="247179"/>
          </a:xfrm>
          <a:prstGeom prs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grpSp>
        <p:nvGrpSpPr>
          <p:cNvPr id="12" name="Groep 11">
            <a:extLst>
              <a:ext uri="{FF2B5EF4-FFF2-40B4-BE49-F238E27FC236}">
                <a16:creationId xmlns:a16="http://schemas.microsoft.com/office/drawing/2014/main" id="{DCFCA329-6AD0-615F-E4C5-2402455C34F2}"/>
              </a:ext>
            </a:extLst>
          </p:cNvPr>
          <p:cNvGrpSpPr/>
          <p:nvPr/>
        </p:nvGrpSpPr>
        <p:grpSpPr>
          <a:xfrm>
            <a:off x="7972724" y="2206249"/>
            <a:ext cx="1573577" cy="760614"/>
            <a:chOff x="609064" y="2094121"/>
            <a:chExt cx="3226667" cy="1933596"/>
          </a:xfrm>
        </p:grpSpPr>
        <p:sp>
          <p:nvSpPr>
            <p:cNvPr id="13" name="Tekstvak 12">
              <a:extLst>
                <a:ext uri="{FF2B5EF4-FFF2-40B4-BE49-F238E27FC236}">
                  <a16:creationId xmlns:a16="http://schemas.microsoft.com/office/drawing/2014/main" id="{EE155F29-A774-2177-9F07-50E3BBD50E45}"/>
                </a:ext>
              </a:extLst>
            </p:cNvPr>
            <p:cNvSpPr txBox="1"/>
            <p:nvPr/>
          </p:nvSpPr>
          <p:spPr>
            <a:xfrm>
              <a:off x="609064" y="3480026"/>
              <a:ext cx="3226667" cy="54769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000000"/>
                  </a:solidFill>
                  <a:effectLst/>
                  <a:uLnTx/>
                  <a:uFillTx/>
                  <a:latin typeface="Muli"/>
                  <a:ea typeface="+mn-ea"/>
                  <a:cs typeface="+mn-cs"/>
                </a:rPr>
                <a:t>Referentieproject</a:t>
              </a:r>
            </a:p>
          </p:txBody>
        </p:sp>
        <p:pic>
          <p:nvPicPr>
            <p:cNvPr id="14" name="Graphic 13" descr="Bakstenen muur bouwen met effen opvulling">
              <a:extLst>
                <a:ext uri="{FF2B5EF4-FFF2-40B4-BE49-F238E27FC236}">
                  <a16:creationId xmlns:a16="http://schemas.microsoft.com/office/drawing/2014/main" id="{CB8AAB75-6C80-0C53-ED7F-20393E117D0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319464" y="2768437"/>
              <a:ext cx="692889" cy="692889"/>
            </a:xfrm>
            <a:prstGeom prst="rect">
              <a:avLst/>
            </a:prstGeom>
          </p:spPr>
        </p:pic>
        <p:pic>
          <p:nvPicPr>
            <p:cNvPr id="15" name="Graphic 14" descr="Grondstoffen met effen opvulling">
              <a:extLst>
                <a:ext uri="{FF2B5EF4-FFF2-40B4-BE49-F238E27FC236}">
                  <a16:creationId xmlns:a16="http://schemas.microsoft.com/office/drawing/2014/main" id="{5D943881-FD81-B366-7ADD-3FEEB847E8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31152" y="2768437"/>
              <a:ext cx="692889" cy="692889"/>
            </a:xfrm>
            <a:prstGeom prst="rect">
              <a:avLst/>
            </a:prstGeom>
          </p:spPr>
        </p:pic>
        <p:pic>
          <p:nvPicPr>
            <p:cNvPr id="16" name="Graphic 15" descr="Boorplatform met effen opvulling">
              <a:extLst>
                <a:ext uri="{FF2B5EF4-FFF2-40B4-BE49-F238E27FC236}">
                  <a16:creationId xmlns:a16="http://schemas.microsoft.com/office/drawing/2014/main" id="{13DC6F3A-2161-1832-32AA-1207CD71F6B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231152" y="2094121"/>
              <a:ext cx="692889" cy="692889"/>
            </a:xfrm>
            <a:prstGeom prst="rect">
              <a:avLst/>
            </a:prstGeom>
          </p:spPr>
        </p:pic>
        <p:pic>
          <p:nvPicPr>
            <p:cNvPr id="17" name="Graphic 16" descr="Brandstof met effen opvulling">
              <a:extLst>
                <a:ext uri="{FF2B5EF4-FFF2-40B4-BE49-F238E27FC236}">
                  <a16:creationId xmlns:a16="http://schemas.microsoft.com/office/drawing/2014/main" id="{C0DB051A-221F-148F-5DBB-B1ED09D40BA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319464" y="2094121"/>
              <a:ext cx="692889" cy="692889"/>
            </a:xfrm>
            <a:prstGeom prst="rect">
              <a:avLst/>
            </a:prstGeom>
          </p:spPr>
        </p:pic>
      </p:grpSp>
      <p:grpSp>
        <p:nvGrpSpPr>
          <p:cNvPr id="18" name="Groep 17">
            <a:extLst>
              <a:ext uri="{FF2B5EF4-FFF2-40B4-BE49-F238E27FC236}">
                <a16:creationId xmlns:a16="http://schemas.microsoft.com/office/drawing/2014/main" id="{6C61365C-CA25-F544-DEAB-F5406C6D8E25}"/>
              </a:ext>
            </a:extLst>
          </p:cNvPr>
          <p:cNvGrpSpPr/>
          <p:nvPr/>
        </p:nvGrpSpPr>
        <p:grpSpPr>
          <a:xfrm>
            <a:off x="8961007" y="2101993"/>
            <a:ext cx="1676871" cy="864870"/>
            <a:chOff x="609064" y="2094121"/>
            <a:chExt cx="3226667" cy="1855008"/>
          </a:xfrm>
        </p:grpSpPr>
        <p:sp>
          <p:nvSpPr>
            <p:cNvPr id="19" name="Tekstvak 18">
              <a:extLst>
                <a:ext uri="{FF2B5EF4-FFF2-40B4-BE49-F238E27FC236}">
                  <a16:creationId xmlns:a16="http://schemas.microsoft.com/office/drawing/2014/main" id="{711C2BE7-F14F-4700-B172-195A394ACA98}"/>
                </a:ext>
              </a:extLst>
            </p:cNvPr>
            <p:cNvSpPr txBox="1"/>
            <p:nvPr/>
          </p:nvSpPr>
          <p:spPr>
            <a:xfrm>
              <a:off x="609064" y="3480025"/>
              <a:ext cx="3226667" cy="46910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000000"/>
                  </a:solidFill>
                  <a:effectLst/>
                  <a:uLnTx/>
                  <a:uFillTx/>
                  <a:latin typeface="Muli"/>
                  <a:ea typeface="+mn-ea"/>
                  <a:cs typeface="+mn-cs"/>
                </a:rPr>
                <a:t>Circulaire variant</a:t>
              </a:r>
            </a:p>
          </p:txBody>
        </p:sp>
        <p:pic>
          <p:nvPicPr>
            <p:cNvPr id="20" name="Graphic 19" descr="Bakstenen muur bouwen met effen opvulling">
              <a:extLst>
                <a:ext uri="{FF2B5EF4-FFF2-40B4-BE49-F238E27FC236}">
                  <a16:creationId xmlns:a16="http://schemas.microsoft.com/office/drawing/2014/main" id="{1442FBDB-9E6F-9A79-6968-495558972FD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319464" y="2768437"/>
              <a:ext cx="692889" cy="692889"/>
            </a:xfrm>
            <a:prstGeom prst="rect">
              <a:avLst/>
            </a:prstGeom>
          </p:spPr>
        </p:pic>
        <p:pic>
          <p:nvPicPr>
            <p:cNvPr id="21" name="Graphic 20" descr="Ontkiemen van zaad met effen opvulling">
              <a:extLst>
                <a:ext uri="{FF2B5EF4-FFF2-40B4-BE49-F238E27FC236}">
                  <a16:creationId xmlns:a16="http://schemas.microsoft.com/office/drawing/2014/main" id="{1A210C9E-5674-67EF-7CCC-E79163190863}"/>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231152" y="2768437"/>
              <a:ext cx="692889" cy="692889"/>
            </a:xfrm>
            <a:prstGeom prst="rect">
              <a:avLst/>
            </a:prstGeom>
          </p:spPr>
        </p:pic>
        <p:pic>
          <p:nvPicPr>
            <p:cNvPr id="22" name="Graphic 21" descr="Duurzaamheid met effen opvulling">
              <a:extLst>
                <a:ext uri="{FF2B5EF4-FFF2-40B4-BE49-F238E27FC236}">
                  <a16:creationId xmlns:a16="http://schemas.microsoft.com/office/drawing/2014/main" id="{F85C8D21-6F27-3D06-1D9F-D23587798866}"/>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2231152" y="2094121"/>
              <a:ext cx="692889" cy="692889"/>
            </a:xfrm>
            <a:prstGeom prst="rect">
              <a:avLst/>
            </a:prstGeom>
          </p:spPr>
        </p:pic>
        <p:pic>
          <p:nvPicPr>
            <p:cNvPr id="23" name="Graphic 22" descr="Boomstronk met effen opvulling">
              <a:extLst>
                <a:ext uri="{FF2B5EF4-FFF2-40B4-BE49-F238E27FC236}">
                  <a16:creationId xmlns:a16="http://schemas.microsoft.com/office/drawing/2014/main" id="{F7B56B3F-69ED-498C-DA04-A8119FA9406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319464" y="2094121"/>
              <a:ext cx="692889" cy="692889"/>
            </a:xfrm>
            <a:prstGeom prst="rect">
              <a:avLst/>
            </a:prstGeom>
          </p:spPr>
        </p:pic>
      </p:grpSp>
      <p:sp>
        <p:nvSpPr>
          <p:cNvPr id="24" name="Tekstvak 23">
            <a:extLst>
              <a:ext uri="{FF2B5EF4-FFF2-40B4-BE49-F238E27FC236}">
                <a16:creationId xmlns:a16="http://schemas.microsoft.com/office/drawing/2014/main" id="{5838AE45-CEFC-6992-F71E-BA108FEEFBD0}"/>
              </a:ext>
            </a:extLst>
          </p:cNvPr>
          <p:cNvSpPr txBox="1"/>
          <p:nvPr/>
        </p:nvSpPr>
        <p:spPr>
          <a:xfrm>
            <a:off x="7675588" y="3013501"/>
            <a:ext cx="4405373"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000"/>
                </a:solidFill>
                <a:effectLst/>
                <a:uLnTx/>
                <a:uFillTx/>
                <a:latin typeface="Muli"/>
                <a:ea typeface="+mn-ea"/>
                <a:cs typeface="+mn-cs"/>
              </a:rPr>
              <a:t>Achteraf = suboptima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Muli"/>
                <a:ea typeface="+mn-ea"/>
                <a:cs typeface="+mn-cs"/>
              </a:rPr>
              <a:t>Achteraf kijken naar meerprij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Muli"/>
                <a:ea typeface="+mn-ea"/>
                <a:cs typeface="+mn-cs"/>
              </a:rPr>
              <a:t>Grote ontwerpingrepen meer mogelij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latin typeface="Muli"/>
                <a:ea typeface="+mn-ea"/>
                <a:cs typeface="+mn-cs"/>
              </a:rPr>
              <a:t>Vooral kijken naar producten die minder slecht zijn </a:t>
            </a:r>
          </a:p>
        </p:txBody>
      </p:sp>
      <p:pic>
        <p:nvPicPr>
          <p:cNvPr id="25" name="Graphic 24" descr="Vrouwelijke bouwvakker met effen opvulling">
            <a:extLst>
              <a:ext uri="{FF2B5EF4-FFF2-40B4-BE49-F238E27FC236}">
                <a16:creationId xmlns:a16="http://schemas.microsoft.com/office/drawing/2014/main" id="{8A4ED493-BB20-AD6C-50AA-555176E808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2039" y="3444869"/>
            <a:ext cx="914400" cy="914400"/>
          </a:xfrm>
          <a:prstGeom prst="rect">
            <a:avLst/>
          </a:prstGeom>
        </p:spPr>
      </p:pic>
      <p:sp>
        <p:nvSpPr>
          <p:cNvPr id="26" name="Pijl: rechts 25">
            <a:extLst>
              <a:ext uri="{FF2B5EF4-FFF2-40B4-BE49-F238E27FC236}">
                <a16:creationId xmlns:a16="http://schemas.microsoft.com/office/drawing/2014/main" id="{F3FF9B0E-EF65-5D22-8026-49E6070F5D87}"/>
              </a:ext>
            </a:extLst>
          </p:cNvPr>
          <p:cNvSpPr/>
          <p:nvPr/>
        </p:nvSpPr>
        <p:spPr>
          <a:xfrm>
            <a:off x="1556537" y="3778479"/>
            <a:ext cx="783518" cy="247179"/>
          </a:xfrm>
          <a:prstGeom prs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27" name="Rechthoek 26">
            <a:extLst>
              <a:ext uri="{FF2B5EF4-FFF2-40B4-BE49-F238E27FC236}">
                <a16:creationId xmlns:a16="http://schemas.microsoft.com/office/drawing/2014/main" id="{F489F482-B3DA-FF6D-1DE1-BF5E473E1303}"/>
              </a:ext>
            </a:extLst>
          </p:cNvPr>
          <p:cNvSpPr/>
          <p:nvPr/>
        </p:nvSpPr>
        <p:spPr>
          <a:xfrm>
            <a:off x="2517913" y="3543482"/>
            <a:ext cx="1229334" cy="7171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ontwerp</a:t>
            </a:r>
          </a:p>
        </p:txBody>
      </p:sp>
      <p:sp>
        <p:nvSpPr>
          <p:cNvPr id="28" name="Niet toegestaan-symbool 27">
            <a:extLst>
              <a:ext uri="{FF2B5EF4-FFF2-40B4-BE49-F238E27FC236}">
                <a16:creationId xmlns:a16="http://schemas.microsoft.com/office/drawing/2014/main" id="{256D4545-D481-C8F8-2EED-A807CB3D535D}"/>
              </a:ext>
            </a:extLst>
          </p:cNvPr>
          <p:cNvSpPr/>
          <p:nvPr/>
        </p:nvSpPr>
        <p:spPr>
          <a:xfrm>
            <a:off x="2275418" y="2020584"/>
            <a:ext cx="563044" cy="524018"/>
          </a:xfrm>
          <a:prstGeom prst="noSmoking">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
        <p:nvSpPr>
          <p:cNvPr id="29" name="Rechthoek 28">
            <a:extLst>
              <a:ext uri="{FF2B5EF4-FFF2-40B4-BE49-F238E27FC236}">
                <a16:creationId xmlns:a16="http://schemas.microsoft.com/office/drawing/2014/main" id="{1C0EC47E-EB21-F37F-67F1-0C8FB435D09E}"/>
              </a:ext>
            </a:extLst>
          </p:cNvPr>
          <p:cNvSpPr/>
          <p:nvPr/>
        </p:nvSpPr>
        <p:spPr>
          <a:xfrm>
            <a:off x="3827345" y="3543482"/>
            <a:ext cx="2357004" cy="717176"/>
          </a:xfrm>
          <a:prstGeom prst="rect">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rPr>
              <a:t>realisatie</a:t>
            </a:r>
          </a:p>
        </p:txBody>
      </p:sp>
      <p:sp>
        <p:nvSpPr>
          <p:cNvPr id="2" name="Tekstvak 1">
            <a:extLst>
              <a:ext uri="{FF2B5EF4-FFF2-40B4-BE49-F238E27FC236}">
                <a16:creationId xmlns:a16="http://schemas.microsoft.com/office/drawing/2014/main" id="{30769C09-5A9F-38B9-D117-1AD4D5EE9D7C}"/>
              </a:ext>
            </a:extLst>
          </p:cNvPr>
          <p:cNvSpPr txBox="1"/>
          <p:nvPr/>
        </p:nvSpPr>
        <p:spPr>
          <a:xfrm>
            <a:off x="1834760" y="4478872"/>
            <a:ext cx="8994571"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Muli"/>
                <a:ea typeface="+mn-ea"/>
                <a:cs typeface="+mn-cs"/>
              </a:rPr>
              <a:t>Als je in het ontwerp start met CO</a:t>
            </a:r>
            <a:r>
              <a:rPr kumimoji="0" lang="nl-NL" sz="1400" b="1" i="0" u="none" strike="noStrike" kern="1200" cap="none" spc="0" normalizeH="0" baseline="-25000" noProof="0" dirty="0">
                <a:ln>
                  <a:noFill/>
                </a:ln>
                <a:solidFill>
                  <a:srgbClr val="000000"/>
                </a:solidFill>
                <a:effectLst/>
                <a:uLnTx/>
                <a:uFillTx/>
                <a:latin typeface="Muli"/>
                <a:ea typeface="+mn-ea"/>
                <a:cs typeface="+mn-cs"/>
              </a:rPr>
              <a:t>2</a:t>
            </a:r>
            <a:r>
              <a:rPr kumimoji="0" lang="nl-NL" sz="1400" b="1" i="0" u="none" strike="noStrike" kern="1200" cap="none" spc="0" normalizeH="0" baseline="0" noProof="0" dirty="0">
                <a:ln>
                  <a:noFill/>
                </a:ln>
                <a:solidFill>
                  <a:srgbClr val="000000"/>
                </a:solidFill>
                <a:effectLst/>
                <a:uLnTx/>
                <a:uFillTx/>
                <a:latin typeface="Muli"/>
                <a:ea typeface="+mn-ea"/>
                <a:cs typeface="+mn-cs"/>
              </a:rPr>
              <a:t> prijs te optimaliser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nl-NL" sz="1400" b="0" i="0" u="none" strike="noStrike" kern="1200" cap="none" spc="0" normalizeH="0" baseline="0" noProof="0" dirty="0">
                <a:ln>
                  <a:noFill/>
                </a:ln>
                <a:solidFill>
                  <a:srgbClr val="000000"/>
                </a:solidFill>
                <a:effectLst/>
                <a:uLnTx/>
                <a:uFillTx/>
                <a:latin typeface="Muli"/>
                <a:ea typeface="+mn-ea"/>
                <a:cs typeface="+mn-cs"/>
              </a:rPr>
              <a:t>Fundamentele ontwerpkeuzes maken duurzame materiaalkeuzes mogelijk:</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nl-NL" sz="1400" b="0" i="0" u="none" strike="noStrike" kern="1200" cap="none" spc="0" normalizeH="0" baseline="0" noProof="0" dirty="0">
              <a:ln>
                <a:noFill/>
              </a:ln>
              <a:solidFill>
                <a:srgbClr val="000000"/>
              </a:solidFill>
              <a:effectLst/>
              <a:uLnTx/>
              <a:uFillTx/>
              <a:latin typeface="Mul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nl-NL" sz="1400" b="0" i="0" u="none" strike="noStrike" kern="1200" cap="none" spc="0" normalizeH="0" baseline="0" noProof="0" dirty="0">
                <a:ln>
                  <a:noFill/>
                </a:ln>
                <a:solidFill>
                  <a:srgbClr val="000000"/>
                </a:solidFill>
                <a:effectLst/>
                <a:uLnTx/>
                <a:uFillTx/>
                <a:latin typeface="Muli"/>
                <a:ea typeface="+mn-ea"/>
                <a:cs typeface="+mn-cs"/>
              </a:rPr>
              <a:t>Materialen die CO</a:t>
            </a:r>
            <a:r>
              <a:rPr kumimoji="0" lang="nl-NL" sz="1400" b="0" i="0" u="none" strike="noStrike" kern="1200" cap="none" spc="0" normalizeH="0" baseline="-25000" noProof="0" dirty="0">
                <a:ln>
                  <a:noFill/>
                </a:ln>
                <a:solidFill>
                  <a:srgbClr val="000000"/>
                </a:solidFill>
                <a:effectLst/>
                <a:uLnTx/>
                <a:uFillTx/>
                <a:latin typeface="Muli"/>
                <a:ea typeface="+mn-ea"/>
                <a:cs typeface="+mn-cs"/>
              </a:rPr>
              <a:t>2</a:t>
            </a:r>
            <a:r>
              <a:rPr kumimoji="0" lang="nl-NL" sz="1400" b="0" i="0" u="none" strike="noStrike" kern="1200" cap="none" spc="0" normalizeH="0" baseline="0" noProof="0" dirty="0">
                <a:ln>
                  <a:noFill/>
                </a:ln>
                <a:solidFill>
                  <a:srgbClr val="000000"/>
                </a:solidFill>
                <a:effectLst/>
                <a:uLnTx/>
                <a:uFillTx/>
                <a:latin typeface="Muli"/>
                <a:ea typeface="+mn-ea"/>
                <a:cs typeface="+mn-cs"/>
              </a:rPr>
              <a:t> besparen en goedkoper zijn 		= </a:t>
            </a:r>
            <a:r>
              <a:rPr kumimoji="0" lang="nl-NL" sz="1400" b="1" i="0" u="sng" strike="noStrike" kern="1200" cap="none" spc="0" normalizeH="0" baseline="0" noProof="0" dirty="0">
                <a:ln>
                  <a:noFill/>
                </a:ln>
                <a:solidFill>
                  <a:srgbClr val="02BF7E">
                    <a:lumMod val="50000"/>
                  </a:srgbClr>
                </a:solidFill>
                <a:effectLst/>
                <a:uLnTx/>
                <a:uFillTx/>
                <a:latin typeface="Muli"/>
                <a:ea typeface="+mn-ea"/>
                <a:cs typeface="+mn-cs"/>
              </a:rPr>
              <a:t>2X effect t.o.v. traditioneel</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nl-NL" sz="1400" b="0" i="0" u="none" strike="noStrike" kern="1200" cap="none" spc="0" normalizeH="0" baseline="0" noProof="0" dirty="0">
                <a:ln>
                  <a:noFill/>
                </a:ln>
                <a:solidFill>
                  <a:srgbClr val="000000"/>
                </a:solidFill>
                <a:effectLst/>
                <a:uLnTx/>
                <a:uFillTx/>
                <a:latin typeface="Muli"/>
                <a:ea typeface="+mn-ea"/>
                <a:cs typeface="+mn-cs"/>
              </a:rPr>
              <a:t>Materialen die CO</a:t>
            </a:r>
            <a:r>
              <a:rPr kumimoji="0" lang="nl-NL" sz="1400" b="0" i="0" u="none" strike="noStrike" kern="1200" cap="none" spc="0" normalizeH="0" baseline="-25000" noProof="0" dirty="0">
                <a:ln>
                  <a:noFill/>
                </a:ln>
                <a:solidFill>
                  <a:srgbClr val="000000"/>
                </a:solidFill>
                <a:effectLst/>
                <a:uLnTx/>
                <a:uFillTx/>
                <a:latin typeface="Muli"/>
                <a:ea typeface="+mn-ea"/>
                <a:cs typeface="+mn-cs"/>
              </a:rPr>
              <a:t>2</a:t>
            </a:r>
            <a:r>
              <a:rPr kumimoji="0" lang="nl-NL" sz="1400" b="0" i="0" u="none" strike="noStrike" kern="1200" cap="none" spc="0" normalizeH="0" baseline="0" noProof="0" dirty="0">
                <a:ln>
                  <a:noFill/>
                </a:ln>
                <a:solidFill>
                  <a:srgbClr val="000000"/>
                </a:solidFill>
                <a:effectLst/>
                <a:uLnTx/>
                <a:uFillTx/>
                <a:latin typeface="Muli"/>
                <a:ea typeface="+mn-ea"/>
                <a:cs typeface="+mn-cs"/>
              </a:rPr>
              <a:t> besparen en gelijke kosten 		= </a:t>
            </a:r>
            <a:r>
              <a:rPr kumimoji="0" lang="nl-NL" sz="1400" b="1" i="0" u="sng" strike="noStrike" kern="1200" cap="none" spc="0" normalizeH="0" baseline="0" noProof="0" dirty="0">
                <a:ln>
                  <a:noFill/>
                </a:ln>
                <a:solidFill>
                  <a:srgbClr val="02BF7E">
                    <a:lumMod val="50000"/>
                  </a:srgbClr>
                </a:solidFill>
                <a:effectLst/>
                <a:uLnTx/>
                <a:uFillTx/>
                <a:latin typeface="Muli"/>
                <a:ea typeface="+mn-ea"/>
                <a:cs typeface="+mn-cs"/>
              </a:rPr>
              <a:t>1X effect t.o.v. traditioneel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nl-NL" sz="1400" b="0" i="0" u="none" strike="noStrike" kern="1200" cap="none" spc="0" normalizeH="0" baseline="0" noProof="0" dirty="0">
                <a:ln>
                  <a:noFill/>
                </a:ln>
                <a:solidFill>
                  <a:srgbClr val="000000"/>
                </a:solidFill>
                <a:effectLst/>
                <a:uLnTx/>
                <a:uFillTx/>
                <a:latin typeface="Muli"/>
                <a:ea typeface="+mn-ea"/>
                <a:cs typeface="+mn-cs"/>
              </a:rPr>
              <a:t>Materialen met gelijke uitstoot en  die goedkoper zijn 	= </a:t>
            </a:r>
            <a:r>
              <a:rPr kumimoji="0" lang="nl-NL" sz="1400" b="1" i="0" u="sng" strike="noStrike" kern="1200" cap="none" spc="0" normalizeH="0" baseline="0" noProof="0" dirty="0">
                <a:ln>
                  <a:noFill/>
                </a:ln>
                <a:solidFill>
                  <a:srgbClr val="02BF7E">
                    <a:lumMod val="50000"/>
                  </a:srgbClr>
                </a:solidFill>
                <a:effectLst/>
                <a:uLnTx/>
                <a:uFillTx/>
                <a:latin typeface="Muli"/>
                <a:ea typeface="+mn-ea"/>
                <a:cs typeface="+mn-cs"/>
              </a:rPr>
              <a:t>1X effect t.o.v. traditioneel</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kumimoji="0" lang="nl-NL" sz="1400" b="1" i="0" u="none" strike="noStrike" kern="1200" cap="none" spc="0" normalizeH="0" baseline="0" noProof="0" dirty="0">
              <a:ln>
                <a:noFill/>
              </a:ln>
              <a:solidFill>
                <a:srgbClr val="02BF7E">
                  <a:lumMod val="50000"/>
                </a:srgbClr>
              </a:solidFill>
              <a:effectLst/>
              <a:uLnTx/>
              <a:uFillTx/>
              <a:latin typeface="Mul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nl-NL" sz="1400" b="0" i="0" u="none" strike="noStrike" kern="1200" cap="none" spc="0" normalizeH="0" baseline="0" noProof="0" dirty="0">
                <a:ln>
                  <a:noFill/>
                </a:ln>
                <a:solidFill>
                  <a:srgbClr val="000000"/>
                </a:solidFill>
                <a:effectLst/>
                <a:uLnTx/>
                <a:uFillTx/>
                <a:latin typeface="Muli"/>
                <a:ea typeface="+mn-ea"/>
                <a:cs typeface="+mn-cs"/>
              </a:rPr>
              <a:t>Materialen die veel duurzamer zijn, maar </a:t>
            </a:r>
            <a:r>
              <a:rPr kumimoji="0" lang="nl-NL" sz="1400" b="1" i="0" u="sng" strike="noStrike" kern="1200" cap="none" spc="0" normalizeH="0" baseline="0" noProof="0" dirty="0">
                <a:ln>
                  <a:noFill/>
                </a:ln>
                <a:solidFill>
                  <a:srgbClr val="000000"/>
                </a:solidFill>
                <a:effectLst/>
                <a:uLnTx/>
                <a:uFillTx/>
                <a:latin typeface="Muli"/>
                <a:ea typeface="+mn-ea"/>
                <a:cs typeface="+mn-cs"/>
              </a:rPr>
              <a:t>duurder</a:t>
            </a:r>
            <a:r>
              <a:rPr kumimoji="0" lang="nl-NL" sz="1400" b="0" i="0" u="none" strike="noStrike" kern="1200" cap="none" spc="0" normalizeH="0" baseline="0" noProof="0" dirty="0">
                <a:ln>
                  <a:noFill/>
                </a:ln>
                <a:solidFill>
                  <a:srgbClr val="000000"/>
                </a:solidFill>
                <a:effectLst/>
                <a:uLnTx/>
                <a:uFillTx/>
                <a:latin typeface="Muli"/>
                <a:ea typeface="+mn-ea"/>
                <a:cs typeface="+mn-cs"/>
              </a:rPr>
              <a:t> krijgen een steuntje </a:t>
            </a:r>
            <a:r>
              <a:rPr kumimoji="0" lang="nl-NL" sz="1400" b="1" i="0" u="sng" strike="noStrike" kern="1200" cap="none" spc="0" normalizeH="0" baseline="0" noProof="0" dirty="0">
                <a:ln>
                  <a:noFill/>
                </a:ln>
                <a:solidFill>
                  <a:srgbClr val="000000"/>
                </a:solidFill>
                <a:effectLst/>
                <a:uLnTx/>
                <a:uFillTx/>
                <a:latin typeface="Muli"/>
                <a:ea typeface="+mn-ea"/>
                <a:cs typeface="+mn-cs"/>
              </a:rPr>
              <a:t>in de rug </a:t>
            </a:r>
            <a:r>
              <a:rPr kumimoji="0" lang="nl-NL" sz="1400" b="0" i="0" u="none" strike="noStrike" kern="1200" cap="none" spc="0" normalizeH="0" baseline="0" noProof="0" dirty="0">
                <a:ln>
                  <a:noFill/>
                </a:ln>
                <a:solidFill>
                  <a:srgbClr val="000000"/>
                </a:solidFill>
                <a:effectLst/>
                <a:uLnTx/>
                <a:uFillTx/>
                <a:latin typeface="Muli"/>
                <a:ea typeface="+mn-ea"/>
                <a:cs typeface="+mn-cs"/>
              </a:rPr>
              <a:t>(opschaling mogelijk maken)</a:t>
            </a:r>
          </a:p>
        </p:txBody>
      </p:sp>
      <p:pic>
        <p:nvPicPr>
          <p:cNvPr id="5" name="Afbeelding 14" descr="Afbeelding met tekst, cirkel, logo, Lettertype&#10;&#10;Automatisch gegenereerde beschrijving">
            <a:extLst>
              <a:ext uri="{FF2B5EF4-FFF2-40B4-BE49-F238E27FC236}">
                <a16:creationId xmlns:a16="http://schemas.microsoft.com/office/drawing/2014/main" id="{14AA9F2A-A64E-A3BF-2DCC-EC7771B67508}"/>
              </a:ext>
            </a:extLst>
          </p:cNvPr>
          <p:cNvPicPr/>
          <p:nvPr/>
        </p:nvPicPr>
        <p:blipFill>
          <a:blip r:embed="rId19"/>
          <a:stretch>
            <a:fillRect/>
          </a:stretch>
        </p:blipFill>
        <p:spPr>
          <a:xfrm>
            <a:off x="10880745" y="200596"/>
            <a:ext cx="1097623" cy="1097623"/>
          </a:xfrm>
          <a:prstGeom prst="rect">
            <a:avLst/>
          </a:prstGeom>
        </p:spPr>
      </p:pic>
      <p:cxnSp>
        <p:nvCxnSpPr>
          <p:cNvPr id="6" name="Straight Connector 5">
            <a:extLst>
              <a:ext uri="{FF2B5EF4-FFF2-40B4-BE49-F238E27FC236}">
                <a16:creationId xmlns:a16="http://schemas.microsoft.com/office/drawing/2014/main" id="{BDFF0FE6-3CD0-2E42-78B3-D6AFC6B83CE6}"/>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317217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2507B3F-9A82-8FE8-2540-C175260FF0F8}"/>
              </a:ext>
            </a:extLst>
          </p:cNvPr>
          <p:cNvSpPr>
            <a:spLocks noGrp="1"/>
          </p:cNvSpPr>
          <p:nvPr>
            <p:ph type="title"/>
          </p:nvPr>
        </p:nvSpPr>
        <p:spPr/>
        <p:txBody>
          <a:bodyPr/>
          <a:lstStyle/>
          <a:p>
            <a:r>
              <a:rPr lang="nl-NL" dirty="0"/>
              <a:t>De potentie van circulair is nog veel groter</a:t>
            </a:r>
          </a:p>
        </p:txBody>
      </p:sp>
      <p:sp>
        <p:nvSpPr>
          <p:cNvPr id="4" name="Tijdelijke aanduiding voor tekst 3">
            <a:extLst>
              <a:ext uri="{FF2B5EF4-FFF2-40B4-BE49-F238E27FC236}">
                <a16:creationId xmlns:a16="http://schemas.microsoft.com/office/drawing/2014/main" id="{163A2F9B-8DA5-EB31-3F4A-59E65559D184}"/>
              </a:ext>
            </a:extLst>
          </p:cNvPr>
          <p:cNvSpPr>
            <a:spLocks noGrp="1"/>
          </p:cNvSpPr>
          <p:nvPr>
            <p:ph type="body" sz="quarter" idx="11"/>
          </p:nvPr>
        </p:nvSpPr>
        <p:spPr/>
        <p:txBody>
          <a:bodyPr/>
          <a:lstStyle/>
          <a:p>
            <a:r>
              <a:rPr lang="nl-NL"/>
              <a:t>… en heeft een aanjager nodig </a:t>
            </a:r>
          </a:p>
        </p:txBody>
      </p:sp>
      <p:sp>
        <p:nvSpPr>
          <p:cNvPr id="5" name="Tijdelijke aanduiding voor inhoud 4">
            <a:extLst>
              <a:ext uri="{FF2B5EF4-FFF2-40B4-BE49-F238E27FC236}">
                <a16:creationId xmlns:a16="http://schemas.microsoft.com/office/drawing/2014/main" id="{BFC15B82-607C-0381-7133-FAD81A4217E7}"/>
              </a:ext>
            </a:extLst>
          </p:cNvPr>
          <p:cNvSpPr>
            <a:spLocks noGrp="1"/>
          </p:cNvSpPr>
          <p:nvPr>
            <p:ph sz="quarter" idx="12"/>
          </p:nvPr>
        </p:nvSpPr>
        <p:spPr>
          <a:xfrm>
            <a:off x="763523" y="1953532"/>
            <a:ext cx="5076000" cy="4175125"/>
          </a:xfrm>
        </p:spPr>
        <p:txBody>
          <a:bodyPr/>
          <a:lstStyle/>
          <a:p>
            <a:r>
              <a:rPr lang="nl-NL" dirty="0"/>
              <a:t>Veel is nu </a:t>
            </a:r>
            <a:r>
              <a:rPr lang="nl-NL" b="1" u="sng" dirty="0"/>
              <a:t>technisch</a:t>
            </a:r>
            <a:r>
              <a:rPr lang="nl-NL" dirty="0"/>
              <a:t> toepasbaar en mogelijk</a:t>
            </a:r>
          </a:p>
          <a:p>
            <a:pPr lvl="1"/>
            <a:r>
              <a:rPr lang="nl-NL" dirty="0"/>
              <a:t>Het uitvragen en ontwerpen met CO</a:t>
            </a:r>
            <a:r>
              <a:rPr lang="nl-NL" baseline="-25000" dirty="0"/>
              <a:t>2</a:t>
            </a:r>
            <a:r>
              <a:rPr lang="nl-NL" dirty="0"/>
              <a:t> prijs is een realistische en een eerste stap naar circulair renoveren.</a:t>
            </a:r>
          </a:p>
          <a:p>
            <a:endParaRPr lang="nl-NL" dirty="0"/>
          </a:p>
          <a:p>
            <a:r>
              <a:rPr lang="nl-NL" dirty="0"/>
              <a:t>Alleen de </a:t>
            </a:r>
            <a:r>
              <a:rPr lang="nl-NL" b="1" u="sng" dirty="0"/>
              <a:t>potentie</a:t>
            </a:r>
            <a:r>
              <a:rPr lang="nl-NL" dirty="0"/>
              <a:t> is veel </a:t>
            </a:r>
            <a:r>
              <a:rPr lang="nl-NL" b="1" u="sng" dirty="0"/>
              <a:t>groter</a:t>
            </a:r>
            <a:r>
              <a:rPr lang="nl-NL" dirty="0"/>
              <a:t> -&gt; het heeft een aanjager nodig </a:t>
            </a:r>
          </a:p>
          <a:p>
            <a:endParaRPr lang="nl-NL" dirty="0"/>
          </a:p>
          <a:p>
            <a:endParaRPr lang="nl-NL" dirty="0"/>
          </a:p>
        </p:txBody>
      </p:sp>
      <p:sp>
        <p:nvSpPr>
          <p:cNvPr id="8" name="Pijl: omlaag 7">
            <a:extLst>
              <a:ext uri="{FF2B5EF4-FFF2-40B4-BE49-F238E27FC236}">
                <a16:creationId xmlns:a16="http://schemas.microsoft.com/office/drawing/2014/main" id="{FE4C95C4-BF96-F00C-DB70-3A744DA300CE}"/>
              </a:ext>
            </a:extLst>
          </p:cNvPr>
          <p:cNvSpPr/>
          <p:nvPr/>
        </p:nvSpPr>
        <p:spPr>
          <a:xfrm>
            <a:off x="7430789" y="2758369"/>
            <a:ext cx="512956" cy="691376"/>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9" name="Pijl: omlaag 8">
            <a:extLst>
              <a:ext uri="{FF2B5EF4-FFF2-40B4-BE49-F238E27FC236}">
                <a16:creationId xmlns:a16="http://schemas.microsoft.com/office/drawing/2014/main" id="{F89991D2-E265-836F-DDC0-F9DA650D8C55}"/>
              </a:ext>
            </a:extLst>
          </p:cNvPr>
          <p:cNvSpPr/>
          <p:nvPr/>
        </p:nvSpPr>
        <p:spPr>
          <a:xfrm>
            <a:off x="8587639" y="3520440"/>
            <a:ext cx="512956" cy="691376"/>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11" name="Pijl: omlaag 10">
            <a:extLst>
              <a:ext uri="{FF2B5EF4-FFF2-40B4-BE49-F238E27FC236}">
                <a16:creationId xmlns:a16="http://schemas.microsoft.com/office/drawing/2014/main" id="{EFCBA92A-1118-6D59-A8FF-D2A483798DF1}"/>
              </a:ext>
            </a:extLst>
          </p:cNvPr>
          <p:cNvSpPr/>
          <p:nvPr/>
        </p:nvSpPr>
        <p:spPr>
          <a:xfrm>
            <a:off x="10127356" y="4281091"/>
            <a:ext cx="512956" cy="691376"/>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FFFFFF"/>
              </a:solidFill>
              <a:effectLst/>
              <a:uLnTx/>
              <a:uFillTx/>
              <a:latin typeface="Muli" panose="00000500000000000000" pitchFamily="2" charset="0"/>
              <a:ea typeface="+mn-ea"/>
              <a:cs typeface="+mn-cs"/>
            </a:endParaRPr>
          </a:p>
        </p:txBody>
      </p:sp>
      <p:sp>
        <p:nvSpPr>
          <p:cNvPr id="12" name="Tekstvak 11">
            <a:extLst>
              <a:ext uri="{FF2B5EF4-FFF2-40B4-BE49-F238E27FC236}">
                <a16:creationId xmlns:a16="http://schemas.microsoft.com/office/drawing/2014/main" id="{40E99397-B904-ADF0-08D0-EBC3B7E13857}"/>
              </a:ext>
            </a:extLst>
          </p:cNvPr>
          <p:cNvSpPr txBox="1"/>
          <p:nvPr/>
        </p:nvSpPr>
        <p:spPr>
          <a:xfrm>
            <a:off x="6605702" y="2350354"/>
            <a:ext cx="31726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Muli"/>
                <a:ea typeface="+mn-ea"/>
                <a:cs typeface="+mn-cs"/>
              </a:rPr>
              <a:t>Meer </a:t>
            </a:r>
            <a:r>
              <a:rPr kumimoji="0" lang="nl-NL" sz="1800" b="0" i="0" u="none" strike="noStrike" kern="1200" cap="none" spc="0" normalizeH="0" baseline="0" noProof="0" err="1">
                <a:ln>
                  <a:noFill/>
                </a:ln>
                <a:solidFill>
                  <a:srgbClr val="000000"/>
                </a:solidFill>
                <a:effectLst/>
                <a:uLnTx/>
                <a:uFillTx/>
                <a:latin typeface="Muli"/>
                <a:ea typeface="+mn-ea"/>
                <a:cs typeface="+mn-cs"/>
              </a:rPr>
              <a:t>refuse</a:t>
            </a:r>
            <a:r>
              <a:rPr kumimoji="0" lang="nl-NL" sz="1800" b="0" i="0" u="none" strike="noStrike" kern="1200" cap="none" spc="0" normalizeH="0" baseline="0" noProof="0">
                <a:ln>
                  <a:noFill/>
                </a:ln>
                <a:solidFill>
                  <a:srgbClr val="000000"/>
                </a:solidFill>
                <a:effectLst/>
                <a:uLnTx/>
                <a:uFillTx/>
                <a:latin typeface="Muli"/>
                <a:ea typeface="+mn-ea"/>
                <a:cs typeface="+mn-cs"/>
              </a:rPr>
              <a:t>/</a:t>
            </a:r>
            <a:r>
              <a:rPr kumimoji="0" lang="nl-NL" sz="1800" b="0" i="0" u="none" strike="noStrike" kern="1200" cap="none" spc="0" normalizeH="0" baseline="0" noProof="0" err="1">
                <a:ln>
                  <a:noFill/>
                </a:ln>
                <a:solidFill>
                  <a:srgbClr val="000000"/>
                </a:solidFill>
                <a:effectLst/>
                <a:uLnTx/>
                <a:uFillTx/>
                <a:latin typeface="Muli"/>
                <a:ea typeface="+mn-ea"/>
                <a:cs typeface="+mn-cs"/>
              </a:rPr>
              <a:t>rethink</a:t>
            </a:r>
            <a:r>
              <a:rPr kumimoji="0" lang="nl-NL" sz="1800" b="0" i="0" u="none" strike="noStrike" kern="1200" cap="none" spc="0" normalizeH="0" baseline="0" noProof="0">
                <a:ln>
                  <a:noFill/>
                </a:ln>
                <a:solidFill>
                  <a:srgbClr val="000000"/>
                </a:solidFill>
                <a:effectLst/>
                <a:uLnTx/>
                <a:uFillTx/>
                <a:latin typeface="Muli"/>
                <a:ea typeface="+mn-ea"/>
                <a:cs typeface="+mn-cs"/>
              </a:rPr>
              <a:t> mogelijk</a:t>
            </a:r>
          </a:p>
        </p:txBody>
      </p:sp>
      <p:sp>
        <p:nvSpPr>
          <p:cNvPr id="13" name="Tekstvak 12">
            <a:extLst>
              <a:ext uri="{FF2B5EF4-FFF2-40B4-BE49-F238E27FC236}">
                <a16:creationId xmlns:a16="http://schemas.microsoft.com/office/drawing/2014/main" id="{193FDA41-2111-A6BD-A989-838D83BA71CE}"/>
              </a:ext>
            </a:extLst>
          </p:cNvPr>
          <p:cNvSpPr txBox="1"/>
          <p:nvPr/>
        </p:nvSpPr>
        <p:spPr>
          <a:xfrm>
            <a:off x="7970825" y="3095689"/>
            <a:ext cx="33073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Muli"/>
                <a:ea typeface="+mn-ea"/>
                <a:cs typeface="+mn-cs"/>
              </a:rPr>
              <a:t>Meer oogsten – en hergebruik</a:t>
            </a:r>
          </a:p>
        </p:txBody>
      </p:sp>
      <p:sp>
        <p:nvSpPr>
          <p:cNvPr id="14" name="Tekstvak 13">
            <a:extLst>
              <a:ext uri="{FF2B5EF4-FFF2-40B4-BE49-F238E27FC236}">
                <a16:creationId xmlns:a16="http://schemas.microsoft.com/office/drawing/2014/main" id="{475E2A6C-A70F-D892-E202-31255CDB3B0D}"/>
              </a:ext>
            </a:extLst>
          </p:cNvPr>
          <p:cNvSpPr txBox="1"/>
          <p:nvPr/>
        </p:nvSpPr>
        <p:spPr>
          <a:xfrm>
            <a:off x="9214639" y="3841024"/>
            <a:ext cx="25186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0000"/>
                </a:solidFill>
                <a:effectLst/>
                <a:uLnTx/>
                <a:uFillTx/>
                <a:latin typeface="Muli"/>
                <a:ea typeface="+mn-ea"/>
                <a:cs typeface="+mn-cs"/>
              </a:rPr>
              <a:t>Substitutie - </a:t>
            </a:r>
            <a:r>
              <a:rPr kumimoji="0" lang="nl-NL" sz="1800" b="0" i="0" u="none" strike="noStrike" kern="1200" cap="none" spc="0" normalizeH="0" baseline="0" noProof="0" err="1">
                <a:ln>
                  <a:noFill/>
                </a:ln>
                <a:solidFill>
                  <a:srgbClr val="000000"/>
                </a:solidFill>
                <a:effectLst/>
                <a:uLnTx/>
                <a:uFillTx/>
                <a:latin typeface="Muli"/>
                <a:ea typeface="+mn-ea"/>
                <a:cs typeface="+mn-cs"/>
              </a:rPr>
              <a:t>biobased</a:t>
            </a:r>
            <a:endParaRPr kumimoji="0" lang="nl-NL" sz="1800" b="0" i="0" u="none" strike="noStrike" kern="1200" cap="none" spc="0" normalizeH="0" baseline="0" noProof="0">
              <a:ln>
                <a:noFill/>
              </a:ln>
              <a:solidFill>
                <a:srgbClr val="000000"/>
              </a:solidFill>
              <a:effectLst/>
              <a:uLnTx/>
              <a:uFillTx/>
              <a:latin typeface="Muli"/>
              <a:ea typeface="+mn-ea"/>
              <a:cs typeface="+mn-cs"/>
            </a:endParaRPr>
          </a:p>
        </p:txBody>
      </p:sp>
      <p:sp>
        <p:nvSpPr>
          <p:cNvPr id="31" name="Ovaal 30">
            <a:extLst>
              <a:ext uri="{FF2B5EF4-FFF2-40B4-BE49-F238E27FC236}">
                <a16:creationId xmlns:a16="http://schemas.microsoft.com/office/drawing/2014/main" id="{8AD1B2EF-3594-CE8B-A12A-110777DE09CC}"/>
              </a:ext>
            </a:extLst>
          </p:cNvPr>
          <p:cNvSpPr/>
          <p:nvPr/>
        </p:nvSpPr>
        <p:spPr>
          <a:xfrm>
            <a:off x="3349242" y="5064152"/>
            <a:ext cx="1331851" cy="127795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FFFFFF"/>
                </a:solidFill>
                <a:effectLst/>
                <a:uLnTx/>
                <a:uFillTx/>
                <a:latin typeface="Muli" panose="00000500000000000000" pitchFamily="2" charset="0"/>
                <a:ea typeface="+mn-ea"/>
                <a:cs typeface="+mn-cs"/>
              </a:rPr>
              <a:t>Markt aanbod circulair stijgt</a:t>
            </a:r>
          </a:p>
        </p:txBody>
      </p:sp>
      <p:sp>
        <p:nvSpPr>
          <p:cNvPr id="32" name="Ovaal 31">
            <a:extLst>
              <a:ext uri="{FF2B5EF4-FFF2-40B4-BE49-F238E27FC236}">
                <a16:creationId xmlns:a16="http://schemas.microsoft.com/office/drawing/2014/main" id="{D0A191EB-A8FC-CE96-11B9-7F70F8012E98}"/>
              </a:ext>
            </a:extLst>
          </p:cNvPr>
          <p:cNvSpPr/>
          <p:nvPr/>
        </p:nvSpPr>
        <p:spPr>
          <a:xfrm>
            <a:off x="4916591" y="5064152"/>
            <a:ext cx="1317128" cy="127795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FFFFFF"/>
                </a:solidFill>
                <a:effectLst/>
                <a:uLnTx/>
                <a:uFillTx/>
                <a:latin typeface="Muli" panose="00000500000000000000" pitchFamily="2" charset="0"/>
                <a:ea typeface="+mn-ea"/>
                <a:cs typeface="+mn-cs"/>
              </a:rPr>
              <a:t>Markt</a:t>
            </a:r>
            <a:r>
              <a:rPr kumimoji="0" lang="nl-NL" sz="1600" b="1" i="0" u="none" strike="noStrike" kern="1200" cap="none" spc="0" normalizeH="0" baseline="0" noProof="0">
                <a:ln>
                  <a:noFill/>
                </a:ln>
                <a:solidFill>
                  <a:srgbClr val="FFFFFF"/>
                </a:solidFill>
                <a:effectLst/>
                <a:uLnTx/>
                <a:uFillTx/>
                <a:latin typeface="Muli" panose="00000500000000000000" pitchFamily="2" charset="0"/>
                <a:ea typeface="+mn-ea"/>
                <a:cs typeface="+mn-cs"/>
              </a:rPr>
              <a:t> </a:t>
            </a:r>
            <a:r>
              <a:rPr kumimoji="0" lang="nl-NL" sz="1100" b="1" i="0" u="none" strike="noStrike" kern="1200" cap="none" spc="0" normalizeH="0" baseline="0" noProof="0">
                <a:ln>
                  <a:noFill/>
                </a:ln>
                <a:solidFill>
                  <a:srgbClr val="FFFFFF"/>
                </a:solidFill>
                <a:effectLst/>
                <a:uLnTx/>
                <a:uFillTx/>
                <a:latin typeface="Muli" panose="00000500000000000000" pitchFamily="2" charset="0"/>
                <a:ea typeface="+mn-ea"/>
                <a:cs typeface="+mn-cs"/>
              </a:rPr>
              <a:t>voor nieuwe circulaire producten</a:t>
            </a:r>
          </a:p>
        </p:txBody>
      </p:sp>
      <p:sp>
        <p:nvSpPr>
          <p:cNvPr id="34" name="Tekstvak 33">
            <a:extLst>
              <a:ext uri="{FF2B5EF4-FFF2-40B4-BE49-F238E27FC236}">
                <a16:creationId xmlns:a16="http://schemas.microsoft.com/office/drawing/2014/main" id="{4E329F26-F9A9-491C-252C-8198CC1288A8}"/>
              </a:ext>
            </a:extLst>
          </p:cNvPr>
          <p:cNvSpPr txBox="1"/>
          <p:nvPr/>
        </p:nvSpPr>
        <p:spPr>
          <a:xfrm>
            <a:off x="1538944" y="5540022"/>
            <a:ext cx="15744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0000"/>
                </a:solidFill>
                <a:effectLst/>
                <a:uLnTx/>
                <a:uFillTx/>
                <a:latin typeface="Muli"/>
                <a:ea typeface="+mn-ea"/>
                <a:cs typeface="+mn-cs"/>
              </a:rPr>
              <a:t>Groter effect</a:t>
            </a:r>
          </a:p>
        </p:txBody>
      </p:sp>
      <p:sp>
        <p:nvSpPr>
          <p:cNvPr id="35" name="Ovaal 34">
            <a:extLst>
              <a:ext uri="{FF2B5EF4-FFF2-40B4-BE49-F238E27FC236}">
                <a16:creationId xmlns:a16="http://schemas.microsoft.com/office/drawing/2014/main" id="{214751BC-EE83-01B7-5D97-231D9265338C}"/>
              </a:ext>
            </a:extLst>
          </p:cNvPr>
          <p:cNvSpPr/>
          <p:nvPr/>
        </p:nvSpPr>
        <p:spPr>
          <a:xfrm>
            <a:off x="6417869" y="5064152"/>
            <a:ext cx="1317128" cy="127795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FFFFFF"/>
                </a:solidFill>
                <a:effectLst/>
                <a:uLnTx/>
                <a:uFillTx/>
                <a:latin typeface="Muli" panose="00000500000000000000" pitchFamily="2" charset="0"/>
                <a:ea typeface="+mn-ea"/>
                <a:cs typeface="+mn-cs"/>
              </a:rPr>
              <a:t>Hergebruik business- case mogelijk</a:t>
            </a:r>
          </a:p>
        </p:txBody>
      </p:sp>
      <p:sp>
        <p:nvSpPr>
          <p:cNvPr id="37" name="Ovaal 36">
            <a:extLst>
              <a:ext uri="{FF2B5EF4-FFF2-40B4-BE49-F238E27FC236}">
                <a16:creationId xmlns:a16="http://schemas.microsoft.com/office/drawing/2014/main" id="{1A1884C4-48D1-9587-1434-6C47A22D26D6}"/>
              </a:ext>
            </a:extLst>
          </p:cNvPr>
          <p:cNvSpPr/>
          <p:nvPr/>
        </p:nvSpPr>
        <p:spPr>
          <a:xfrm>
            <a:off x="7970825" y="5048910"/>
            <a:ext cx="1317128" cy="127795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FFFFFF"/>
                </a:solidFill>
                <a:effectLst/>
                <a:uLnTx/>
                <a:uFillTx/>
                <a:latin typeface="Muli" panose="00000500000000000000" pitchFamily="2" charset="0"/>
                <a:ea typeface="+mn-ea"/>
                <a:cs typeface="+mn-cs"/>
              </a:rPr>
              <a:t>Risico’s van circulair omlaag</a:t>
            </a:r>
          </a:p>
        </p:txBody>
      </p:sp>
      <p:pic>
        <p:nvPicPr>
          <p:cNvPr id="2" name="Afbeelding 14" descr="Afbeelding met tekst, cirkel, logo, Lettertype&#10;&#10;Automatisch gegenereerde beschrijving">
            <a:extLst>
              <a:ext uri="{FF2B5EF4-FFF2-40B4-BE49-F238E27FC236}">
                <a16:creationId xmlns:a16="http://schemas.microsoft.com/office/drawing/2014/main" id="{98945A65-3EF8-4450-CF5D-C7C800AFF1A3}"/>
              </a:ext>
            </a:extLst>
          </p:cNvPr>
          <p:cNvPicPr/>
          <p:nvPr/>
        </p:nvPicPr>
        <p:blipFill>
          <a:blip r:embed="rId3"/>
          <a:stretch>
            <a:fillRect/>
          </a:stretch>
        </p:blipFill>
        <p:spPr>
          <a:xfrm>
            <a:off x="10880745" y="200596"/>
            <a:ext cx="1097623" cy="1097623"/>
          </a:xfrm>
          <a:prstGeom prst="rect">
            <a:avLst/>
          </a:prstGeom>
        </p:spPr>
      </p:pic>
      <p:cxnSp>
        <p:nvCxnSpPr>
          <p:cNvPr id="6" name="Straight Connector 5">
            <a:extLst>
              <a:ext uri="{FF2B5EF4-FFF2-40B4-BE49-F238E27FC236}">
                <a16:creationId xmlns:a16="http://schemas.microsoft.com/office/drawing/2014/main" id="{BDAB1FEC-BFCC-C653-7866-94981952A6DD}"/>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783012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4" grpId="0"/>
      <p:bldP spid="35" grpId="0" animBg="1"/>
      <p:bldP spid="3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C5ECC-593B-BBE8-A6C6-CC6609004DC5}"/>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5DFC9D1E-938F-4D72-B0BC-8FE878919487}"/>
              </a:ext>
            </a:extLst>
          </p:cNvPr>
          <p:cNvSpPr>
            <a:spLocks noGrp="1"/>
          </p:cNvSpPr>
          <p:nvPr>
            <p:ph type="title"/>
          </p:nvPr>
        </p:nvSpPr>
        <p:spPr/>
        <p:txBody>
          <a:bodyPr/>
          <a:lstStyle/>
          <a:p>
            <a:r>
              <a:rPr lang="nl-NL" dirty="0"/>
              <a:t>Wat kan </a:t>
            </a:r>
            <a:r>
              <a:rPr lang="nl-NL"/>
              <a:t>er nu al?</a:t>
            </a:r>
            <a:endParaRPr lang="nl-NL" dirty="0"/>
          </a:p>
        </p:txBody>
      </p:sp>
      <p:sp>
        <p:nvSpPr>
          <p:cNvPr id="4" name="Tijdelijke aanduiding voor tekst 3">
            <a:extLst>
              <a:ext uri="{FF2B5EF4-FFF2-40B4-BE49-F238E27FC236}">
                <a16:creationId xmlns:a16="http://schemas.microsoft.com/office/drawing/2014/main" id="{B7DD5F66-8AD7-19E1-39B8-A0F8591DD042}"/>
              </a:ext>
            </a:extLst>
          </p:cNvPr>
          <p:cNvSpPr>
            <a:spLocks noGrp="1"/>
          </p:cNvSpPr>
          <p:nvPr>
            <p:ph type="body" sz="quarter" idx="11"/>
          </p:nvPr>
        </p:nvSpPr>
        <p:spPr/>
        <p:txBody>
          <a:bodyPr/>
          <a:lstStyle/>
          <a:p>
            <a:r>
              <a:rPr lang="nl-NL" dirty="0"/>
              <a:t>Na inventarisatie en ronde tafel gesprek</a:t>
            </a:r>
          </a:p>
        </p:txBody>
      </p:sp>
      <p:sp>
        <p:nvSpPr>
          <p:cNvPr id="14" name="Tekstvak 13">
            <a:extLst>
              <a:ext uri="{FF2B5EF4-FFF2-40B4-BE49-F238E27FC236}">
                <a16:creationId xmlns:a16="http://schemas.microsoft.com/office/drawing/2014/main" id="{546F5EC3-9594-9BCF-9296-A5BB7309AB58}"/>
              </a:ext>
            </a:extLst>
          </p:cNvPr>
          <p:cNvSpPr txBox="1"/>
          <p:nvPr/>
        </p:nvSpPr>
        <p:spPr>
          <a:xfrm>
            <a:off x="1137006" y="4258786"/>
            <a:ext cx="2664994" cy="369332"/>
          </a:xfrm>
          <a:prstGeom prst="rect">
            <a:avLst/>
          </a:prstGeom>
          <a:noFill/>
        </p:spPr>
        <p:txBody>
          <a:bodyPr wrap="square">
            <a:spAutoFit/>
          </a:bodyPr>
          <a:lstStyle/>
          <a:p>
            <a:pPr algn="ctr"/>
            <a:r>
              <a:rPr lang="nl-NL" b="1"/>
              <a:t>Markpartijen</a:t>
            </a:r>
            <a:endParaRPr lang="nl-NL"/>
          </a:p>
        </p:txBody>
      </p:sp>
      <p:sp>
        <p:nvSpPr>
          <p:cNvPr id="15" name="Tekstvak 14">
            <a:extLst>
              <a:ext uri="{FF2B5EF4-FFF2-40B4-BE49-F238E27FC236}">
                <a16:creationId xmlns:a16="http://schemas.microsoft.com/office/drawing/2014/main" id="{A5D0728F-8DF1-A3B5-3714-329C4D370264}"/>
              </a:ext>
            </a:extLst>
          </p:cNvPr>
          <p:cNvSpPr txBox="1"/>
          <p:nvPr/>
        </p:nvSpPr>
        <p:spPr>
          <a:xfrm>
            <a:off x="5030202" y="4258786"/>
            <a:ext cx="2664994" cy="369332"/>
          </a:xfrm>
          <a:prstGeom prst="rect">
            <a:avLst/>
          </a:prstGeom>
          <a:noFill/>
        </p:spPr>
        <p:txBody>
          <a:bodyPr wrap="square">
            <a:spAutoFit/>
          </a:bodyPr>
          <a:lstStyle/>
          <a:p>
            <a:pPr algn="ctr"/>
            <a:r>
              <a:rPr lang="nl-NL" b="1"/>
              <a:t>Woningcorporaties</a:t>
            </a:r>
            <a:endParaRPr lang="nl-NL"/>
          </a:p>
        </p:txBody>
      </p:sp>
      <p:sp>
        <p:nvSpPr>
          <p:cNvPr id="16" name="Tekstvak 15">
            <a:extLst>
              <a:ext uri="{FF2B5EF4-FFF2-40B4-BE49-F238E27FC236}">
                <a16:creationId xmlns:a16="http://schemas.microsoft.com/office/drawing/2014/main" id="{60B92A08-C3D7-45A3-8D0C-6F14B2E341CC}"/>
              </a:ext>
            </a:extLst>
          </p:cNvPr>
          <p:cNvSpPr txBox="1"/>
          <p:nvPr/>
        </p:nvSpPr>
        <p:spPr>
          <a:xfrm>
            <a:off x="8799381" y="4258786"/>
            <a:ext cx="2664994" cy="369332"/>
          </a:xfrm>
          <a:prstGeom prst="rect">
            <a:avLst/>
          </a:prstGeom>
          <a:noFill/>
        </p:spPr>
        <p:txBody>
          <a:bodyPr wrap="square">
            <a:spAutoFit/>
          </a:bodyPr>
          <a:lstStyle/>
          <a:p>
            <a:pPr algn="ctr"/>
            <a:r>
              <a:rPr lang="nl-NL" b="1"/>
              <a:t>Overheid</a:t>
            </a:r>
            <a:endParaRPr lang="nl-NL"/>
          </a:p>
        </p:txBody>
      </p:sp>
      <p:sp>
        <p:nvSpPr>
          <p:cNvPr id="20" name="Tekstvak 19">
            <a:extLst>
              <a:ext uri="{FF2B5EF4-FFF2-40B4-BE49-F238E27FC236}">
                <a16:creationId xmlns:a16="http://schemas.microsoft.com/office/drawing/2014/main" id="{5453D704-EADF-4460-542E-8B5F63595965}"/>
              </a:ext>
            </a:extLst>
          </p:cNvPr>
          <p:cNvSpPr txBox="1"/>
          <p:nvPr/>
        </p:nvSpPr>
        <p:spPr>
          <a:xfrm>
            <a:off x="8427929" y="4628118"/>
            <a:ext cx="3407897" cy="1815882"/>
          </a:xfrm>
          <a:prstGeom prst="rect">
            <a:avLst/>
          </a:prstGeom>
          <a:noFill/>
        </p:spPr>
        <p:txBody>
          <a:bodyPr wrap="square">
            <a:spAutoFit/>
          </a:bodyPr>
          <a:lstStyle/>
          <a:p>
            <a:pPr marL="285750" indent="-285750">
              <a:buFont typeface="Arial" panose="020B0604020202020204" pitchFamily="34" charset="0"/>
              <a:buChar char="•"/>
            </a:pPr>
            <a:r>
              <a:rPr lang="nl-NL" sz="1600" dirty="0">
                <a:latin typeface="Muli (hoofdtekst)"/>
              </a:rPr>
              <a:t>Geef </a:t>
            </a:r>
            <a:r>
              <a:rPr lang="nl-NL" sz="1600" b="1" dirty="0">
                <a:latin typeface="Muli (hoofdtekst)"/>
              </a:rPr>
              <a:t>richting</a:t>
            </a:r>
            <a:r>
              <a:rPr lang="nl-NL" sz="1600" dirty="0">
                <a:latin typeface="Muli (hoofdtekst)"/>
              </a:rPr>
              <a:t> en werk aan </a:t>
            </a:r>
            <a:r>
              <a:rPr lang="nl-NL" sz="1600" b="1" dirty="0">
                <a:latin typeface="Muli (hoofdtekst)"/>
              </a:rPr>
              <a:t>bewustwording.</a:t>
            </a:r>
            <a:endParaRPr lang="nl-NL" sz="1600" dirty="0">
              <a:latin typeface="Muli (hoofdtekst)"/>
            </a:endParaRPr>
          </a:p>
          <a:p>
            <a:pPr marL="285750" indent="-285750">
              <a:buFont typeface="Arial" panose="020B0604020202020204" pitchFamily="34" charset="0"/>
              <a:buChar char="•"/>
            </a:pPr>
            <a:r>
              <a:rPr lang="nl-NL" sz="1600" dirty="0">
                <a:latin typeface="Muli (hoofdtekst)"/>
              </a:rPr>
              <a:t>Verbeter de </a:t>
            </a:r>
            <a:r>
              <a:rPr lang="nl-NL" sz="1600" b="1" dirty="0">
                <a:latin typeface="Muli (hoofdtekst)"/>
              </a:rPr>
              <a:t>randvoorwaarden</a:t>
            </a:r>
            <a:r>
              <a:rPr lang="nl-NL" sz="1600" dirty="0">
                <a:latin typeface="Muli (hoofdtekst)"/>
              </a:rPr>
              <a:t> van circulair.</a:t>
            </a:r>
          </a:p>
          <a:p>
            <a:pPr marL="285750" indent="-285750">
              <a:buFont typeface="Arial" panose="020B0604020202020204" pitchFamily="34" charset="0"/>
              <a:buChar char="•"/>
            </a:pPr>
            <a:r>
              <a:rPr lang="nl-NL" sz="1600" dirty="0">
                <a:latin typeface="Muli (hoofdtekst)"/>
              </a:rPr>
              <a:t>Maak beleid voor </a:t>
            </a:r>
            <a:r>
              <a:rPr lang="nl-NL" sz="1600" b="1" dirty="0">
                <a:latin typeface="Muli (hoofdtekst)"/>
              </a:rPr>
              <a:t>normering van milieuprestatie </a:t>
            </a:r>
            <a:r>
              <a:rPr lang="nl-NL" sz="1600" dirty="0">
                <a:latin typeface="Muli (hoofdtekst)"/>
              </a:rPr>
              <a:t>bestaande bouw / transformatie.</a:t>
            </a:r>
          </a:p>
        </p:txBody>
      </p:sp>
      <p:pic>
        <p:nvPicPr>
          <p:cNvPr id="7" name="Tijdelijke aanduiding voor inhoud 7">
            <a:extLst>
              <a:ext uri="{FF2B5EF4-FFF2-40B4-BE49-F238E27FC236}">
                <a16:creationId xmlns:a16="http://schemas.microsoft.com/office/drawing/2014/main" id="{649F4353-9D4C-B216-6C15-A44AD3D56A6E}"/>
              </a:ext>
            </a:extLst>
          </p:cNvPr>
          <p:cNvPicPr>
            <a:picLocks noGrp="1" noChangeAspect="1"/>
          </p:cNvPicPr>
          <p:nvPr>
            <p:ph sz="quarter" idx="12"/>
          </p:nvPr>
        </p:nvPicPr>
        <p:blipFill>
          <a:blip r:embed="rId3"/>
          <a:srcRect/>
          <a:stretch/>
        </p:blipFill>
        <p:spPr>
          <a:xfrm>
            <a:off x="916735" y="2103228"/>
            <a:ext cx="3105536" cy="2052340"/>
          </a:xfrm>
          <a:ln>
            <a:solidFill>
              <a:schemeClr val="tx1"/>
            </a:solidFill>
          </a:ln>
        </p:spPr>
      </p:pic>
      <p:pic>
        <p:nvPicPr>
          <p:cNvPr id="9" name="Tijdelijke aanduiding voor inhoud 7">
            <a:extLst>
              <a:ext uri="{FF2B5EF4-FFF2-40B4-BE49-F238E27FC236}">
                <a16:creationId xmlns:a16="http://schemas.microsoft.com/office/drawing/2014/main" id="{07341484-9986-2960-4A6F-7C7F2587020E}"/>
              </a:ext>
            </a:extLst>
          </p:cNvPr>
          <p:cNvPicPr>
            <a:picLocks noChangeAspect="1"/>
          </p:cNvPicPr>
          <p:nvPr/>
        </p:nvPicPr>
        <p:blipFill>
          <a:blip r:embed="rId4">
            <a:extLst>
              <a:ext uri="{837473B0-CC2E-450A-ABE3-18F120FF3D39}">
                <a1611:picAttrSrcUrl xmlns:a1611="http://schemas.microsoft.com/office/drawing/2016/11/main" r:id="rId5"/>
              </a:ext>
            </a:extLst>
          </a:blip>
          <a:srcRect t="28135" b="28135"/>
          <a:stretch/>
        </p:blipFill>
        <p:spPr>
          <a:xfrm>
            <a:off x="4809931" y="2103228"/>
            <a:ext cx="3105537" cy="2052340"/>
          </a:xfrm>
          <a:prstGeom prst="rect">
            <a:avLst/>
          </a:prstGeom>
          <a:ln>
            <a:solidFill>
              <a:schemeClr val="tx1"/>
            </a:solidFill>
          </a:ln>
        </p:spPr>
      </p:pic>
      <p:pic>
        <p:nvPicPr>
          <p:cNvPr id="17" name="Tijdelijke aanduiding voor inhoud 7">
            <a:extLst>
              <a:ext uri="{FF2B5EF4-FFF2-40B4-BE49-F238E27FC236}">
                <a16:creationId xmlns:a16="http://schemas.microsoft.com/office/drawing/2014/main" id="{E3940D31-D6A5-95AA-B9A8-4B907BD5AB32}"/>
              </a:ext>
            </a:extLst>
          </p:cNvPr>
          <p:cNvPicPr>
            <a:picLocks noChangeAspect="1"/>
          </p:cNvPicPr>
          <p:nvPr/>
        </p:nvPicPr>
        <p:blipFill>
          <a:blip r:embed="rId6"/>
          <a:srcRect l="25350" r="21402"/>
          <a:stretch>
            <a:fillRect/>
          </a:stretch>
        </p:blipFill>
        <p:spPr>
          <a:xfrm>
            <a:off x="8703128" y="2098472"/>
            <a:ext cx="2857500" cy="2062103"/>
          </a:xfrm>
          <a:prstGeom prst="rect">
            <a:avLst/>
          </a:prstGeom>
          <a:ln>
            <a:solidFill>
              <a:schemeClr val="tx1"/>
            </a:solidFill>
          </a:ln>
        </p:spPr>
      </p:pic>
      <p:sp>
        <p:nvSpPr>
          <p:cNvPr id="21" name="Tekstvak 20">
            <a:extLst>
              <a:ext uri="{FF2B5EF4-FFF2-40B4-BE49-F238E27FC236}">
                <a16:creationId xmlns:a16="http://schemas.microsoft.com/office/drawing/2014/main" id="{46B7B3E9-7D83-0662-A8C3-8BBECA0D1C9A}"/>
              </a:ext>
            </a:extLst>
          </p:cNvPr>
          <p:cNvSpPr txBox="1"/>
          <p:nvPr/>
        </p:nvSpPr>
        <p:spPr>
          <a:xfrm>
            <a:off x="4687316" y="4648158"/>
            <a:ext cx="3645698" cy="1569660"/>
          </a:xfrm>
          <a:prstGeom prst="rect">
            <a:avLst/>
          </a:prstGeom>
          <a:noFill/>
        </p:spPr>
        <p:txBody>
          <a:bodyPr wrap="square">
            <a:spAutoFit/>
          </a:bodyPr>
          <a:lstStyle/>
          <a:p>
            <a:pPr marL="285750" indent="-285750">
              <a:buFont typeface="Arial" panose="020B0604020202020204" pitchFamily="34" charset="0"/>
              <a:buChar char="•"/>
            </a:pPr>
            <a:r>
              <a:rPr lang="nl-NL" sz="1600" dirty="0">
                <a:latin typeface="Muli (hoofdtekst)"/>
              </a:rPr>
              <a:t>Veranker circulair renoveren in </a:t>
            </a:r>
            <a:r>
              <a:rPr lang="nl-NL" sz="1600" b="1" dirty="0">
                <a:latin typeface="Muli (hoofdtekst)"/>
              </a:rPr>
              <a:t>strategie en beleid</a:t>
            </a:r>
            <a:r>
              <a:rPr lang="nl-NL" sz="1600" dirty="0">
                <a:latin typeface="Muli (hoofdtekst)"/>
              </a:rPr>
              <a:t>.</a:t>
            </a:r>
          </a:p>
          <a:p>
            <a:pPr marL="285750" indent="-285750">
              <a:buFont typeface="Arial" panose="020B0604020202020204" pitchFamily="34" charset="0"/>
              <a:buChar char="•"/>
            </a:pPr>
            <a:r>
              <a:rPr lang="nl-NL" sz="1600" dirty="0">
                <a:latin typeface="Muli (hoofdtekst)"/>
              </a:rPr>
              <a:t>Integreer </a:t>
            </a:r>
            <a:r>
              <a:rPr lang="nl-NL" sz="1600" b="1" dirty="0">
                <a:latin typeface="Muli (hoofdtekst)"/>
              </a:rPr>
              <a:t>circulaire ambities </a:t>
            </a:r>
            <a:r>
              <a:rPr lang="nl-NL" sz="1600" dirty="0">
                <a:latin typeface="Muli (hoofdtekst)"/>
              </a:rPr>
              <a:t>in het </a:t>
            </a:r>
            <a:r>
              <a:rPr lang="nl-NL" sz="1600" dirty="0" err="1">
                <a:latin typeface="Muli (hoofdtekst)"/>
              </a:rPr>
              <a:t>PvE</a:t>
            </a:r>
            <a:r>
              <a:rPr lang="nl-NL" sz="1600" dirty="0">
                <a:latin typeface="Muli (hoofdtekst)"/>
              </a:rPr>
              <a:t> en bied ruimte in de technische omschrijving. </a:t>
            </a:r>
          </a:p>
          <a:p>
            <a:pPr marL="285750" indent="-285750">
              <a:buFont typeface="Arial" panose="020B0604020202020204" pitchFamily="34" charset="0"/>
              <a:buChar char="•"/>
            </a:pPr>
            <a:r>
              <a:rPr lang="nl-NL" sz="1600" b="1" dirty="0">
                <a:latin typeface="Muli (hoofdtekst)"/>
              </a:rPr>
              <a:t>Vraag de CO</a:t>
            </a:r>
            <a:r>
              <a:rPr lang="nl-NL" sz="1600" b="1" baseline="-25000" dirty="0">
                <a:latin typeface="Muli (hoofdtekst)"/>
              </a:rPr>
              <a:t>2</a:t>
            </a:r>
            <a:r>
              <a:rPr lang="nl-NL" sz="1600" b="1" dirty="0">
                <a:latin typeface="Muli (hoofdtekst)"/>
              </a:rPr>
              <a:t>-prestatie uit.</a:t>
            </a:r>
          </a:p>
        </p:txBody>
      </p:sp>
      <p:sp>
        <p:nvSpPr>
          <p:cNvPr id="22" name="Tekstvak 21">
            <a:extLst>
              <a:ext uri="{FF2B5EF4-FFF2-40B4-BE49-F238E27FC236}">
                <a16:creationId xmlns:a16="http://schemas.microsoft.com/office/drawing/2014/main" id="{16AD7EE8-F8DE-057F-4B14-E600028421AF}"/>
              </a:ext>
            </a:extLst>
          </p:cNvPr>
          <p:cNvSpPr txBox="1"/>
          <p:nvPr/>
        </p:nvSpPr>
        <p:spPr>
          <a:xfrm>
            <a:off x="784253" y="4628118"/>
            <a:ext cx="3645698" cy="1815882"/>
          </a:xfrm>
          <a:prstGeom prst="rect">
            <a:avLst/>
          </a:prstGeom>
          <a:noFill/>
        </p:spPr>
        <p:txBody>
          <a:bodyPr wrap="square">
            <a:spAutoFit/>
          </a:bodyPr>
          <a:lstStyle/>
          <a:p>
            <a:pPr marL="285750" indent="-285750">
              <a:buFont typeface="Arial" panose="020B0604020202020204" pitchFamily="34" charset="0"/>
              <a:buChar char="•"/>
            </a:pPr>
            <a:r>
              <a:rPr lang="nl-NL" sz="1600" dirty="0">
                <a:latin typeface="Muli (hoofdtekst)"/>
              </a:rPr>
              <a:t>Veranker circulair renoveren in </a:t>
            </a:r>
            <a:r>
              <a:rPr lang="nl-NL" sz="1600" b="1" dirty="0">
                <a:latin typeface="Muli (hoofdtekst)"/>
              </a:rPr>
              <a:t>strategie en beleid</a:t>
            </a:r>
            <a:r>
              <a:rPr lang="nl-NL" sz="1600" dirty="0">
                <a:latin typeface="Muli (hoofdtekst)"/>
              </a:rPr>
              <a:t>.</a:t>
            </a:r>
          </a:p>
          <a:p>
            <a:pPr marL="285750" indent="-285750">
              <a:buFont typeface="Arial" panose="020B0604020202020204" pitchFamily="34" charset="0"/>
              <a:buChar char="•"/>
            </a:pPr>
            <a:r>
              <a:rPr lang="nl-NL" sz="1600" b="1" dirty="0">
                <a:latin typeface="Muli (hoofdtekst)"/>
              </a:rPr>
              <a:t>Investeer</a:t>
            </a:r>
            <a:r>
              <a:rPr lang="nl-NL" sz="1600" dirty="0">
                <a:latin typeface="Muli (hoofdtekst)"/>
              </a:rPr>
              <a:t> in capaciteit, expertise en kennis(deling).</a:t>
            </a:r>
          </a:p>
          <a:p>
            <a:pPr marL="285750" indent="-285750">
              <a:buFont typeface="Arial" panose="020B0604020202020204" pitchFamily="34" charset="0"/>
              <a:buChar char="•"/>
            </a:pPr>
            <a:r>
              <a:rPr lang="nl-NL" sz="1600" b="1" dirty="0">
                <a:latin typeface="Muli (hoofdtekst)"/>
              </a:rPr>
              <a:t>Bied de CO</a:t>
            </a:r>
            <a:r>
              <a:rPr lang="nl-NL" sz="1600" b="1" baseline="-25000" dirty="0">
                <a:latin typeface="Muli (hoofdtekst)"/>
              </a:rPr>
              <a:t>2</a:t>
            </a:r>
            <a:r>
              <a:rPr lang="nl-NL" sz="1600" b="1" dirty="0">
                <a:latin typeface="Muli (hoofdtekst)"/>
              </a:rPr>
              <a:t>-prestatie aan</a:t>
            </a:r>
            <a:r>
              <a:rPr lang="nl-NL" sz="1600" dirty="0">
                <a:latin typeface="Muli (hoofdtekst)"/>
              </a:rPr>
              <a:t> en bied vrijblijvend circulaire alternatieven aan.</a:t>
            </a:r>
          </a:p>
        </p:txBody>
      </p:sp>
      <p:pic>
        <p:nvPicPr>
          <p:cNvPr id="2" name="Picture 2" descr="Van Wijnen | Samen bouwen aan ruimte voor een beter leven |">
            <a:extLst>
              <a:ext uri="{FF2B5EF4-FFF2-40B4-BE49-F238E27FC236}">
                <a16:creationId xmlns:a16="http://schemas.microsoft.com/office/drawing/2014/main" id="{4A33DCE1-2EF1-E6B1-9C0A-1E1EEF9ADB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54858" y="541917"/>
            <a:ext cx="991017" cy="208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Door sociaal en technisch te innoveren de transitie naar duurzame en vitale  wijken versnellen. Voor iedereen!">
            <a:extLst>
              <a:ext uri="{FF2B5EF4-FFF2-40B4-BE49-F238E27FC236}">
                <a16:creationId xmlns:a16="http://schemas.microsoft.com/office/drawing/2014/main" id="{79B967FC-185A-6FFF-C7CF-93A93479E1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17425" y="914661"/>
            <a:ext cx="728775" cy="3855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Bedrijfinfo: Rutges Vernieuwt - BKO">
            <a:extLst>
              <a:ext uri="{FF2B5EF4-FFF2-40B4-BE49-F238E27FC236}">
                <a16:creationId xmlns:a16="http://schemas.microsoft.com/office/drawing/2014/main" id="{8F684E1F-F955-91BA-0875-8E4F901B8B8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36400" y="501411"/>
            <a:ext cx="1347032" cy="28975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STRATEGISCH RENOVEREN EN ONDERHOUDEN VAN VASTGOED">
            <a:extLst>
              <a:ext uri="{FF2B5EF4-FFF2-40B4-BE49-F238E27FC236}">
                <a16:creationId xmlns:a16="http://schemas.microsoft.com/office/drawing/2014/main" id="{D2C8031E-06A3-5B4A-17A2-093A857E7F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66621" y="593964"/>
            <a:ext cx="812615" cy="1046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Dura Vermeer - Klift Roest">
            <a:extLst>
              <a:ext uri="{FF2B5EF4-FFF2-40B4-BE49-F238E27FC236}">
                <a16:creationId xmlns:a16="http://schemas.microsoft.com/office/drawing/2014/main" id="{20629150-2CE4-430D-F767-778B9303C2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56001" y="791163"/>
            <a:ext cx="1039733" cy="680640"/>
          </a:xfrm>
          <a:prstGeom prst="rect">
            <a:avLst/>
          </a:prstGeom>
          <a:noFill/>
          <a:extLst>
            <a:ext uri="{909E8E84-426E-40DD-AFC4-6F175D3DCCD1}">
              <a14:hiddenFill xmlns:a14="http://schemas.microsoft.com/office/drawing/2010/main">
                <a:solidFill>
                  <a:srgbClr val="FFFFFF"/>
                </a:solidFill>
              </a14:hiddenFill>
            </a:ext>
          </a:extLst>
        </p:spPr>
      </p:pic>
      <p:pic>
        <p:nvPicPr>
          <p:cNvPr id="13" name="Afbeelding 12">
            <a:extLst>
              <a:ext uri="{FF2B5EF4-FFF2-40B4-BE49-F238E27FC236}">
                <a16:creationId xmlns:a16="http://schemas.microsoft.com/office/drawing/2014/main" id="{7BEA0338-FFBD-B006-3C8A-A61607AB16B6}"/>
              </a:ext>
            </a:extLst>
          </p:cNvPr>
          <p:cNvPicPr>
            <a:picLocks noChangeAspect="1"/>
          </p:cNvPicPr>
          <p:nvPr/>
        </p:nvPicPr>
        <p:blipFill>
          <a:blip r:embed="rId12"/>
          <a:stretch>
            <a:fillRect/>
          </a:stretch>
        </p:blipFill>
        <p:spPr>
          <a:xfrm>
            <a:off x="10500823" y="881077"/>
            <a:ext cx="733451" cy="425583"/>
          </a:xfrm>
          <a:prstGeom prst="rect">
            <a:avLst/>
          </a:prstGeom>
        </p:spPr>
      </p:pic>
      <p:pic>
        <p:nvPicPr>
          <p:cNvPr id="10" name="Picture 2" descr="BOS Groep Techniek - installatietechniek, dakwerk en solartechniek">
            <a:extLst>
              <a:ext uri="{FF2B5EF4-FFF2-40B4-BE49-F238E27FC236}">
                <a16:creationId xmlns:a16="http://schemas.microsoft.com/office/drawing/2014/main" id="{A328605A-691E-F488-7DA6-0791E815BD7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85618" y="983612"/>
            <a:ext cx="729850" cy="31228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A94BD0B-A0A0-4732-E242-730217C98E55}"/>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633080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20" grpId="0"/>
      <p:bldP spid="2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100730-9FC1-64E6-79A6-2918C84CFD38}"/>
              </a:ext>
            </a:extLst>
          </p:cNvPr>
          <p:cNvSpPr>
            <a:spLocks noGrp="1"/>
          </p:cNvSpPr>
          <p:nvPr>
            <p:ph type="ctrTitle"/>
          </p:nvPr>
        </p:nvSpPr>
        <p:spPr>
          <a:xfrm>
            <a:off x="259324" y="846593"/>
            <a:ext cx="5567318" cy="2505301"/>
          </a:xfrm>
        </p:spPr>
        <p:txBody>
          <a:bodyPr/>
          <a:lstStyle/>
          <a:p>
            <a:r>
              <a:rPr lang="nl-NL" sz="4800" dirty="0"/>
              <a:t>ROM: Regionale </a:t>
            </a:r>
            <a:r>
              <a:rPr lang="nl-NL" sz="4800" dirty="0" err="1"/>
              <a:t>Ontwikkelings-maatschappij</a:t>
            </a:r>
            <a:endParaRPr lang="nl-NL" sz="4800" dirty="0"/>
          </a:p>
        </p:txBody>
      </p:sp>
      <p:sp>
        <p:nvSpPr>
          <p:cNvPr id="3" name="Ondertitel 2">
            <a:extLst>
              <a:ext uri="{FF2B5EF4-FFF2-40B4-BE49-F238E27FC236}">
                <a16:creationId xmlns:a16="http://schemas.microsoft.com/office/drawing/2014/main" id="{C0BC546B-02AC-ABDC-1ADD-7E33B0C7E85B}"/>
              </a:ext>
            </a:extLst>
          </p:cNvPr>
          <p:cNvSpPr>
            <a:spLocks noGrp="1"/>
          </p:cNvSpPr>
          <p:nvPr>
            <p:ph type="subTitle" idx="1"/>
          </p:nvPr>
        </p:nvSpPr>
        <p:spPr>
          <a:xfrm>
            <a:off x="259324" y="3429000"/>
            <a:ext cx="4536000" cy="582147"/>
          </a:xfrm>
        </p:spPr>
        <p:txBody>
          <a:bodyPr/>
          <a:lstStyle/>
          <a:p>
            <a:r>
              <a:rPr lang="nl-NL" sz="1800" dirty="0"/>
              <a:t>Wij openen deuren voor innovatieve ondernemers</a:t>
            </a:r>
            <a:endParaRPr lang="nl-NL" sz="1800" dirty="0">
              <a:highlight>
                <a:srgbClr val="FFFF00"/>
              </a:highlight>
            </a:endParaRPr>
          </a:p>
        </p:txBody>
      </p:sp>
      <p:sp>
        <p:nvSpPr>
          <p:cNvPr id="4" name="Tijdelijke aanduiding voor tekst 3">
            <a:extLst>
              <a:ext uri="{FF2B5EF4-FFF2-40B4-BE49-F238E27FC236}">
                <a16:creationId xmlns:a16="http://schemas.microsoft.com/office/drawing/2014/main" id="{CF7265A4-984D-0E26-34CD-14F42635DA2A}"/>
              </a:ext>
            </a:extLst>
          </p:cNvPr>
          <p:cNvSpPr>
            <a:spLocks noGrp="1"/>
          </p:cNvSpPr>
          <p:nvPr>
            <p:ph type="body" idx="10"/>
          </p:nvPr>
        </p:nvSpPr>
        <p:spPr>
          <a:xfrm>
            <a:off x="259324" y="572258"/>
            <a:ext cx="1485302" cy="183600"/>
          </a:xfrm>
        </p:spPr>
        <p:txBody>
          <a:bodyPr/>
          <a:lstStyle/>
          <a:p>
            <a:r>
              <a:rPr lang="nl-NL" sz="1200" dirty="0"/>
              <a:t>Introductie</a:t>
            </a:r>
          </a:p>
        </p:txBody>
      </p:sp>
      <p:pic>
        <p:nvPicPr>
          <p:cNvPr id="11" name="Tijdelijke aanduiding voor afbeelding 10">
            <a:extLst>
              <a:ext uri="{FF2B5EF4-FFF2-40B4-BE49-F238E27FC236}">
                <a16:creationId xmlns:a16="http://schemas.microsoft.com/office/drawing/2014/main" id="{4B1B5B70-1198-E12A-2EC2-92163F9EAC66}"/>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3280" r="23280"/>
          <a:stretch/>
        </p:blipFill>
        <p:spPr>
          <a:blipFill>
            <a:blip r:embed="rId4"/>
            <a:stretch>
              <a:fillRect/>
            </a:stretch>
          </a:blipFill>
        </p:spPr>
      </p:pic>
    </p:spTree>
    <p:extLst>
      <p:ext uri="{BB962C8B-B14F-4D97-AF65-F5344CB8AC3E}">
        <p14:creationId xmlns:p14="http://schemas.microsoft.com/office/powerpoint/2010/main" val="8933905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442B7-FE3C-F8BC-3DC0-18DE2C076E9C}"/>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A23A53EE-4A79-79D5-4F85-0F60441CE20E}"/>
              </a:ext>
            </a:extLst>
          </p:cNvPr>
          <p:cNvSpPr>
            <a:spLocks noGrp="1"/>
          </p:cNvSpPr>
          <p:nvPr>
            <p:ph type="title"/>
          </p:nvPr>
        </p:nvSpPr>
        <p:spPr/>
        <p:txBody>
          <a:bodyPr/>
          <a:lstStyle/>
          <a:p>
            <a:r>
              <a:rPr lang="nl-NL" dirty="0"/>
              <a:t>Wat moeten we samen oppakken?</a:t>
            </a:r>
          </a:p>
        </p:txBody>
      </p:sp>
      <p:sp>
        <p:nvSpPr>
          <p:cNvPr id="4" name="Tijdelijke aanduiding voor tekst 3">
            <a:extLst>
              <a:ext uri="{FF2B5EF4-FFF2-40B4-BE49-F238E27FC236}">
                <a16:creationId xmlns:a16="http://schemas.microsoft.com/office/drawing/2014/main" id="{91756342-0928-20DE-FC4F-3FB1E6C58397}"/>
              </a:ext>
            </a:extLst>
          </p:cNvPr>
          <p:cNvSpPr>
            <a:spLocks noGrp="1"/>
          </p:cNvSpPr>
          <p:nvPr>
            <p:ph type="body" sz="quarter" idx="11"/>
          </p:nvPr>
        </p:nvSpPr>
        <p:spPr/>
        <p:txBody>
          <a:bodyPr/>
          <a:lstStyle/>
          <a:p>
            <a:r>
              <a:rPr lang="nl-NL" dirty="0"/>
              <a:t>De vervolgstappen</a:t>
            </a:r>
          </a:p>
        </p:txBody>
      </p:sp>
      <p:pic>
        <p:nvPicPr>
          <p:cNvPr id="11" name="Tijdelijke aanduiding voor inhoud 7">
            <a:extLst>
              <a:ext uri="{FF2B5EF4-FFF2-40B4-BE49-F238E27FC236}">
                <a16:creationId xmlns:a16="http://schemas.microsoft.com/office/drawing/2014/main" id="{ED87622F-6967-0A89-0CBA-1450A07CF542}"/>
              </a:ext>
            </a:extLst>
          </p:cNvPr>
          <p:cNvPicPr>
            <a:picLocks/>
          </p:cNvPicPr>
          <p:nvPr/>
        </p:nvPicPr>
        <p:blipFill>
          <a:blip r:embed="rId3"/>
          <a:srcRect l="10461" r="12664"/>
          <a:stretch>
            <a:fillRect/>
          </a:stretch>
        </p:blipFill>
        <p:spPr>
          <a:xfrm>
            <a:off x="5080426" y="2240938"/>
            <a:ext cx="2052000" cy="2052340"/>
          </a:xfrm>
          <a:prstGeom prst="rect">
            <a:avLst/>
          </a:prstGeom>
          <a:ln>
            <a:solidFill>
              <a:schemeClr val="tx1"/>
            </a:solidFill>
          </a:ln>
        </p:spPr>
      </p:pic>
      <p:sp>
        <p:nvSpPr>
          <p:cNvPr id="14" name="Tekstvak 13">
            <a:extLst>
              <a:ext uri="{FF2B5EF4-FFF2-40B4-BE49-F238E27FC236}">
                <a16:creationId xmlns:a16="http://schemas.microsoft.com/office/drawing/2014/main" id="{CE9B8C9B-E16E-7070-1314-5AC47851DB6B}"/>
              </a:ext>
            </a:extLst>
          </p:cNvPr>
          <p:cNvSpPr txBox="1"/>
          <p:nvPr/>
        </p:nvSpPr>
        <p:spPr>
          <a:xfrm>
            <a:off x="976134" y="4495798"/>
            <a:ext cx="2664994" cy="646331"/>
          </a:xfrm>
          <a:prstGeom prst="rect">
            <a:avLst/>
          </a:prstGeom>
          <a:noFill/>
        </p:spPr>
        <p:txBody>
          <a:bodyPr wrap="square">
            <a:spAutoFit/>
          </a:bodyPr>
          <a:lstStyle/>
          <a:p>
            <a:pPr algn="ctr"/>
            <a:r>
              <a:rPr lang="nl-NL" b="1" dirty="0"/>
              <a:t>Ontwikkel een eenduidige taal</a:t>
            </a:r>
            <a:endParaRPr lang="nl-NL" dirty="0"/>
          </a:p>
        </p:txBody>
      </p:sp>
      <p:sp>
        <p:nvSpPr>
          <p:cNvPr id="15" name="Tekstvak 14">
            <a:extLst>
              <a:ext uri="{FF2B5EF4-FFF2-40B4-BE49-F238E27FC236}">
                <a16:creationId xmlns:a16="http://schemas.microsoft.com/office/drawing/2014/main" id="{C8A93E87-E1B2-B0F6-425C-CBAFEBCAA072}"/>
              </a:ext>
            </a:extLst>
          </p:cNvPr>
          <p:cNvSpPr txBox="1"/>
          <p:nvPr/>
        </p:nvSpPr>
        <p:spPr>
          <a:xfrm>
            <a:off x="4637552" y="4495798"/>
            <a:ext cx="2664994" cy="646331"/>
          </a:xfrm>
          <a:prstGeom prst="rect">
            <a:avLst/>
          </a:prstGeom>
          <a:noFill/>
        </p:spPr>
        <p:txBody>
          <a:bodyPr wrap="square">
            <a:spAutoFit/>
          </a:bodyPr>
          <a:lstStyle/>
          <a:p>
            <a:pPr algn="ctr"/>
            <a:r>
              <a:rPr lang="nl-NL" b="1" dirty="0"/>
              <a:t>Meer inzichten in renovatieprojecten</a:t>
            </a:r>
            <a:endParaRPr lang="nl-NL" dirty="0"/>
          </a:p>
        </p:txBody>
      </p:sp>
      <p:sp>
        <p:nvSpPr>
          <p:cNvPr id="18" name="Tekstvak 17">
            <a:extLst>
              <a:ext uri="{FF2B5EF4-FFF2-40B4-BE49-F238E27FC236}">
                <a16:creationId xmlns:a16="http://schemas.microsoft.com/office/drawing/2014/main" id="{438C162B-F06C-7E25-C800-4F1C60A98F6B}"/>
              </a:ext>
            </a:extLst>
          </p:cNvPr>
          <p:cNvSpPr txBox="1"/>
          <p:nvPr/>
        </p:nvSpPr>
        <p:spPr>
          <a:xfrm>
            <a:off x="871278" y="5183764"/>
            <a:ext cx="2874706" cy="1477328"/>
          </a:xfrm>
          <a:prstGeom prst="rect">
            <a:avLst/>
          </a:prstGeom>
          <a:noFill/>
        </p:spPr>
        <p:txBody>
          <a:bodyPr wrap="square">
            <a:spAutoFit/>
          </a:bodyPr>
          <a:lstStyle/>
          <a:p>
            <a:pPr marL="0" indent="0" algn="ctr">
              <a:buNone/>
            </a:pPr>
            <a:r>
              <a:rPr lang="nl-NL" dirty="0"/>
              <a:t>Rekenmethodiek voor o.a. Materiaalgebonden CO2 uitstoot voor renovaties.</a:t>
            </a:r>
          </a:p>
          <a:p>
            <a:pPr marL="0" indent="0" algn="ctr">
              <a:buNone/>
            </a:pPr>
            <a:endParaRPr lang="nl-NL" dirty="0"/>
          </a:p>
        </p:txBody>
      </p:sp>
      <p:sp>
        <p:nvSpPr>
          <p:cNvPr id="19" name="Tekstvak 18">
            <a:extLst>
              <a:ext uri="{FF2B5EF4-FFF2-40B4-BE49-F238E27FC236}">
                <a16:creationId xmlns:a16="http://schemas.microsoft.com/office/drawing/2014/main" id="{6E254A50-644D-DFF2-E801-D7EBF62FB2AF}"/>
              </a:ext>
            </a:extLst>
          </p:cNvPr>
          <p:cNvSpPr txBox="1"/>
          <p:nvPr/>
        </p:nvSpPr>
        <p:spPr>
          <a:xfrm>
            <a:off x="4610356" y="5183764"/>
            <a:ext cx="2874706" cy="1200329"/>
          </a:xfrm>
          <a:prstGeom prst="rect">
            <a:avLst/>
          </a:prstGeom>
          <a:noFill/>
        </p:spPr>
        <p:txBody>
          <a:bodyPr wrap="square">
            <a:spAutoFit/>
          </a:bodyPr>
          <a:lstStyle/>
          <a:p>
            <a:pPr marL="0" indent="0" algn="ctr">
              <a:buNone/>
            </a:pPr>
            <a:r>
              <a:rPr lang="nl-NL" dirty="0"/>
              <a:t>Meer data en inzicht in typologieën werkt door in rekenmethodieken, grenswaarden en beleid. </a:t>
            </a:r>
          </a:p>
        </p:txBody>
      </p:sp>
      <p:pic>
        <p:nvPicPr>
          <p:cNvPr id="5" name="Tijdelijke aanduiding voor inhoud 7" descr="Rechter die een houten hamer vasthoudt">
            <a:hlinkClick r:id="" action="ppaction://noaction" highlightClick="1"/>
            <a:extLst>
              <a:ext uri="{FF2B5EF4-FFF2-40B4-BE49-F238E27FC236}">
                <a16:creationId xmlns:a16="http://schemas.microsoft.com/office/drawing/2014/main" id="{395B2AEC-1FE0-96C3-EB78-4E79429F7B85}"/>
              </a:ext>
            </a:extLst>
          </p:cNvPr>
          <p:cNvPicPr>
            <a:picLocks/>
          </p:cNvPicPr>
          <p:nvPr/>
        </p:nvPicPr>
        <p:blipFill>
          <a:blip r:embed="rId4"/>
          <a:srcRect l="6648" t="4961" r="6319" b="4961"/>
          <a:stretch>
            <a:fillRect/>
          </a:stretch>
        </p:blipFill>
        <p:spPr>
          <a:xfrm>
            <a:off x="8796777" y="2240938"/>
            <a:ext cx="2052000" cy="2052000"/>
          </a:xfrm>
          <a:prstGeom prst="actionButtonBlank">
            <a:avLst/>
          </a:prstGeom>
          <a:ln>
            <a:solidFill>
              <a:schemeClr val="tx1"/>
            </a:solidFill>
          </a:ln>
        </p:spPr>
      </p:pic>
      <p:sp>
        <p:nvSpPr>
          <p:cNvPr id="6" name="Tekstvak 5">
            <a:extLst>
              <a:ext uri="{FF2B5EF4-FFF2-40B4-BE49-F238E27FC236}">
                <a16:creationId xmlns:a16="http://schemas.microsoft.com/office/drawing/2014/main" id="{6B86D9F3-BF1B-6DE8-45EF-EF64B9E92023}"/>
              </a:ext>
            </a:extLst>
          </p:cNvPr>
          <p:cNvSpPr txBox="1"/>
          <p:nvPr/>
        </p:nvSpPr>
        <p:spPr>
          <a:xfrm>
            <a:off x="8385424" y="4495798"/>
            <a:ext cx="2874706" cy="646331"/>
          </a:xfrm>
          <a:prstGeom prst="rect">
            <a:avLst/>
          </a:prstGeom>
          <a:noFill/>
        </p:spPr>
        <p:txBody>
          <a:bodyPr wrap="square">
            <a:spAutoFit/>
          </a:bodyPr>
          <a:lstStyle/>
          <a:p>
            <a:pPr algn="ctr"/>
            <a:r>
              <a:rPr lang="nl-NL" b="1" dirty="0"/>
              <a:t>Onderzoek juridische en technische barrières </a:t>
            </a:r>
            <a:endParaRPr lang="nl-NL" dirty="0"/>
          </a:p>
        </p:txBody>
      </p:sp>
      <p:sp>
        <p:nvSpPr>
          <p:cNvPr id="7" name="Tekstvak 6">
            <a:extLst>
              <a:ext uri="{FF2B5EF4-FFF2-40B4-BE49-F238E27FC236}">
                <a16:creationId xmlns:a16="http://schemas.microsoft.com/office/drawing/2014/main" id="{36411DAE-EE29-E135-0C64-29ABD0FD0657}"/>
              </a:ext>
            </a:extLst>
          </p:cNvPr>
          <p:cNvSpPr txBox="1"/>
          <p:nvPr/>
        </p:nvSpPr>
        <p:spPr>
          <a:xfrm>
            <a:off x="8385424" y="5183764"/>
            <a:ext cx="2874706" cy="1477328"/>
          </a:xfrm>
          <a:prstGeom prst="rect">
            <a:avLst/>
          </a:prstGeom>
          <a:noFill/>
        </p:spPr>
        <p:txBody>
          <a:bodyPr wrap="square">
            <a:spAutoFit/>
          </a:bodyPr>
          <a:lstStyle/>
          <a:p>
            <a:pPr marL="0" indent="0" algn="ctr">
              <a:buNone/>
            </a:pPr>
            <a:r>
              <a:rPr lang="nl-NL" dirty="0"/>
              <a:t>Toepassen van hergebruikte materialen of installatie-arme concepten kan en mag nu nog niet altijd.</a:t>
            </a:r>
          </a:p>
        </p:txBody>
      </p:sp>
      <p:pic>
        <p:nvPicPr>
          <p:cNvPr id="9" name="Tijdelijke aanduiding voor inhoud 7">
            <a:extLst>
              <a:ext uri="{FF2B5EF4-FFF2-40B4-BE49-F238E27FC236}">
                <a16:creationId xmlns:a16="http://schemas.microsoft.com/office/drawing/2014/main" id="{2718F9F5-6AF3-771C-0A41-BAC1448FC2A0}"/>
              </a:ext>
            </a:extLst>
          </p:cNvPr>
          <p:cNvPicPr>
            <a:picLocks noChangeAspect="1"/>
          </p:cNvPicPr>
          <p:nvPr/>
        </p:nvPicPr>
        <p:blipFill>
          <a:blip r:embed="rId5"/>
          <a:srcRect l="14397" t="14715" r="21901" b="21583"/>
          <a:stretch>
            <a:fillRect/>
          </a:stretch>
        </p:blipFill>
        <p:spPr>
          <a:xfrm>
            <a:off x="1282461" y="2240938"/>
            <a:ext cx="2052340" cy="2052340"/>
          </a:xfrm>
          <a:prstGeom prst="rect">
            <a:avLst/>
          </a:prstGeom>
          <a:ln>
            <a:solidFill>
              <a:schemeClr val="tx1"/>
            </a:solidFill>
          </a:ln>
        </p:spPr>
      </p:pic>
      <p:pic>
        <p:nvPicPr>
          <p:cNvPr id="2" name="Afbeelding 14" descr="Afbeelding met tekst, cirkel, logo, Lettertype&#10;&#10;Automatisch gegenereerde beschrijving">
            <a:extLst>
              <a:ext uri="{FF2B5EF4-FFF2-40B4-BE49-F238E27FC236}">
                <a16:creationId xmlns:a16="http://schemas.microsoft.com/office/drawing/2014/main" id="{731354AE-F269-B7DF-AB33-7FDD1494FE77}"/>
              </a:ext>
            </a:extLst>
          </p:cNvPr>
          <p:cNvPicPr/>
          <p:nvPr/>
        </p:nvPicPr>
        <p:blipFill>
          <a:blip r:embed="rId6"/>
          <a:stretch>
            <a:fillRect/>
          </a:stretch>
        </p:blipFill>
        <p:spPr>
          <a:xfrm>
            <a:off x="10880745" y="200596"/>
            <a:ext cx="1097623" cy="1097623"/>
          </a:xfrm>
          <a:prstGeom prst="rect">
            <a:avLst/>
          </a:prstGeom>
        </p:spPr>
      </p:pic>
      <p:cxnSp>
        <p:nvCxnSpPr>
          <p:cNvPr id="8" name="Straight Connector 7">
            <a:extLst>
              <a:ext uri="{FF2B5EF4-FFF2-40B4-BE49-F238E27FC236}">
                <a16:creationId xmlns:a16="http://schemas.microsoft.com/office/drawing/2014/main" id="{5343A4E6-5573-2D16-28F1-56006998E78E}"/>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580934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p:bldP spid="6"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CF50E5-09DD-4E25-0D8C-3C86FF025AA3}"/>
              </a:ext>
            </a:extLst>
          </p:cNvPr>
          <p:cNvSpPr>
            <a:spLocks noGrp="1"/>
          </p:cNvSpPr>
          <p:nvPr>
            <p:ph type="ctrTitle"/>
          </p:nvPr>
        </p:nvSpPr>
        <p:spPr>
          <a:xfrm>
            <a:off x="1524000" y="367631"/>
            <a:ext cx="9144000" cy="2387600"/>
          </a:xfrm>
        </p:spPr>
        <p:txBody>
          <a:bodyPr/>
          <a:lstStyle/>
          <a:p>
            <a:r>
              <a:rPr lang="nl-NL" dirty="0"/>
              <a:t>Waarmee kan jij aan de slag?</a:t>
            </a:r>
          </a:p>
        </p:txBody>
      </p:sp>
      <p:pic>
        <p:nvPicPr>
          <p:cNvPr id="4" name="Picture 2" descr="QRCode voor Aanvraag Achtergrondrapport Circulair Renoveren">
            <a:extLst>
              <a:ext uri="{FF2B5EF4-FFF2-40B4-BE49-F238E27FC236}">
                <a16:creationId xmlns:a16="http://schemas.microsoft.com/office/drawing/2014/main" id="{5CF72A51-E903-CC82-5FA5-AF222429F1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236" y="3923531"/>
            <a:ext cx="1809528" cy="1809528"/>
          </a:xfrm>
          <a:prstGeom prst="rect">
            <a:avLst/>
          </a:prstGeom>
          <a:noFill/>
          <a:extLst>
            <a:ext uri="{909E8E84-426E-40DD-AFC4-6F175D3DCCD1}">
              <a14:hiddenFill xmlns:a14="http://schemas.microsoft.com/office/drawing/2010/main">
                <a:solidFill>
                  <a:srgbClr val="FFFFFF"/>
                </a:solidFill>
              </a14:hiddenFill>
            </a:ext>
          </a:extLst>
        </p:spPr>
      </p:pic>
      <p:sp>
        <p:nvSpPr>
          <p:cNvPr id="5" name="Tekstvak 4">
            <a:extLst>
              <a:ext uri="{FF2B5EF4-FFF2-40B4-BE49-F238E27FC236}">
                <a16:creationId xmlns:a16="http://schemas.microsoft.com/office/drawing/2014/main" id="{50A89B73-2AA4-944C-E99A-ECD77C7DCC59}"/>
              </a:ext>
            </a:extLst>
          </p:cNvPr>
          <p:cNvSpPr txBox="1"/>
          <p:nvPr/>
        </p:nvSpPr>
        <p:spPr>
          <a:xfrm>
            <a:off x="3045995" y="5733059"/>
            <a:ext cx="6100010" cy="646331"/>
          </a:xfrm>
          <a:prstGeom prst="rect">
            <a:avLst/>
          </a:prstGeom>
          <a:noFill/>
        </p:spPr>
        <p:txBody>
          <a:bodyPr wrap="square">
            <a:spAutoFit/>
          </a:bodyPr>
          <a:lstStyle/>
          <a:p>
            <a:pPr algn="ctr"/>
            <a:r>
              <a:rPr lang="nl-NL" dirty="0">
                <a:solidFill>
                  <a:schemeClr val="bg1"/>
                </a:solidFill>
              </a:rPr>
              <a:t>Achtergrond-</a:t>
            </a:r>
          </a:p>
          <a:p>
            <a:pPr algn="ctr"/>
            <a:r>
              <a:rPr lang="nl-NL" dirty="0">
                <a:solidFill>
                  <a:schemeClr val="bg1"/>
                </a:solidFill>
              </a:rPr>
              <a:t>rapport</a:t>
            </a:r>
          </a:p>
        </p:txBody>
      </p:sp>
    </p:spTree>
    <p:extLst>
      <p:ext uri="{BB962C8B-B14F-4D97-AF65-F5344CB8AC3E}">
        <p14:creationId xmlns:p14="http://schemas.microsoft.com/office/powerpoint/2010/main" val="1740939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D8054-927D-4FA4-BE01-972CE51BBC24}"/>
            </a:ext>
          </a:extLst>
        </p:cNvPr>
        <p:cNvGrpSpPr/>
        <p:nvPr/>
      </p:nvGrpSpPr>
      <p:grpSpPr>
        <a:xfrm>
          <a:off x="0" y="0"/>
          <a:ext cx="0" cy="0"/>
          <a:chOff x="0" y="0"/>
          <a:chExt cx="0" cy="0"/>
        </a:xfrm>
      </p:grpSpPr>
      <p:sp>
        <p:nvSpPr>
          <p:cNvPr id="3" name="Ondertitel 2">
            <a:extLst>
              <a:ext uri="{FF2B5EF4-FFF2-40B4-BE49-F238E27FC236}">
                <a16:creationId xmlns:a16="http://schemas.microsoft.com/office/drawing/2014/main" id="{5892AFDF-FD50-55FE-7CE4-2A009C1A2C71}"/>
              </a:ext>
            </a:extLst>
          </p:cNvPr>
          <p:cNvSpPr>
            <a:spLocks noGrp="1"/>
          </p:cNvSpPr>
          <p:nvPr>
            <p:ph type="subTitle" idx="1"/>
          </p:nvPr>
        </p:nvSpPr>
        <p:spPr/>
        <p:txBody>
          <a:bodyPr/>
          <a:lstStyle/>
          <a:p>
            <a:r>
              <a:rPr lang="nl-NL"/>
              <a:t>Vragen </a:t>
            </a:r>
          </a:p>
        </p:txBody>
      </p:sp>
      <p:pic>
        <p:nvPicPr>
          <p:cNvPr id="5" name="Graphic 4" descr="Vraagteken met effen opvulling">
            <a:extLst>
              <a:ext uri="{FF2B5EF4-FFF2-40B4-BE49-F238E27FC236}">
                <a16:creationId xmlns:a16="http://schemas.microsoft.com/office/drawing/2014/main" id="{2174F312-1B8E-5FCD-5F16-BE8E089F2B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00863" y="1898824"/>
            <a:ext cx="2390274" cy="2390274"/>
          </a:xfrm>
          <a:prstGeom prst="rect">
            <a:avLst/>
          </a:prstGeom>
        </p:spPr>
      </p:pic>
    </p:spTree>
    <p:extLst>
      <p:ext uri="{BB962C8B-B14F-4D97-AF65-F5344CB8AC3E}">
        <p14:creationId xmlns:p14="http://schemas.microsoft.com/office/powerpoint/2010/main" val="1630930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F819D-1DBA-7ECD-A26C-6E3EBFA5225E}"/>
            </a:ext>
          </a:extLst>
        </p:cNvPr>
        <p:cNvGrpSpPr/>
        <p:nvPr/>
      </p:nvGrpSpPr>
      <p:grpSpPr>
        <a:xfrm>
          <a:off x="0" y="0"/>
          <a:ext cx="0" cy="0"/>
          <a:chOff x="0" y="0"/>
          <a:chExt cx="0" cy="0"/>
        </a:xfrm>
      </p:grpSpPr>
      <p:pic>
        <p:nvPicPr>
          <p:cNvPr id="15" name="Afbeelding 14" descr="Afbeelding met tekst, cirkel, logo, Lettertype&#10;&#10;Automatisch gegenereerde beschrijving">
            <a:extLst>
              <a:ext uri="{FF2B5EF4-FFF2-40B4-BE49-F238E27FC236}">
                <a16:creationId xmlns:a16="http://schemas.microsoft.com/office/drawing/2014/main" id="{0FE72E05-9E42-DE1E-90F7-8CB1A00A888F}"/>
              </a:ext>
            </a:extLst>
          </p:cNvPr>
          <p:cNvPicPr>
            <a:picLocks noGrp="1" noRot="1" noChangeAspect="1" noMove="1" noResize="1" noEditPoints="1" noAdjustHandles="1" noChangeArrowheads="1" noChangeShapeType="1" noCrop="1"/>
          </p:cNvPicPr>
          <p:nvPr/>
        </p:nvPicPr>
        <p:blipFill>
          <a:blip r:embed="rId3"/>
          <a:stretch>
            <a:fillRect/>
          </a:stretch>
        </p:blipFill>
        <p:spPr>
          <a:xfrm>
            <a:off x="10880745" y="200596"/>
            <a:ext cx="1097623" cy="1097623"/>
          </a:xfrm>
          <a:prstGeom prst="rect">
            <a:avLst/>
          </a:prstGeom>
        </p:spPr>
      </p:pic>
      <p:sp>
        <p:nvSpPr>
          <p:cNvPr id="4" name="Title 3">
            <a:extLst>
              <a:ext uri="{FF2B5EF4-FFF2-40B4-BE49-F238E27FC236}">
                <a16:creationId xmlns:a16="http://schemas.microsoft.com/office/drawing/2014/main" id="{8EF4394C-C8EF-A61D-4E0C-C8C60985E4D6}"/>
              </a:ext>
            </a:extLst>
          </p:cNvPr>
          <p:cNvSpPr>
            <a:spLocks noGrp="1"/>
          </p:cNvSpPr>
          <p:nvPr>
            <p:ph type="title"/>
          </p:nvPr>
        </p:nvSpPr>
        <p:spPr>
          <a:xfrm>
            <a:off x="690563" y="566298"/>
            <a:ext cx="10809287" cy="853737"/>
          </a:xfrm>
        </p:spPr>
        <p:txBody>
          <a:bodyPr/>
          <a:lstStyle/>
          <a:p>
            <a:r>
              <a:rPr lang="nl-NL" dirty="0"/>
              <a:t>Actielijnen- renovatie </a:t>
            </a:r>
            <a:endParaRPr lang="en-US" dirty="0"/>
          </a:p>
        </p:txBody>
      </p:sp>
      <p:pic>
        <p:nvPicPr>
          <p:cNvPr id="7" name="Tijdelijke aanduiding voor inhoud 6" descr="Afbeelding met tekst, schermopname, Schaalmodel&#10;&#10;Door AI gegenereerde inhoud is mogelijk onjuist.">
            <a:extLst>
              <a:ext uri="{FF2B5EF4-FFF2-40B4-BE49-F238E27FC236}">
                <a16:creationId xmlns:a16="http://schemas.microsoft.com/office/drawing/2014/main" id="{EA64355C-D973-E371-5B53-97044D965A06}"/>
              </a:ext>
            </a:extLst>
          </p:cNvPr>
          <p:cNvPicPr>
            <a:picLocks noGrp="1" noChangeAspect="1"/>
          </p:cNvPicPr>
          <p:nvPr>
            <p:ph idx="1"/>
          </p:nvPr>
        </p:nvPicPr>
        <p:blipFill>
          <a:blip r:embed="rId4"/>
          <a:srcRect t="35816"/>
          <a:stretch>
            <a:fillRect/>
          </a:stretch>
        </p:blipFill>
        <p:spPr>
          <a:xfrm>
            <a:off x="690563" y="1759876"/>
            <a:ext cx="10426616" cy="4761167"/>
          </a:xfrm>
        </p:spPr>
      </p:pic>
    </p:spTree>
    <p:extLst>
      <p:ext uri="{BB962C8B-B14F-4D97-AF65-F5344CB8AC3E}">
        <p14:creationId xmlns:p14="http://schemas.microsoft.com/office/powerpoint/2010/main" val="3785231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D1D65E-023C-1983-1C20-1C236A3E6641}"/>
              </a:ext>
            </a:extLst>
          </p:cNvPr>
          <p:cNvSpPr>
            <a:spLocks noGrp="1"/>
          </p:cNvSpPr>
          <p:nvPr>
            <p:ph type="title"/>
          </p:nvPr>
        </p:nvSpPr>
        <p:spPr/>
        <p:txBody>
          <a:bodyPr>
            <a:normAutofit/>
          </a:bodyPr>
          <a:lstStyle/>
          <a:p>
            <a:r>
              <a:rPr lang="nl-NL" sz="4000" dirty="0"/>
              <a:t>Woningbouw- &amp; renovatieopgave</a:t>
            </a:r>
          </a:p>
        </p:txBody>
      </p:sp>
      <p:sp>
        <p:nvSpPr>
          <p:cNvPr id="4" name="Tijdelijke aanduiding voor tekst 3">
            <a:extLst>
              <a:ext uri="{FF2B5EF4-FFF2-40B4-BE49-F238E27FC236}">
                <a16:creationId xmlns:a16="http://schemas.microsoft.com/office/drawing/2014/main" id="{84B50C84-3D81-8FBB-C360-6C18D3A155E0}"/>
              </a:ext>
            </a:extLst>
          </p:cNvPr>
          <p:cNvSpPr>
            <a:spLocks noGrp="1"/>
          </p:cNvSpPr>
          <p:nvPr>
            <p:ph type="body" sz="quarter" idx="11"/>
          </p:nvPr>
        </p:nvSpPr>
        <p:spPr/>
        <p:txBody>
          <a:bodyPr/>
          <a:lstStyle/>
          <a:p>
            <a:r>
              <a:rPr lang="nl-NL" dirty="0"/>
              <a:t>In de periode 2023-2030 </a:t>
            </a:r>
          </a:p>
        </p:txBody>
      </p:sp>
      <p:sp>
        <p:nvSpPr>
          <p:cNvPr id="6" name="Tijdelijke aanduiding voor tekst 5">
            <a:extLst>
              <a:ext uri="{FF2B5EF4-FFF2-40B4-BE49-F238E27FC236}">
                <a16:creationId xmlns:a16="http://schemas.microsoft.com/office/drawing/2014/main" id="{FCC10A4F-9294-B540-F9F2-C208638C5ADE}"/>
              </a:ext>
            </a:extLst>
          </p:cNvPr>
          <p:cNvSpPr>
            <a:spLocks noGrp="1"/>
          </p:cNvSpPr>
          <p:nvPr>
            <p:ph type="body" sz="quarter" idx="14"/>
          </p:nvPr>
        </p:nvSpPr>
        <p:spPr/>
        <p:txBody>
          <a:bodyPr/>
          <a:lstStyle/>
          <a:p>
            <a:endParaRPr lang="nl-NL"/>
          </a:p>
        </p:txBody>
      </p:sp>
      <p:grpSp>
        <p:nvGrpSpPr>
          <p:cNvPr id="8" name="Groep 7">
            <a:extLst>
              <a:ext uri="{FF2B5EF4-FFF2-40B4-BE49-F238E27FC236}">
                <a16:creationId xmlns:a16="http://schemas.microsoft.com/office/drawing/2014/main" id="{3A1ECBAD-26D4-3374-D7BA-0695999A1D79}"/>
              </a:ext>
            </a:extLst>
          </p:cNvPr>
          <p:cNvGrpSpPr/>
          <p:nvPr/>
        </p:nvGrpSpPr>
        <p:grpSpPr>
          <a:xfrm>
            <a:off x="3284377" y="2034241"/>
            <a:ext cx="2590164" cy="1710798"/>
            <a:chOff x="649432" y="520700"/>
            <a:chExt cx="2409536" cy="1591493"/>
          </a:xfrm>
        </p:grpSpPr>
        <p:grpSp>
          <p:nvGrpSpPr>
            <p:cNvPr id="9" name="Groep 8">
              <a:extLst>
                <a:ext uri="{FF2B5EF4-FFF2-40B4-BE49-F238E27FC236}">
                  <a16:creationId xmlns:a16="http://schemas.microsoft.com/office/drawing/2014/main" id="{321A81B5-2D0D-35E4-6723-20366404A373}"/>
                </a:ext>
              </a:extLst>
            </p:cNvPr>
            <p:cNvGrpSpPr/>
            <p:nvPr/>
          </p:nvGrpSpPr>
          <p:grpSpPr>
            <a:xfrm>
              <a:off x="649432" y="520700"/>
              <a:ext cx="2409536" cy="187292"/>
              <a:chOff x="668396" y="1930399"/>
              <a:chExt cx="10415521" cy="809593"/>
            </a:xfrm>
          </p:grpSpPr>
          <p:grpSp>
            <p:nvGrpSpPr>
              <p:cNvPr id="196" name="Groep 195">
                <a:extLst>
                  <a:ext uri="{FF2B5EF4-FFF2-40B4-BE49-F238E27FC236}">
                    <a16:creationId xmlns:a16="http://schemas.microsoft.com/office/drawing/2014/main" id="{9FA6065A-8E4A-11F5-A6BB-FAE9DCD11357}"/>
                  </a:ext>
                </a:extLst>
              </p:cNvPr>
              <p:cNvGrpSpPr/>
              <p:nvPr/>
            </p:nvGrpSpPr>
            <p:grpSpPr>
              <a:xfrm>
                <a:off x="668396" y="1930399"/>
                <a:ext cx="944504" cy="809593"/>
                <a:chOff x="5696016" y="3086100"/>
                <a:chExt cx="800080" cy="685799"/>
              </a:xfrm>
            </p:grpSpPr>
            <p:sp>
              <p:nvSpPr>
                <p:cNvPr id="224" name="Vrije vorm: vorm 223">
                  <a:extLst>
                    <a:ext uri="{FF2B5EF4-FFF2-40B4-BE49-F238E27FC236}">
                      <a16:creationId xmlns:a16="http://schemas.microsoft.com/office/drawing/2014/main" id="{AD3AEA71-359F-D16C-66E5-8293755B84E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25" name="Vrije vorm: vorm 224">
                  <a:extLst>
                    <a:ext uri="{FF2B5EF4-FFF2-40B4-BE49-F238E27FC236}">
                      <a16:creationId xmlns:a16="http://schemas.microsoft.com/office/drawing/2014/main" id="{7661CCF7-DD63-0C8F-447F-43EFA65925D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97" name="Groep 196">
                <a:extLst>
                  <a:ext uri="{FF2B5EF4-FFF2-40B4-BE49-F238E27FC236}">
                    <a16:creationId xmlns:a16="http://schemas.microsoft.com/office/drawing/2014/main" id="{B6B2D48E-2984-E4F9-0EEA-34981CA11F3C}"/>
                  </a:ext>
                </a:extLst>
              </p:cNvPr>
              <p:cNvGrpSpPr/>
              <p:nvPr/>
            </p:nvGrpSpPr>
            <p:grpSpPr>
              <a:xfrm>
                <a:off x="1720731" y="1930399"/>
                <a:ext cx="944504" cy="809593"/>
                <a:chOff x="5696016" y="3086100"/>
                <a:chExt cx="800080" cy="685799"/>
              </a:xfrm>
            </p:grpSpPr>
            <p:sp>
              <p:nvSpPr>
                <p:cNvPr id="222" name="Vrije vorm: vorm 221">
                  <a:extLst>
                    <a:ext uri="{FF2B5EF4-FFF2-40B4-BE49-F238E27FC236}">
                      <a16:creationId xmlns:a16="http://schemas.microsoft.com/office/drawing/2014/main" id="{9134C6AF-C483-ECB0-48C2-EAAA3C7769C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23" name="Vrije vorm: vorm 222">
                  <a:extLst>
                    <a:ext uri="{FF2B5EF4-FFF2-40B4-BE49-F238E27FC236}">
                      <a16:creationId xmlns:a16="http://schemas.microsoft.com/office/drawing/2014/main" id="{FB810819-6690-91E6-8ED2-DB46D1154F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98" name="Groep 197">
                <a:extLst>
                  <a:ext uri="{FF2B5EF4-FFF2-40B4-BE49-F238E27FC236}">
                    <a16:creationId xmlns:a16="http://schemas.microsoft.com/office/drawing/2014/main" id="{A53F5762-7997-268A-3A70-E7785C0DC51C}"/>
                  </a:ext>
                </a:extLst>
              </p:cNvPr>
              <p:cNvGrpSpPr/>
              <p:nvPr/>
            </p:nvGrpSpPr>
            <p:grpSpPr>
              <a:xfrm>
                <a:off x="2773066" y="1930399"/>
                <a:ext cx="944504" cy="809593"/>
                <a:chOff x="5696016" y="3086100"/>
                <a:chExt cx="800080" cy="685799"/>
              </a:xfrm>
            </p:grpSpPr>
            <p:sp>
              <p:nvSpPr>
                <p:cNvPr id="220" name="Vrije vorm: vorm 219">
                  <a:extLst>
                    <a:ext uri="{FF2B5EF4-FFF2-40B4-BE49-F238E27FC236}">
                      <a16:creationId xmlns:a16="http://schemas.microsoft.com/office/drawing/2014/main" id="{81B2D103-01F7-6A39-B33B-542E9C2BE38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21" name="Vrije vorm: vorm 220">
                  <a:extLst>
                    <a:ext uri="{FF2B5EF4-FFF2-40B4-BE49-F238E27FC236}">
                      <a16:creationId xmlns:a16="http://schemas.microsoft.com/office/drawing/2014/main" id="{C71E1F20-3B3E-8AA9-7DD7-3AD0E9F79F3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99" name="Groep 198">
                <a:extLst>
                  <a:ext uri="{FF2B5EF4-FFF2-40B4-BE49-F238E27FC236}">
                    <a16:creationId xmlns:a16="http://schemas.microsoft.com/office/drawing/2014/main" id="{12322DDD-26A5-2520-9AD3-CD9AC5A9848B}"/>
                  </a:ext>
                </a:extLst>
              </p:cNvPr>
              <p:cNvGrpSpPr/>
              <p:nvPr/>
            </p:nvGrpSpPr>
            <p:grpSpPr>
              <a:xfrm>
                <a:off x="3825401" y="1930399"/>
                <a:ext cx="944504" cy="809593"/>
                <a:chOff x="5696016" y="3086100"/>
                <a:chExt cx="800080" cy="685799"/>
              </a:xfrm>
            </p:grpSpPr>
            <p:sp>
              <p:nvSpPr>
                <p:cNvPr id="218" name="Vrije vorm: vorm 217">
                  <a:extLst>
                    <a:ext uri="{FF2B5EF4-FFF2-40B4-BE49-F238E27FC236}">
                      <a16:creationId xmlns:a16="http://schemas.microsoft.com/office/drawing/2014/main" id="{B2C73A88-8AD8-E055-BD05-DDCC19F0AB5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19" name="Vrije vorm: vorm 218">
                  <a:extLst>
                    <a:ext uri="{FF2B5EF4-FFF2-40B4-BE49-F238E27FC236}">
                      <a16:creationId xmlns:a16="http://schemas.microsoft.com/office/drawing/2014/main" id="{BEC9B6D6-B456-6160-B1A3-2D7B982260D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0" name="Groep 199">
                <a:extLst>
                  <a:ext uri="{FF2B5EF4-FFF2-40B4-BE49-F238E27FC236}">
                    <a16:creationId xmlns:a16="http://schemas.microsoft.com/office/drawing/2014/main" id="{7C064996-AB14-429D-7E79-C070136D8D7A}"/>
                  </a:ext>
                </a:extLst>
              </p:cNvPr>
              <p:cNvGrpSpPr/>
              <p:nvPr/>
            </p:nvGrpSpPr>
            <p:grpSpPr>
              <a:xfrm>
                <a:off x="4877736" y="1930399"/>
                <a:ext cx="944504" cy="809593"/>
                <a:chOff x="5696016" y="3086100"/>
                <a:chExt cx="800080" cy="685799"/>
              </a:xfrm>
            </p:grpSpPr>
            <p:sp>
              <p:nvSpPr>
                <p:cNvPr id="216" name="Vrije vorm: vorm 215">
                  <a:extLst>
                    <a:ext uri="{FF2B5EF4-FFF2-40B4-BE49-F238E27FC236}">
                      <a16:creationId xmlns:a16="http://schemas.microsoft.com/office/drawing/2014/main" id="{FC7819DA-D48C-4F39-1DF1-401C1E9C4D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17" name="Vrije vorm: vorm 216">
                  <a:extLst>
                    <a:ext uri="{FF2B5EF4-FFF2-40B4-BE49-F238E27FC236}">
                      <a16:creationId xmlns:a16="http://schemas.microsoft.com/office/drawing/2014/main" id="{8008C008-2D3C-9B75-FD9C-438156C15DC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1" name="Groep 200">
                <a:extLst>
                  <a:ext uri="{FF2B5EF4-FFF2-40B4-BE49-F238E27FC236}">
                    <a16:creationId xmlns:a16="http://schemas.microsoft.com/office/drawing/2014/main" id="{A8FEC457-40DF-FCA0-4482-167C46C6C354}"/>
                  </a:ext>
                </a:extLst>
              </p:cNvPr>
              <p:cNvGrpSpPr/>
              <p:nvPr/>
            </p:nvGrpSpPr>
            <p:grpSpPr>
              <a:xfrm>
                <a:off x="5930071" y="1930399"/>
                <a:ext cx="944504" cy="809593"/>
                <a:chOff x="5696016" y="3086100"/>
                <a:chExt cx="800080" cy="685799"/>
              </a:xfrm>
            </p:grpSpPr>
            <p:sp>
              <p:nvSpPr>
                <p:cNvPr id="214" name="Vrije vorm: vorm 213">
                  <a:extLst>
                    <a:ext uri="{FF2B5EF4-FFF2-40B4-BE49-F238E27FC236}">
                      <a16:creationId xmlns:a16="http://schemas.microsoft.com/office/drawing/2014/main" id="{7C357396-21B5-AF0C-ADEF-04BEF3E051D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15" name="Vrije vorm: vorm 214">
                  <a:extLst>
                    <a:ext uri="{FF2B5EF4-FFF2-40B4-BE49-F238E27FC236}">
                      <a16:creationId xmlns:a16="http://schemas.microsoft.com/office/drawing/2014/main" id="{06C53C11-A2EB-0FF7-0BB2-FDEF718D96F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2" name="Groep 201">
                <a:extLst>
                  <a:ext uri="{FF2B5EF4-FFF2-40B4-BE49-F238E27FC236}">
                    <a16:creationId xmlns:a16="http://schemas.microsoft.com/office/drawing/2014/main" id="{A3ACC210-BDE0-30EE-E896-030847AB067E}"/>
                  </a:ext>
                </a:extLst>
              </p:cNvPr>
              <p:cNvGrpSpPr/>
              <p:nvPr/>
            </p:nvGrpSpPr>
            <p:grpSpPr>
              <a:xfrm>
                <a:off x="6982406" y="1930399"/>
                <a:ext cx="944504" cy="809593"/>
                <a:chOff x="5696016" y="3086100"/>
                <a:chExt cx="800080" cy="685799"/>
              </a:xfrm>
            </p:grpSpPr>
            <p:sp>
              <p:nvSpPr>
                <p:cNvPr id="212" name="Vrije vorm: vorm 211">
                  <a:extLst>
                    <a:ext uri="{FF2B5EF4-FFF2-40B4-BE49-F238E27FC236}">
                      <a16:creationId xmlns:a16="http://schemas.microsoft.com/office/drawing/2014/main" id="{17BFC863-6740-F1FB-5B99-E2F933243B2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13" name="Vrije vorm: vorm 212">
                  <a:extLst>
                    <a:ext uri="{FF2B5EF4-FFF2-40B4-BE49-F238E27FC236}">
                      <a16:creationId xmlns:a16="http://schemas.microsoft.com/office/drawing/2014/main" id="{E21BB9AE-6BDA-8466-4BC5-73647F03B6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3" name="Groep 202">
                <a:extLst>
                  <a:ext uri="{FF2B5EF4-FFF2-40B4-BE49-F238E27FC236}">
                    <a16:creationId xmlns:a16="http://schemas.microsoft.com/office/drawing/2014/main" id="{854BEB38-6035-F964-CAE4-137863688821}"/>
                  </a:ext>
                </a:extLst>
              </p:cNvPr>
              <p:cNvGrpSpPr/>
              <p:nvPr/>
            </p:nvGrpSpPr>
            <p:grpSpPr>
              <a:xfrm>
                <a:off x="8034741" y="1930399"/>
                <a:ext cx="944504" cy="809593"/>
                <a:chOff x="5696016" y="3086100"/>
                <a:chExt cx="800080" cy="685799"/>
              </a:xfrm>
            </p:grpSpPr>
            <p:sp>
              <p:nvSpPr>
                <p:cNvPr id="210" name="Vrije vorm: vorm 209">
                  <a:extLst>
                    <a:ext uri="{FF2B5EF4-FFF2-40B4-BE49-F238E27FC236}">
                      <a16:creationId xmlns:a16="http://schemas.microsoft.com/office/drawing/2014/main" id="{FFB58571-2B25-C505-2808-333F815F3DE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11" name="Vrije vorm: vorm 210">
                  <a:extLst>
                    <a:ext uri="{FF2B5EF4-FFF2-40B4-BE49-F238E27FC236}">
                      <a16:creationId xmlns:a16="http://schemas.microsoft.com/office/drawing/2014/main" id="{D86836C0-82FC-DF50-1C7C-CA8008CC624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4" name="Groep 203">
                <a:extLst>
                  <a:ext uri="{FF2B5EF4-FFF2-40B4-BE49-F238E27FC236}">
                    <a16:creationId xmlns:a16="http://schemas.microsoft.com/office/drawing/2014/main" id="{E8ABF7B7-1092-4BFA-6167-4900C62C07C4}"/>
                  </a:ext>
                </a:extLst>
              </p:cNvPr>
              <p:cNvGrpSpPr/>
              <p:nvPr/>
            </p:nvGrpSpPr>
            <p:grpSpPr>
              <a:xfrm>
                <a:off x="9087076" y="1930399"/>
                <a:ext cx="944504" cy="809593"/>
                <a:chOff x="5696016" y="3086100"/>
                <a:chExt cx="800080" cy="685799"/>
              </a:xfrm>
            </p:grpSpPr>
            <p:sp>
              <p:nvSpPr>
                <p:cNvPr id="208" name="Vrije vorm: vorm 207">
                  <a:extLst>
                    <a:ext uri="{FF2B5EF4-FFF2-40B4-BE49-F238E27FC236}">
                      <a16:creationId xmlns:a16="http://schemas.microsoft.com/office/drawing/2014/main" id="{FE487DD1-EF99-B907-D719-A59A7B88161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09" name="Vrije vorm: vorm 208">
                  <a:extLst>
                    <a:ext uri="{FF2B5EF4-FFF2-40B4-BE49-F238E27FC236}">
                      <a16:creationId xmlns:a16="http://schemas.microsoft.com/office/drawing/2014/main" id="{1311C715-5E81-1C14-689F-870383B0310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5" name="Groep 204">
                <a:extLst>
                  <a:ext uri="{FF2B5EF4-FFF2-40B4-BE49-F238E27FC236}">
                    <a16:creationId xmlns:a16="http://schemas.microsoft.com/office/drawing/2014/main" id="{73676BF6-52A2-C879-A57E-9E9016DF59B2}"/>
                  </a:ext>
                </a:extLst>
              </p:cNvPr>
              <p:cNvGrpSpPr/>
              <p:nvPr/>
            </p:nvGrpSpPr>
            <p:grpSpPr>
              <a:xfrm>
                <a:off x="10139413" y="1930399"/>
                <a:ext cx="944504" cy="809593"/>
                <a:chOff x="5696016" y="3086100"/>
                <a:chExt cx="800080" cy="685799"/>
              </a:xfrm>
            </p:grpSpPr>
            <p:sp>
              <p:nvSpPr>
                <p:cNvPr id="206" name="Vrije vorm: vorm 205">
                  <a:extLst>
                    <a:ext uri="{FF2B5EF4-FFF2-40B4-BE49-F238E27FC236}">
                      <a16:creationId xmlns:a16="http://schemas.microsoft.com/office/drawing/2014/main" id="{9C2E1D83-3FCE-ABB7-A5B4-25843908B6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07" name="Vrije vorm: vorm 206">
                  <a:extLst>
                    <a:ext uri="{FF2B5EF4-FFF2-40B4-BE49-F238E27FC236}">
                      <a16:creationId xmlns:a16="http://schemas.microsoft.com/office/drawing/2014/main" id="{BA1FBBAA-B03C-26EC-96AE-127782DD320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grpSp>
          <p:nvGrpSpPr>
            <p:cNvPr id="10" name="Groep 9">
              <a:extLst>
                <a:ext uri="{FF2B5EF4-FFF2-40B4-BE49-F238E27FC236}">
                  <a16:creationId xmlns:a16="http://schemas.microsoft.com/office/drawing/2014/main" id="{D134BC1D-0311-E5DD-45B7-0743B83935AC}"/>
                </a:ext>
              </a:extLst>
            </p:cNvPr>
            <p:cNvGrpSpPr/>
            <p:nvPr/>
          </p:nvGrpSpPr>
          <p:grpSpPr>
            <a:xfrm>
              <a:off x="649432" y="754734"/>
              <a:ext cx="2409536" cy="187292"/>
              <a:chOff x="668396" y="1930399"/>
              <a:chExt cx="10415521" cy="809593"/>
            </a:xfrm>
          </p:grpSpPr>
          <p:grpSp>
            <p:nvGrpSpPr>
              <p:cNvPr id="166" name="Groep 165">
                <a:extLst>
                  <a:ext uri="{FF2B5EF4-FFF2-40B4-BE49-F238E27FC236}">
                    <a16:creationId xmlns:a16="http://schemas.microsoft.com/office/drawing/2014/main" id="{3049D43C-E906-5C64-8463-7339ED665DD6}"/>
                  </a:ext>
                </a:extLst>
              </p:cNvPr>
              <p:cNvGrpSpPr/>
              <p:nvPr/>
            </p:nvGrpSpPr>
            <p:grpSpPr>
              <a:xfrm>
                <a:off x="668396" y="1930399"/>
                <a:ext cx="944504" cy="809593"/>
                <a:chOff x="5696016" y="3086100"/>
                <a:chExt cx="800080" cy="685799"/>
              </a:xfrm>
            </p:grpSpPr>
            <p:sp>
              <p:nvSpPr>
                <p:cNvPr id="194" name="Vrije vorm: vorm 193">
                  <a:extLst>
                    <a:ext uri="{FF2B5EF4-FFF2-40B4-BE49-F238E27FC236}">
                      <a16:creationId xmlns:a16="http://schemas.microsoft.com/office/drawing/2014/main" id="{5B7E6FDC-944E-14A2-A012-1996C4D77DF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95" name="Vrije vorm: vorm 194">
                  <a:extLst>
                    <a:ext uri="{FF2B5EF4-FFF2-40B4-BE49-F238E27FC236}">
                      <a16:creationId xmlns:a16="http://schemas.microsoft.com/office/drawing/2014/main" id="{F23EA439-8B31-BCAD-0080-9E27FD04259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67" name="Groep 166">
                <a:extLst>
                  <a:ext uri="{FF2B5EF4-FFF2-40B4-BE49-F238E27FC236}">
                    <a16:creationId xmlns:a16="http://schemas.microsoft.com/office/drawing/2014/main" id="{C0028AD5-3166-F619-1102-B65AB07C4A1C}"/>
                  </a:ext>
                </a:extLst>
              </p:cNvPr>
              <p:cNvGrpSpPr/>
              <p:nvPr/>
            </p:nvGrpSpPr>
            <p:grpSpPr>
              <a:xfrm>
                <a:off x="1720731" y="1930399"/>
                <a:ext cx="944504" cy="809593"/>
                <a:chOff x="5696016" y="3086100"/>
                <a:chExt cx="800080" cy="685799"/>
              </a:xfrm>
            </p:grpSpPr>
            <p:sp>
              <p:nvSpPr>
                <p:cNvPr id="192" name="Vrije vorm: vorm 191">
                  <a:extLst>
                    <a:ext uri="{FF2B5EF4-FFF2-40B4-BE49-F238E27FC236}">
                      <a16:creationId xmlns:a16="http://schemas.microsoft.com/office/drawing/2014/main" id="{10F0D2F6-F77A-C71B-8095-D0F566009A4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93" name="Vrije vorm: vorm 192">
                  <a:extLst>
                    <a:ext uri="{FF2B5EF4-FFF2-40B4-BE49-F238E27FC236}">
                      <a16:creationId xmlns:a16="http://schemas.microsoft.com/office/drawing/2014/main" id="{E5BCF469-02C9-01AF-49EC-99389F4124E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68" name="Groep 167">
                <a:extLst>
                  <a:ext uri="{FF2B5EF4-FFF2-40B4-BE49-F238E27FC236}">
                    <a16:creationId xmlns:a16="http://schemas.microsoft.com/office/drawing/2014/main" id="{77D60EA3-E0DC-1EDA-2369-AEFCD5019743}"/>
                  </a:ext>
                </a:extLst>
              </p:cNvPr>
              <p:cNvGrpSpPr/>
              <p:nvPr/>
            </p:nvGrpSpPr>
            <p:grpSpPr>
              <a:xfrm>
                <a:off x="2773066" y="1930399"/>
                <a:ext cx="944504" cy="809593"/>
                <a:chOff x="5696016" y="3086100"/>
                <a:chExt cx="800080" cy="685799"/>
              </a:xfrm>
            </p:grpSpPr>
            <p:sp>
              <p:nvSpPr>
                <p:cNvPr id="190" name="Vrije vorm: vorm 189">
                  <a:extLst>
                    <a:ext uri="{FF2B5EF4-FFF2-40B4-BE49-F238E27FC236}">
                      <a16:creationId xmlns:a16="http://schemas.microsoft.com/office/drawing/2014/main" id="{31784254-15A1-0A33-E78E-CB25110BA3E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91" name="Vrije vorm: vorm 190">
                  <a:extLst>
                    <a:ext uri="{FF2B5EF4-FFF2-40B4-BE49-F238E27FC236}">
                      <a16:creationId xmlns:a16="http://schemas.microsoft.com/office/drawing/2014/main" id="{D3B2AE72-5523-ACB6-5FB9-989A779DDA8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69" name="Groep 168">
                <a:extLst>
                  <a:ext uri="{FF2B5EF4-FFF2-40B4-BE49-F238E27FC236}">
                    <a16:creationId xmlns:a16="http://schemas.microsoft.com/office/drawing/2014/main" id="{F12398D2-CDD5-5B3B-ECB0-0F25BA5FBB6B}"/>
                  </a:ext>
                </a:extLst>
              </p:cNvPr>
              <p:cNvGrpSpPr/>
              <p:nvPr/>
            </p:nvGrpSpPr>
            <p:grpSpPr>
              <a:xfrm>
                <a:off x="3825401" y="1930399"/>
                <a:ext cx="944504" cy="809593"/>
                <a:chOff x="5696016" y="3086100"/>
                <a:chExt cx="800080" cy="685799"/>
              </a:xfrm>
            </p:grpSpPr>
            <p:sp>
              <p:nvSpPr>
                <p:cNvPr id="188" name="Vrije vorm: vorm 187">
                  <a:extLst>
                    <a:ext uri="{FF2B5EF4-FFF2-40B4-BE49-F238E27FC236}">
                      <a16:creationId xmlns:a16="http://schemas.microsoft.com/office/drawing/2014/main" id="{394A3CE9-B402-517D-D991-65614D42CCD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89" name="Vrije vorm: vorm 188">
                  <a:extLst>
                    <a:ext uri="{FF2B5EF4-FFF2-40B4-BE49-F238E27FC236}">
                      <a16:creationId xmlns:a16="http://schemas.microsoft.com/office/drawing/2014/main" id="{A0C5B8F3-0A22-1E3D-141D-671437AE7AF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0" name="Groep 169">
                <a:extLst>
                  <a:ext uri="{FF2B5EF4-FFF2-40B4-BE49-F238E27FC236}">
                    <a16:creationId xmlns:a16="http://schemas.microsoft.com/office/drawing/2014/main" id="{DF7D96D9-8578-79D9-F5DA-407C8ECB398A}"/>
                  </a:ext>
                </a:extLst>
              </p:cNvPr>
              <p:cNvGrpSpPr/>
              <p:nvPr/>
            </p:nvGrpSpPr>
            <p:grpSpPr>
              <a:xfrm>
                <a:off x="4877736" y="1930399"/>
                <a:ext cx="944504" cy="809593"/>
                <a:chOff x="5696016" y="3086100"/>
                <a:chExt cx="800080" cy="685799"/>
              </a:xfrm>
            </p:grpSpPr>
            <p:sp>
              <p:nvSpPr>
                <p:cNvPr id="186" name="Vrije vorm: vorm 185">
                  <a:extLst>
                    <a:ext uri="{FF2B5EF4-FFF2-40B4-BE49-F238E27FC236}">
                      <a16:creationId xmlns:a16="http://schemas.microsoft.com/office/drawing/2014/main" id="{91C77972-7FFC-0083-3910-8CACF9EB3F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87" name="Vrije vorm: vorm 186">
                  <a:extLst>
                    <a:ext uri="{FF2B5EF4-FFF2-40B4-BE49-F238E27FC236}">
                      <a16:creationId xmlns:a16="http://schemas.microsoft.com/office/drawing/2014/main" id="{143125C5-0EF5-68C0-0C19-E45766F6754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1" name="Groep 170">
                <a:extLst>
                  <a:ext uri="{FF2B5EF4-FFF2-40B4-BE49-F238E27FC236}">
                    <a16:creationId xmlns:a16="http://schemas.microsoft.com/office/drawing/2014/main" id="{161A3088-96AF-64A3-9995-158389A4F3C8}"/>
                  </a:ext>
                </a:extLst>
              </p:cNvPr>
              <p:cNvGrpSpPr/>
              <p:nvPr/>
            </p:nvGrpSpPr>
            <p:grpSpPr>
              <a:xfrm>
                <a:off x="5930071" y="1930399"/>
                <a:ext cx="944504" cy="809593"/>
                <a:chOff x="5696016" y="3086100"/>
                <a:chExt cx="800080" cy="685799"/>
              </a:xfrm>
            </p:grpSpPr>
            <p:sp>
              <p:nvSpPr>
                <p:cNvPr id="184" name="Vrije vorm: vorm 183">
                  <a:extLst>
                    <a:ext uri="{FF2B5EF4-FFF2-40B4-BE49-F238E27FC236}">
                      <a16:creationId xmlns:a16="http://schemas.microsoft.com/office/drawing/2014/main" id="{FFB202B0-3E13-70E4-1B7F-CA23003930B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85" name="Vrije vorm: vorm 184">
                  <a:extLst>
                    <a:ext uri="{FF2B5EF4-FFF2-40B4-BE49-F238E27FC236}">
                      <a16:creationId xmlns:a16="http://schemas.microsoft.com/office/drawing/2014/main" id="{8B1A8641-9D21-EB44-8E20-16983B57EA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2" name="Groep 171">
                <a:extLst>
                  <a:ext uri="{FF2B5EF4-FFF2-40B4-BE49-F238E27FC236}">
                    <a16:creationId xmlns:a16="http://schemas.microsoft.com/office/drawing/2014/main" id="{1AA0A019-09C1-5BC9-1442-5070DEBD7C1D}"/>
                  </a:ext>
                </a:extLst>
              </p:cNvPr>
              <p:cNvGrpSpPr/>
              <p:nvPr/>
            </p:nvGrpSpPr>
            <p:grpSpPr>
              <a:xfrm>
                <a:off x="6982406" y="1930399"/>
                <a:ext cx="944504" cy="809593"/>
                <a:chOff x="5696016" y="3086100"/>
                <a:chExt cx="800080" cy="685799"/>
              </a:xfrm>
            </p:grpSpPr>
            <p:sp>
              <p:nvSpPr>
                <p:cNvPr id="182" name="Vrije vorm: vorm 181">
                  <a:extLst>
                    <a:ext uri="{FF2B5EF4-FFF2-40B4-BE49-F238E27FC236}">
                      <a16:creationId xmlns:a16="http://schemas.microsoft.com/office/drawing/2014/main" id="{6B3B7EDD-71EF-1CE6-C430-BB06E4C1AB1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83" name="Vrije vorm: vorm 182">
                  <a:extLst>
                    <a:ext uri="{FF2B5EF4-FFF2-40B4-BE49-F238E27FC236}">
                      <a16:creationId xmlns:a16="http://schemas.microsoft.com/office/drawing/2014/main" id="{263D2E21-3C8F-0AE9-42E0-7F695E4264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3" name="Groep 172">
                <a:extLst>
                  <a:ext uri="{FF2B5EF4-FFF2-40B4-BE49-F238E27FC236}">
                    <a16:creationId xmlns:a16="http://schemas.microsoft.com/office/drawing/2014/main" id="{30E11353-6ADD-0260-E60E-F8518FC8C6A0}"/>
                  </a:ext>
                </a:extLst>
              </p:cNvPr>
              <p:cNvGrpSpPr/>
              <p:nvPr/>
            </p:nvGrpSpPr>
            <p:grpSpPr>
              <a:xfrm>
                <a:off x="8034741" y="1930399"/>
                <a:ext cx="944504" cy="809593"/>
                <a:chOff x="5696016" y="3086100"/>
                <a:chExt cx="800080" cy="685799"/>
              </a:xfrm>
            </p:grpSpPr>
            <p:sp>
              <p:nvSpPr>
                <p:cNvPr id="180" name="Vrije vorm: vorm 179">
                  <a:extLst>
                    <a:ext uri="{FF2B5EF4-FFF2-40B4-BE49-F238E27FC236}">
                      <a16:creationId xmlns:a16="http://schemas.microsoft.com/office/drawing/2014/main" id="{898C7312-4BE1-CC7B-B482-5E80EC6807F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81" name="Vrije vorm: vorm 180">
                  <a:extLst>
                    <a:ext uri="{FF2B5EF4-FFF2-40B4-BE49-F238E27FC236}">
                      <a16:creationId xmlns:a16="http://schemas.microsoft.com/office/drawing/2014/main" id="{19497741-E42C-1037-576D-294C6E0A7BA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4" name="Groep 173">
                <a:extLst>
                  <a:ext uri="{FF2B5EF4-FFF2-40B4-BE49-F238E27FC236}">
                    <a16:creationId xmlns:a16="http://schemas.microsoft.com/office/drawing/2014/main" id="{012EB5AF-D48F-A147-26D4-AF2E4AFFDDA2}"/>
                  </a:ext>
                </a:extLst>
              </p:cNvPr>
              <p:cNvGrpSpPr/>
              <p:nvPr/>
            </p:nvGrpSpPr>
            <p:grpSpPr>
              <a:xfrm>
                <a:off x="9087076" y="1930399"/>
                <a:ext cx="944504" cy="809593"/>
                <a:chOff x="5696016" y="3086100"/>
                <a:chExt cx="800080" cy="685799"/>
              </a:xfrm>
            </p:grpSpPr>
            <p:sp>
              <p:nvSpPr>
                <p:cNvPr id="178" name="Vrije vorm: vorm 177">
                  <a:extLst>
                    <a:ext uri="{FF2B5EF4-FFF2-40B4-BE49-F238E27FC236}">
                      <a16:creationId xmlns:a16="http://schemas.microsoft.com/office/drawing/2014/main" id="{636D4BC2-2586-C87F-32A4-5AF7D6EA58F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79" name="Vrije vorm: vorm 178">
                  <a:extLst>
                    <a:ext uri="{FF2B5EF4-FFF2-40B4-BE49-F238E27FC236}">
                      <a16:creationId xmlns:a16="http://schemas.microsoft.com/office/drawing/2014/main" id="{03CD5ED7-56D6-5FAE-A433-ACADB652D9E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5" name="Groep 174">
                <a:extLst>
                  <a:ext uri="{FF2B5EF4-FFF2-40B4-BE49-F238E27FC236}">
                    <a16:creationId xmlns:a16="http://schemas.microsoft.com/office/drawing/2014/main" id="{11414E71-A952-D2CC-9207-180DF14B2080}"/>
                  </a:ext>
                </a:extLst>
              </p:cNvPr>
              <p:cNvGrpSpPr/>
              <p:nvPr/>
            </p:nvGrpSpPr>
            <p:grpSpPr>
              <a:xfrm>
                <a:off x="10139413" y="1930399"/>
                <a:ext cx="944504" cy="809593"/>
                <a:chOff x="5696016" y="3086100"/>
                <a:chExt cx="800080" cy="685799"/>
              </a:xfrm>
            </p:grpSpPr>
            <p:sp>
              <p:nvSpPr>
                <p:cNvPr id="176" name="Vrije vorm: vorm 175">
                  <a:extLst>
                    <a:ext uri="{FF2B5EF4-FFF2-40B4-BE49-F238E27FC236}">
                      <a16:creationId xmlns:a16="http://schemas.microsoft.com/office/drawing/2014/main" id="{C63DC73D-03DA-1B27-02BD-E8DAC7CF617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77" name="Vrije vorm: vorm 176">
                  <a:extLst>
                    <a:ext uri="{FF2B5EF4-FFF2-40B4-BE49-F238E27FC236}">
                      <a16:creationId xmlns:a16="http://schemas.microsoft.com/office/drawing/2014/main" id="{6EF7386D-C522-47D5-4187-653E00337FF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grpSp>
          <p:nvGrpSpPr>
            <p:cNvPr id="11" name="Groep 10">
              <a:extLst>
                <a:ext uri="{FF2B5EF4-FFF2-40B4-BE49-F238E27FC236}">
                  <a16:creationId xmlns:a16="http://schemas.microsoft.com/office/drawing/2014/main" id="{7034B7AA-52A1-F637-D901-8ED448144A58}"/>
                </a:ext>
              </a:extLst>
            </p:cNvPr>
            <p:cNvGrpSpPr/>
            <p:nvPr/>
          </p:nvGrpSpPr>
          <p:grpSpPr>
            <a:xfrm>
              <a:off x="649432" y="988768"/>
              <a:ext cx="2409536" cy="187292"/>
              <a:chOff x="668396" y="1930399"/>
              <a:chExt cx="10415521" cy="809593"/>
            </a:xfrm>
          </p:grpSpPr>
          <p:grpSp>
            <p:nvGrpSpPr>
              <p:cNvPr id="136" name="Groep 135">
                <a:extLst>
                  <a:ext uri="{FF2B5EF4-FFF2-40B4-BE49-F238E27FC236}">
                    <a16:creationId xmlns:a16="http://schemas.microsoft.com/office/drawing/2014/main" id="{B5CB5426-5002-5F25-AFF4-1D1D4A7493EC}"/>
                  </a:ext>
                </a:extLst>
              </p:cNvPr>
              <p:cNvGrpSpPr/>
              <p:nvPr/>
            </p:nvGrpSpPr>
            <p:grpSpPr>
              <a:xfrm>
                <a:off x="668396" y="1930399"/>
                <a:ext cx="944504" cy="809593"/>
                <a:chOff x="5696016" y="3086100"/>
                <a:chExt cx="800080" cy="685799"/>
              </a:xfrm>
            </p:grpSpPr>
            <p:sp>
              <p:nvSpPr>
                <p:cNvPr id="164" name="Vrije vorm: vorm 163">
                  <a:extLst>
                    <a:ext uri="{FF2B5EF4-FFF2-40B4-BE49-F238E27FC236}">
                      <a16:creationId xmlns:a16="http://schemas.microsoft.com/office/drawing/2014/main" id="{3B4546CB-5342-CC57-3BE2-F90D78183D3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65" name="Vrije vorm: vorm 164">
                  <a:extLst>
                    <a:ext uri="{FF2B5EF4-FFF2-40B4-BE49-F238E27FC236}">
                      <a16:creationId xmlns:a16="http://schemas.microsoft.com/office/drawing/2014/main" id="{3D8A4386-DE1D-E1BA-A774-A15EB31C44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37" name="Groep 136">
                <a:extLst>
                  <a:ext uri="{FF2B5EF4-FFF2-40B4-BE49-F238E27FC236}">
                    <a16:creationId xmlns:a16="http://schemas.microsoft.com/office/drawing/2014/main" id="{CB079A7C-6AEB-60AA-9DA5-18D44B34F98E}"/>
                  </a:ext>
                </a:extLst>
              </p:cNvPr>
              <p:cNvGrpSpPr/>
              <p:nvPr/>
            </p:nvGrpSpPr>
            <p:grpSpPr>
              <a:xfrm>
                <a:off x="1720731" y="1930399"/>
                <a:ext cx="944504" cy="809593"/>
                <a:chOff x="5696016" y="3086100"/>
                <a:chExt cx="800080" cy="685799"/>
              </a:xfrm>
            </p:grpSpPr>
            <p:sp>
              <p:nvSpPr>
                <p:cNvPr id="162" name="Vrije vorm: vorm 161">
                  <a:extLst>
                    <a:ext uri="{FF2B5EF4-FFF2-40B4-BE49-F238E27FC236}">
                      <a16:creationId xmlns:a16="http://schemas.microsoft.com/office/drawing/2014/main" id="{4D89E92F-2657-BE31-0951-797C6AA20F5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63" name="Vrije vorm: vorm 162">
                  <a:extLst>
                    <a:ext uri="{FF2B5EF4-FFF2-40B4-BE49-F238E27FC236}">
                      <a16:creationId xmlns:a16="http://schemas.microsoft.com/office/drawing/2014/main" id="{438D40E8-E999-DDF6-F9F6-06E88FF197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38" name="Groep 137">
                <a:extLst>
                  <a:ext uri="{FF2B5EF4-FFF2-40B4-BE49-F238E27FC236}">
                    <a16:creationId xmlns:a16="http://schemas.microsoft.com/office/drawing/2014/main" id="{648A9F42-6EC6-2169-726A-CBF9E85056CE}"/>
                  </a:ext>
                </a:extLst>
              </p:cNvPr>
              <p:cNvGrpSpPr/>
              <p:nvPr/>
            </p:nvGrpSpPr>
            <p:grpSpPr>
              <a:xfrm>
                <a:off x="2773066" y="1930399"/>
                <a:ext cx="944504" cy="809593"/>
                <a:chOff x="5696016" y="3086100"/>
                <a:chExt cx="800080" cy="685799"/>
              </a:xfrm>
            </p:grpSpPr>
            <p:sp>
              <p:nvSpPr>
                <p:cNvPr id="160" name="Vrije vorm: vorm 159">
                  <a:extLst>
                    <a:ext uri="{FF2B5EF4-FFF2-40B4-BE49-F238E27FC236}">
                      <a16:creationId xmlns:a16="http://schemas.microsoft.com/office/drawing/2014/main" id="{9A4CFA8D-07BD-5170-D4E5-161BC7B59C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61" name="Vrije vorm: vorm 160">
                  <a:extLst>
                    <a:ext uri="{FF2B5EF4-FFF2-40B4-BE49-F238E27FC236}">
                      <a16:creationId xmlns:a16="http://schemas.microsoft.com/office/drawing/2014/main" id="{E0DDC906-392B-8BF8-BFD0-5A1FFC2B16E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39" name="Groep 138">
                <a:extLst>
                  <a:ext uri="{FF2B5EF4-FFF2-40B4-BE49-F238E27FC236}">
                    <a16:creationId xmlns:a16="http://schemas.microsoft.com/office/drawing/2014/main" id="{98109B48-263B-E592-B2F2-E39772CFDE3C}"/>
                  </a:ext>
                </a:extLst>
              </p:cNvPr>
              <p:cNvGrpSpPr/>
              <p:nvPr/>
            </p:nvGrpSpPr>
            <p:grpSpPr>
              <a:xfrm>
                <a:off x="3825401" y="1930399"/>
                <a:ext cx="944504" cy="809593"/>
                <a:chOff x="5696016" y="3086100"/>
                <a:chExt cx="800080" cy="685799"/>
              </a:xfrm>
            </p:grpSpPr>
            <p:sp>
              <p:nvSpPr>
                <p:cNvPr id="158" name="Vrije vorm: vorm 157">
                  <a:extLst>
                    <a:ext uri="{FF2B5EF4-FFF2-40B4-BE49-F238E27FC236}">
                      <a16:creationId xmlns:a16="http://schemas.microsoft.com/office/drawing/2014/main" id="{E309500C-C59B-C701-DAC5-5AE8651AB6B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59" name="Vrije vorm: vorm 158">
                  <a:extLst>
                    <a:ext uri="{FF2B5EF4-FFF2-40B4-BE49-F238E27FC236}">
                      <a16:creationId xmlns:a16="http://schemas.microsoft.com/office/drawing/2014/main" id="{17A79384-44B6-D219-8E6B-3CE0111468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40" name="Groep 139">
                <a:extLst>
                  <a:ext uri="{FF2B5EF4-FFF2-40B4-BE49-F238E27FC236}">
                    <a16:creationId xmlns:a16="http://schemas.microsoft.com/office/drawing/2014/main" id="{4F9EF1BE-FDE4-AF7E-F50D-51A90C91203C}"/>
                  </a:ext>
                </a:extLst>
              </p:cNvPr>
              <p:cNvGrpSpPr/>
              <p:nvPr/>
            </p:nvGrpSpPr>
            <p:grpSpPr>
              <a:xfrm>
                <a:off x="4877736" y="1930399"/>
                <a:ext cx="944504" cy="809593"/>
                <a:chOff x="5696016" y="3086100"/>
                <a:chExt cx="800080" cy="685799"/>
              </a:xfrm>
            </p:grpSpPr>
            <p:sp>
              <p:nvSpPr>
                <p:cNvPr id="156" name="Vrije vorm: vorm 155">
                  <a:extLst>
                    <a:ext uri="{FF2B5EF4-FFF2-40B4-BE49-F238E27FC236}">
                      <a16:creationId xmlns:a16="http://schemas.microsoft.com/office/drawing/2014/main" id="{D2AE83B1-B879-A82E-1303-AD80F5FA688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57" name="Vrije vorm: vorm 156">
                  <a:extLst>
                    <a:ext uri="{FF2B5EF4-FFF2-40B4-BE49-F238E27FC236}">
                      <a16:creationId xmlns:a16="http://schemas.microsoft.com/office/drawing/2014/main" id="{84E800B5-F4D2-5613-64A4-F1B3846AC7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41" name="Groep 140">
                <a:extLst>
                  <a:ext uri="{FF2B5EF4-FFF2-40B4-BE49-F238E27FC236}">
                    <a16:creationId xmlns:a16="http://schemas.microsoft.com/office/drawing/2014/main" id="{47370D0C-53AD-E36A-0EA6-82BF6574C900}"/>
                  </a:ext>
                </a:extLst>
              </p:cNvPr>
              <p:cNvGrpSpPr/>
              <p:nvPr/>
            </p:nvGrpSpPr>
            <p:grpSpPr>
              <a:xfrm>
                <a:off x="5930071" y="1930399"/>
                <a:ext cx="944504" cy="809593"/>
                <a:chOff x="5696016" y="3086100"/>
                <a:chExt cx="800080" cy="685799"/>
              </a:xfrm>
            </p:grpSpPr>
            <p:sp>
              <p:nvSpPr>
                <p:cNvPr id="154" name="Vrije vorm: vorm 153">
                  <a:extLst>
                    <a:ext uri="{FF2B5EF4-FFF2-40B4-BE49-F238E27FC236}">
                      <a16:creationId xmlns:a16="http://schemas.microsoft.com/office/drawing/2014/main" id="{06D6A907-6E9C-CA86-7111-E3577FB1B9C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55" name="Vrije vorm: vorm 154">
                  <a:extLst>
                    <a:ext uri="{FF2B5EF4-FFF2-40B4-BE49-F238E27FC236}">
                      <a16:creationId xmlns:a16="http://schemas.microsoft.com/office/drawing/2014/main" id="{81EF97B4-334C-8A72-CFED-5429E2B1EAA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42" name="Groep 141">
                <a:extLst>
                  <a:ext uri="{FF2B5EF4-FFF2-40B4-BE49-F238E27FC236}">
                    <a16:creationId xmlns:a16="http://schemas.microsoft.com/office/drawing/2014/main" id="{47EFC165-E427-F0E2-58C9-307AB5EE2EB5}"/>
                  </a:ext>
                </a:extLst>
              </p:cNvPr>
              <p:cNvGrpSpPr/>
              <p:nvPr/>
            </p:nvGrpSpPr>
            <p:grpSpPr>
              <a:xfrm>
                <a:off x="6982406" y="1930399"/>
                <a:ext cx="944504" cy="809593"/>
                <a:chOff x="5696016" y="3086100"/>
                <a:chExt cx="800080" cy="685799"/>
              </a:xfrm>
            </p:grpSpPr>
            <p:sp>
              <p:nvSpPr>
                <p:cNvPr id="152" name="Vrije vorm: vorm 151">
                  <a:extLst>
                    <a:ext uri="{FF2B5EF4-FFF2-40B4-BE49-F238E27FC236}">
                      <a16:creationId xmlns:a16="http://schemas.microsoft.com/office/drawing/2014/main" id="{25E530A3-54D8-BDA3-FA42-02828893F6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53" name="Vrije vorm: vorm 152">
                  <a:extLst>
                    <a:ext uri="{FF2B5EF4-FFF2-40B4-BE49-F238E27FC236}">
                      <a16:creationId xmlns:a16="http://schemas.microsoft.com/office/drawing/2014/main" id="{9E1D1429-28F4-A349-DE05-0F88907DE63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43" name="Groep 142">
                <a:extLst>
                  <a:ext uri="{FF2B5EF4-FFF2-40B4-BE49-F238E27FC236}">
                    <a16:creationId xmlns:a16="http://schemas.microsoft.com/office/drawing/2014/main" id="{5E71BC30-251B-DB46-0A95-AC9752744563}"/>
                  </a:ext>
                </a:extLst>
              </p:cNvPr>
              <p:cNvGrpSpPr/>
              <p:nvPr/>
            </p:nvGrpSpPr>
            <p:grpSpPr>
              <a:xfrm>
                <a:off x="8034741" y="1930399"/>
                <a:ext cx="944504" cy="809593"/>
                <a:chOff x="5696016" y="3086100"/>
                <a:chExt cx="800080" cy="685799"/>
              </a:xfrm>
            </p:grpSpPr>
            <p:sp>
              <p:nvSpPr>
                <p:cNvPr id="150" name="Vrije vorm: vorm 149">
                  <a:extLst>
                    <a:ext uri="{FF2B5EF4-FFF2-40B4-BE49-F238E27FC236}">
                      <a16:creationId xmlns:a16="http://schemas.microsoft.com/office/drawing/2014/main" id="{B4A89CAC-500E-207B-2CD5-2D384B5481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51" name="Vrije vorm: vorm 150">
                  <a:extLst>
                    <a:ext uri="{FF2B5EF4-FFF2-40B4-BE49-F238E27FC236}">
                      <a16:creationId xmlns:a16="http://schemas.microsoft.com/office/drawing/2014/main" id="{2BEFE0F6-4B55-F944-979E-10E4CFD8FF3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44" name="Groep 143">
                <a:extLst>
                  <a:ext uri="{FF2B5EF4-FFF2-40B4-BE49-F238E27FC236}">
                    <a16:creationId xmlns:a16="http://schemas.microsoft.com/office/drawing/2014/main" id="{E4E5B453-5F77-BE47-91B7-736D8454A875}"/>
                  </a:ext>
                </a:extLst>
              </p:cNvPr>
              <p:cNvGrpSpPr/>
              <p:nvPr/>
            </p:nvGrpSpPr>
            <p:grpSpPr>
              <a:xfrm>
                <a:off x="9087076" y="1930399"/>
                <a:ext cx="944504" cy="809593"/>
                <a:chOff x="5696016" y="3086100"/>
                <a:chExt cx="800080" cy="685799"/>
              </a:xfrm>
            </p:grpSpPr>
            <p:sp>
              <p:nvSpPr>
                <p:cNvPr id="148" name="Vrije vorm: vorm 147">
                  <a:extLst>
                    <a:ext uri="{FF2B5EF4-FFF2-40B4-BE49-F238E27FC236}">
                      <a16:creationId xmlns:a16="http://schemas.microsoft.com/office/drawing/2014/main" id="{D12A2A73-09C9-66C5-1E59-2C5057BC259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49" name="Vrije vorm: vorm 148">
                  <a:extLst>
                    <a:ext uri="{FF2B5EF4-FFF2-40B4-BE49-F238E27FC236}">
                      <a16:creationId xmlns:a16="http://schemas.microsoft.com/office/drawing/2014/main" id="{23C64F43-B5C6-5876-5063-33AA9D2188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45" name="Groep 144">
                <a:extLst>
                  <a:ext uri="{FF2B5EF4-FFF2-40B4-BE49-F238E27FC236}">
                    <a16:creationId xmlns:a16="http://schemas.microsoft.com/office/drawing/2014/main" id="{4CFDE540-B9AD-DB33-7B85-F3F4001481A7}"/>
                  </a:ext>
                </a:extLst>
              </p:cNvPr>
              <p:cNvGrpSpPr/>
              <p:nvPr/>
            </p:nvGrpSpPr>
            <p:grpSpPr>
              <a:xfrm>
                <a:off x="10139413" y="1930399"/>
                <a:ext cx="944504" cy="809593"/>
                <a:chOff x="5696016" y="3086100"/>
                <a:chExt cx="800080" cy="685799"/>
              </a:xfrm>
            </p:grpSpPr>
            <p:sp>
              <p:nvSpPr>
                <p:cNvPr id="146" name="Vrije vorm: vorm 145">
                  <a:extLst>
                    <a:ext uri="{FF2B5EF4-FFF2-40B4-BE49-F238E27FC236}">
                      <a16:creationId xmlns:a16="http://schemas.microsoft.com/office/drawing/2014/main" id="{DCB9F8D6-2F81-31E0-BFFA-77C39905BC8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47" name="Vrije vorm: vorm 146">
                  <a:extLst>
                    <a:ext uri="{FF2B5EF4-FFF2-40B4-BE49-F238E27FC236}">
                      <a16:creationId xmlns:a16="http://schemas.microsoft.com/office/drawing/2014/main" id="{262CD895-0F6F-100F-BF54-92E83CA2AB2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grpSp>
          <p:nvGrpSpPr>
            <p:cNvPr id="12" name="Groep 11">
              <a:extLst>
                <a:ext uri="{FF2B5EF4-FFF2-40B4-BE49-F238E27FC236}">
                  <a16:creationId xmlns:a16="http://schemas.microsoft.com/office/drawing/2014/main" id="{1853FA9A-D094-5EEB-F75E-567E5A63E4E2}"/>
                </a:ext>
              </a:extLst>
            </p:cNvPr>
            <p:cNvGrpSpPr/>
            <p:nvPr/>
          </p:nvGrpSpPr>
          <p:grpSpPr>
            <a:xfrm>
              <a:off x="649432" y="1222801"/>
              <a:ext cx="2409536" cy="187292"/>
              <a:chOff x="668396" y="1930399"/>
              <a:chExt cx="10415521" cy="809593"/>
            </a:xfrm>
          </p:grpSpPr>
          <p:grpSp>
            <p:nvGrpSpPr>
              <p:cNvPr id="106" name="Groep 105">
                <a:extLst>
                  <a:ext uri="{FF2B5EF4-FFF2-40B4-BE49-F238E27FC236}">
                    <a16:creationId xmlns:a16="http://schemas.microsoft.com/office/drawing/2014/main" id="{033A960F-5A23-FC2F-58E6-0A7E0CC1E898}"/>
                  </a:ext>
                </a:extLst>
              </p:cNvPr>
              <p:cNvGrpSpPr/>
              <p:nvPr/>
            </p:nvGrpSpPr>
            <p:grpSpPr>
              <a:xfrm>
                <a:off x="668396" y="1930399"/>
                <a:ext cx="944504" cy="809593"/>
                <a:chOff x="5696016" y="3086100"/>
                <a:chExt cx="800080" cy="685799"/>
              </a:xfrm>
            </p:grpSpPr>
            <p:sp>
              <p:nvSpPr>
                <p:cNvPr id="134" name="Vrije vorm: vorm 133">
                  <a:extLst>
                    <a:ext uri="{FF2B5EF4-FFF2-40B4-BE49-F238E27FC236}">
                      <a16:creationId xmlns:a16="http://schemas.microsoft.com/office/drawing/2014/main" id="{1D6C0319-3C93-AC5F-CFF2-80BC16DFF2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35" name="Vrije vorm: vorm 134">
                  <a:extLst>
                    <a:ext uri="{FF2B5EF4-FFF2-40B4-BE49-F238E27FC236}">
                      <a16:creationId xmlns:a16="http://schemas.microsoft.com/office/drawing/2014/main" id="{EF0060B6-173E-A59D-82EE-02E35C9E56D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07" name="Groep 106">
                <a:extLst>
                  <a:ext uri="{FF2B5EF4-FFF2-40B4-BE49-F238E27FC236}">
                    <a16:creationId xmlns:a16="http://schemas.microsoft.com/office/drawing/2014/main" id="{8028675A-71DD-6570-3639-C771C3FB343F}"/>
                  </a:ext>
                </a:extLst>
              </p:cNvPr>
              <p:cNvGrpSpPr/>
              <p:nvPr/>
            </p:nvGrpSpPr>
            <p:grpSpPr>
              <a:xfrm>
                <a:off x="1720731" y="1930399"/>
                <a:ext cx="944504" cy="809593"/>
                <a:chOff x="5696016" y="3086100"/>
                <a:chExt cx="800080" cy="685799"/>
              </a:xfrm>
            </p:grpSpPr>
            <p:sp>
              <p:nvSpPr>
                <p:cNvPr id="132" name="Vrije vorm: vorm 131">
                  <a:extLst>
                    <a:ext uri="{FF2B5EF4-FFF2-40B4-BE49-F238E27FC236}">
                      <a16:creationId xmlns:a16="http://schemas.microsoft.com/office/drawing/2014/main" id="{792F238E-1F58-FC98-9FEA-599FA9F6193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33" name="Vrije vorm: vorm 132">
                  <a:extLst>
                    <a:ext uri="{FF2B5EF4-FFF2-40B4-BE49-F238E27FC236}">
                      <a16:creationId xmlns:a16="http://schemas.microsoft.com/office/drawing/2014/main" id="{163F0710-3308-A8C7-52DE-EA6389C0327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08" name="Groep 107">
                <a:extLst>
                  <a:ext uri="{FF2B5EF4-FFF2-40B4-BE49-F238E27FC236}">
                    <a16:creationId xmlns:a16="http://schemas.microsoft.com/office/drawing/2014/main" id="{2F0681F6-5C3A-3106-5D97-FCF0405F4B2D}"/>
                  </a:ext>
                </a:extLst>
              </p:cNvPr>
              <p:cNvGrpSpPr/>
              <p:nvPr/>
            </p:nvGrpSpPr>
            <p:grpSpPr>
              <a:xfrm>
                <a:off x="2773066" y="1930399"/>
                <a:ext cx="944504" cy="809593"/>
                <a:chOff x="5696016" y="3086100"/>
                <a:chExt cx="800080" cy="685799"/>
              </a:xfrm>
            </p:grpSpPr>
            <p:sp>
              <p:nvSpPr>
                <p:cNvPr id="130" name="Vrije vorm: vorm 129">
                  <a:extLst>
                    <a:ext uri="{FF2B5EF4-FFF2-40B4-BE49-F238E27FC236}">
                      <a16:creationId xmlns:a16="http://schemas.microsoft.com/office/drawing/2014/main" id="{81EA65EF-7F16-1396-CC6F-023A11B30F8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31" name="Vrije vorm: vorm 130">
                  <a:extLst>
                    <a:ext uri="{FF2B5EF4-FFF2-40B4-BE49-F238E27FC236}">
                      <a16:creationId xmlns:a16="http://schemas.microsoft.com/office/drawing/2014/main" id="{5870AF19-D340-84AF-64DA-F61D4CEE9BB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09" name="Groep 108">
                <a:extLst>
                  <a:ext uri="{FF2B5EF4-FFF2-40B4-BE49-F238E27FC236}">
                    <a16:creationId xmlns:a16="http://schemas.microsoft.com/office/drawing/2014/main" id="{BBD29D99-2E9C-1399-A5FC-FB6AE8B8EE9B}"/>
                  </a:ext>
                </a:extLst>
              </p:cNvPr>
              <p:cNvGrpSpPr/>
              <p:nvPr/>
            </p:nvGrpSpPr>
            <p:grpSpPr>
              <a:xfrm>
                <a:off x="3825401" y="1930399"/>
                <a:ext cx="944504" cy="809593"/>
                <a:chOff x="5696016" y="3086100"/>
                <a:chExt cx="800080" cy="685799"/>
              </a:xfrm>
            </p:grpSpPr>
            <p:sp>
              <p:nvSpPr>
                <p:cNvPr id="128" name="Vrije vorm: vorm 127">
                  <a:extLst>
                    <a:ext uri="{FF2B5EF4-FFF2-40B4-BE49-F238E27FC236}">
                      <a16:creationId xmlns:a16="http://schemas.microsoft.com/office/drawing/2014/main" id="{4B1A3D6D-9E38-0727-17CA-7F330E1E75F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29" name="Vrije vorm: vorm 128">
                  <a:extLst>
                    <a:ext uri="{FF2B5EF4-FFF2-40B4-BE49-F238E27FC236}">
                      <a16:creationId xmlns:a16="http://schemas.microsoft.com/office/drawing/2014/main" id="{9B655F69-167E-1230-CBCD-66588297D59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10" name="Groep 109">
                <a:extLst>
                  <a:ext uri="{FF2B5EF4-FFF2-40B4-BE49-F238E27FC236}">
                    <a16:creationId xmlns:a16="http://schemas.microsoft.com/office/drawing/2014/main" id="{2654CAD6-C0E9-1289-9EAF-6ED68568813A}"/>
                  </a:ext>
                </a:extLst>
              </p:cNvPr>
              <p:cNvGrpSpPr/>
              <p:nvPr/>
            </p:nvGrpSpPr>
            <p:grpSpPr>
              <a:xfrm>
                <a:off x="4877736" y="1930399"/>
                <a:ext cx="944504" cy="809593"/>
                <a:chOff x="5696016" y="3086100"/>
                <a:chExt cx="800080" cy="685799"/>
              </a:xfrm>
            </p:grpSpPr>
            <p:sp>
              <p:nvSpPr>
                <p:cNvPr id="126" name="Vrije vorm: vorm 125">
                  <a:extLst>
                    <a:ext uri="{FF2B5EF4-FFF2-40B4-BE49-F238E27FC236}">
                      <a16:creationId xmlns:a16="http://schemas.microsoft.com/office/drawing/2014/main" id="{C4B22991-89FF-214B-7CF7-DCFCA961D8C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27" name="Vrije vorm: vorm 126">
                  <a:extLst>
                    <a:ext uri="{FF2B5EF4-FFF2-40B4-BE49-F238E27FC236}">
                      <a16:creationId xmlns:a16="http://schemas.microsoft.com/office/drawing/2014/main" id="{9EE97ED2-AE4D-3C20-70E7-373AC5515EE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11" name="Groep 110">
                <a:extLst>
                  <a:ext uri="{FF2B5EF4-FFF2-40B4-BE49-F238E27FC236}">
                    <a16:creationId xmlns:a16="http://schemas.microsoft.com/office/drawing/2014/main" id="{43D31A45-B9C5-8830-A008-C8B9BB5FA304}"/>
                  </a:ext>
                </a:extLst>
              </p:cNvPr>
              <p:cNvGrpSpPr/>
              <p:nvPr/>
            </p:nvGrpSpPr>
            <p:grpSpPr>
              <a:xfrm>
                <a:off x="5930071" y="1930399"/>
                <a:ext cx="944504" cy="809593"/>
                <a:chOff x="5696016" y="3086100"/>
                <a:chExt cx="800080" cy="685799"/>
              </a:xfrm>
            </p:grpSpPr>
            <p:sp>
              <p:nvSpPr>
                <p:cNvPr id="124" name="Vrije vorm: vorm 123">
                  <a:extLst>
                    <a:ext uri="{FF2B5EF4-FFF2-40B4-BE49-F238E27FC236}">
                      <a16:creationId xmlns:a16="http://schemas.microsoft.com/office/drawing/2014/main" id="{856BA700-B698-264C-5C5E-8D0F3FB5B1F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25" name="Vrije vorm: vorm 124">
                  <a:extLst>
                    <a:ext uri="{FF2B5EF4-FFF2-40B4-BE49-F238E27FC236}">
                      <a16:creationId xmlns:a16="http://schemas.microsoft.com/office/drawing/2014/main" id="{FC379AF5-2A06-B29D-623E-69C7AAF8E6C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12" name="Groep 111">
                <a:extLst>
                  <a:ext uri="{FF2B5EF4-FFF2-40B4-BE49-F238E27FC236}">
                    <a16:creationId xmlns:a16="http://schemas.microsoft.com/office/drawing/2014/main" id="{11C44464-8B47-6FBE-4978-A3870563C286}"/>
                  </a:ext>
                </a:extLst>
              </p:cNvPr>
              <p:cNvGrpSpPr/>
              <p:nvPr/>
            </p:nvGrpSpPr>
            <p:grpSpPr>
              <a:xfrm>
                <a:off x="6982406" y="1930399"/>
                <a:ext cx="944504" cy="809593"/>
                <a:chOff x="5696016" y="3086100"/>
                <a:chExt cx="800080" cy="685799"/>
              </a:xfrm>
            </p:grpSpPr>
            <p:sp>
              <p:nvSpPr>
                <p:cNvPr id="122" name="Vrije vorm: vorm 121">
                  <a:extLst>
                    <a:ext uri="{FF2B5EF4-FFF2-40B4-BE49-F238E27FC236}">
                      <a16:creationId xmlns:a16="http://schemas.microsoft.com/office/drawing/2014/main" id="{99FC93DD-A1BF-47E5-F792-BCCCE69A85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23" name="Vrije vorm: vorm 122">
                  <a:extLst>
                    <a:ext uri="{FF2B5EF4-FFF2-40B4-BE49-F238E27FC236}">
                      <a16:creationId xmlns:a16="http://schemas.microsoft.com/office/drawing/2014/main" id="{94C7837D-63D4-3057-7422-5365E3BA60D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13" name="Groep 112">
                <a:extLst>
                  <a:ext uri="{FF2B5EF4-FFF2-40B4-BE49-F238E27FC236}">
                    <a16:creationId xmlns:a16="http://schemas.microsoft.com/office/drawing/2014/main" id="{4E60D7C3-D1FC-FD7B-A432-D859D18F9D95}"/>
                  </a:ext>
                </a:extLst>
              </p:cNvPr>
              <p:cNvGrpSpPr/>
              <p:nvPr/>
            </p:nvGrpSpPr>
            <p:grpSpPr>
              <a:xfrm>
                <a:off x="8034741" y="1930399"/>
                <a:ext cx="944504" cy="809593"/>
                <a:chOff x="5696016" y="3086100"/>
                <a:chExt cx="800080" cy="685799"/>
              </a:xfrm>
            </p:grpSpPr>
            <p:sp>
              <p:nvSpPr>
                <p:cNvPr id="120" name="Vrije vorm: vorm 119">
                  <a:extLst>
                    <a:ext uri="{FF2B5EF4-FFF2-40B4-BE49-F238E27FC236}">
                      <a16:creationId xmlns:a16="http://schemas.microsoft.com/office/drawing/2014/main" id="{31C8D54D-AB55-5573-4B75-449610F9725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21" name="Vrije vorm: vorm 120">
                  <a:extLst>
                    <a:ext uri="{FF2B5EF4-FFF2-40B4-BE49-F238E27FC236}">
                      <a16:creationId xmlns:a16="http://schemas.microsoft.com/office/drawing/2014/main" id="{09740185-87B4-8D62-FB5E-04C53EFFDB4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14" name="Groep 113">
                <a:extLst>
                  <a:ext uri="{FF2B5EF4-FFF2-40B4-BE49-F238E27FC236}">
                    <a16:creationId xmlns:a16="http://schemas.microsoft.com/office/drawing/2014/main" id="{C26543BA-29A3-8A06-58C3-2AC78D5A7101}"/>
                  </a:ext>
                </a:extLst>
              </p:cNvPr>
              <p:cNvGrpSpPr/>
              <p:nvPr/>
            </p:nvGrpSpPr>
            <p:grpSpPr>
              <a:xfrm>
                <a:off x="9087076" y="1930399"/>
                <a:ext cx="944504" cy="809593"/>
                <a:chOff x="5696016" y="3086100"/>
                <a:chExt cx="800080" cy="685799"/>
              </a:xfrm>
            </p:grpSpPr>
            <p:sp>
              <p:nvSpPr>
                <p:cNvPr id="118" name="Vrije vorm: vorm 117">
                  <a:extLst>
                    <a:ext uri="{FF2B5EF4-FFF2-40B4-BE49-F238E27FC236}">
                      <a16:creationId xmlns:a16="http://schemas.microsoft.com/office/drawing/2014/main" id="{F702EC71-0CCE-A25B-2C3C-2479E3A1EE8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19" name="Vrije vorm: vorm 118">
                  <a:extLst>
                    <a:ext uri="{FF2B5EF4-FFF2-40B4-BE49-F238E27FC236}">
                      <a16:creationId xmlns:a16="http://schemas.microsoft.com/office/drawing/2014/main" id="{618CA7C8-7185-2B1A-CBB6-DE0ADBB9BD8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15" name="Groep 114">
                <a:extLst>
                  <a:ext uri="{FF2B5EF4-FFF2-40B4-BE49-F238E27FC236}">
                    <a16:creationId xmlns:a16="http://schemas.microsoft.com/office/drawing/2014/main" id="{6EF3FCDB-C4C0-D90A-F285-7485B4BED88C}"/>
                  </a:ext>
                </a:extLst>
              </p:cNvPr>
              <p:cNvGrpSpPr/>
              <p:nvPr/>
            </p:nvGrpSpPr>
            <p:grpSpPr>
              <a:xfrm>
                <a:off x="10139413" y="1930399"/>
                <a:ext cx="944504" cy="809593"/>
                <a:chOff x="5696016" y="3086100"/>
                <a:chExt cx="800080" cy="685799"/>
              </a:xfrm>
            </p:grpSpPr>
            <p:sp>
              <p:nvSpPr>
                <p:cNvPr id="116" name="Vrije vorm: vorm 115">
                  <a:extLst>
                    <a:ext uri="{FF2B5EF4-FFF2-40B4-BE49-F238E27FC236}">
                      <a16:creationId xmlns:a16="http://schemas.microsoft.com/office/drawing/2014/main" id="{EBC617BE-BA2D-C47C-1C39-DB608825E23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17" name="Vrije vorm: vorm 116">
                  <a:extLst>
                    <a:ext uri="{FF2B5EF4-FFF2-40B4-BE49-F238E27FC236}">
                      <a16:creationId xmlns:a16="http://schemas.microsoft.com/office/drawing/2014/main" id="{DC33A106-7148-433E-3928-F7C13405109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grpSp>
          <p:nvGrpSpPr>
            <p:cNvPr id="13" name="Groep 12">
              <a:extLst>
                <a:ext uri="{FF2B5EF4-FFF2-40B4-BE49-F238E27FC236}">
                  <a16:creationId xmlns:a16="http://schemas.microsoft.com/office/drawing/2014/main" id="{6227E75F-0EF3-03D5-BFCB-792C5E1AD3B0}"/>
                </a:ext>
              </a:extLst>
            </p:cNvPr>
            <p:cNvGrpSpPr/>
            <p:nvPr/>
          </p:nvGrpSpPr>
          <p:grpSpPr>
            <a:xfrm>
              <a:off x="649432" y="1456834"/>
              <a:ext cx="2409536" cy="187292"/>
              <a:chOff x="668396" y="1930399"/>
              <a:chExt cx="10415521" cy="809593"/>
            </a:xfrm>
          </p:grpSpPr>
          <p:grpSp>
            <p:nvGrpSpPr>
              <p:cNvPr id="76" name="Groep 75">
                <a:extLst>
                  <a:ext uri="{FF2B5EF4-FFF2-40B4-BE49-F238E27FC236}">
                    <a16:creationId xmlns:a16="http://schemas.microsoft.com/office/drawing/2014/main" id="{0C9C8707-0178-E729-99A9-643706529CB1}"/>
                  </a:ext>
                </a:extLst>
              </p:cNvPr>
              <p:cNvGrpSpPr/>
              <p:nvPr/>
            </p:nvGrpSpPr>
            <p:grpSpPr>
              <a:xfrm>
                <a:off x="668396" y="1930399"/>
                <a:ext cx="944504" cy="809593"/>
                <a:chOff x="5696016" y="3086100"/>
                <a:chExt cx="800080" cy="685799"/>
              </a:xfrm>
            </p:grpSpPr>
            <p:sp>
              <p:nvSpPr>
                <p:cNvPr id="104" name="Vrije vorm: vorm 103">
                  <a:extLst>
                    <a:ext uri="{FF2B5EF4-FFF2-40B4-BE49-F238E27FC236}">
                      <a16:creationId xmlns:a16="http://schemas.microsoft.com/office/drawing/2014/main" id="{B9359AD6-217B-5779-7A4D-82165D5E27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05" name="Vrije vorm: vorm 104">
                  <a:extLst>
                    <a:ext uri="{FF2B5EF4-FFF2-40B4-BE49-F238E27FC236}">
                      <a16:creationId xmlns:a16="http://schemas.microsoft.com/office/drawing/2014/main" id="{D8AE2201-DC5F-1794-1590-4EA5DE6AC2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77" name="Groep 76">
                <a:extLst>
                  <a:ext uri="{FF2B5EF4-FFF2-40B4-BE49-F238E27FC236}">
                    <a16:creationId xmlns:a16="http://schemas.microsoft.com/office/drawing/2014/main" id="{011B9D4F-7034-7EFD-3E95-178FEE6ABA89}"/>
                  </a:ext>
                </a:extLst>
              </p:cNvPr>
              <p:cNvGrpSpPr/>
              <p:nvPr/>
            </p:nvGrpSpPr>
            <p:grpSpPr>
              <a:xfrm>
                <a:off x="1720731" y="1930399"/>
                <a:ext cx="944504" cy="809593"/>
                <a:chOff x="5696016" y="3086100"/>
                <a:chExt cx="800080" cy="685799"/>
              </a:xfrm>
            </p:grpSpPr>
            <p:sp>
              <p:nvSpPr>
                <p:cNvPr id="102" name="Vrije vorm: vorm 101">
                  <a:extLst>
                    <a:ext uri="{FF2B5EF4-FFF2-40B4-BE49-F238E27FC236}">
                      <a16:creationId xmlns:a16="http://schemas.microsoft.com/office/drawing/2014/main" id="{993A28C3-CC18-C030-5D2D-25720152823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03" name="Vrije vorm: vorm 102">
                  <a:extLst>
                    <a:ext uri="{FF2B5EF4-FFF2-40B4-BE49-F238E27FC236}">
                      <a16:creationId xmlns:a16="http://schemas.microsoft.com/office/drawing/2014/main" id="{31BE362A-53C0-9EBA-6336-25DCED69B8E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78" name="Groep 77">
                <a:extLst>
                  <a:ext uri="{FF2B5EF4-FFF2-40B4-BE49-F238E27FC236}">
                    <a16:creationId xmlns:a16="http://schemas.microsoft.com/office/drawing/2014/main" id="{48AB45BF-0639-FFB8-36EC-7C4DA5821E44}"/>
                  </a:ext>
                </a:extLst>
              </p:cNvPr>
              <p:cNvGrpSpPr/>
              <p:nvPr/>
            </p:nvGrpSpPr>
            <p:grpSpPr>
              <a:xfrm>
                <a:off x="2773066" y="1930399"/>
                <a:ext cx="944504" cy="809593"/>
                <a:chOff x="5696016" y="3086100"/>
                <a:chExt cx="800080" cy="685799"/>
              </a:xfrm>
            </p:grpSpPr>
            <p:sp>
              <p:nvSpPr>
                <p:cNvPr id="100" name="Vrije vorm: vorm 99">
                  <a:extLst>
                    <a:ext uri="{FF2B5EF4-FFF2-40B4-BE49-F238E27FC236}">
                      <a16:creationId xmlns:a16="http://schemas.microsoft.com/office/drawing/2014/main" id="{16A0909B-D9E1-68C4-A06A-8A3E46D5134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101" name="Vrije vorm: vorm 100">
                  <a:extLst>
                    <a:ext uri="{FF2B5EF4-FFF2-40B4-BE49-F238E27FC236}">
                      <a16:creationId xmlns:a16="http://schemas.microsoft.com/office/drawing/2014/main" id="{A2EA9065-7223-7E42-1608-2762D20A0FD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79" name="Groep 78">
                <a:extLst>
                  <a:ext uri="{FF2B5EF4-FFF2-40B4-BE49-F238E27FC236}">
                    <a16:creationId xmlns:a16="http://schemas.microsoft.com/office/drawing/2014/main" id="{78379103-9948-B0C0-0883-50891CA70B13}"/>
                  </a:ext>
                </a:extLst>
              </p:cNvPr>
              <p:cNvGrpSpPr/>
              <p:nvPr/>
            </p:nvGrpSpPr>
            <p:grpSpPr>
              <a:xfrm>
                <a:off x="3825401" y="1930399"/>
                <a:ext cx="944504" cy="809593"/>
                <a:chOff x="5696016" y="3086100"/>
                <a:chExt cx="800080" cy="685799"/>
              </a:xfrm>
            </p:grpSpPr>
            <p:sp>
              <p:nvSpPr>
                <p:cNvPr id="98" name="Vrije vorm: vorm 97">
                  <a:extLst>
                    <a:ext uri="{FF2B5EF4-FFF2-40B4-BE49-F238E27FC236}">
                      <a16:creationId xmlns:a16="http://schemas.microsoft.com/office/drawing/2014/main" id="{4A86FD83-C52C-8B42-E272-28B50824C7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99" name="Vrije vorm: vorm 98">
                  <a:extLst>
                    <a:ext uri="{FF2B5EF4-FFF2-40B4-BE49-F238E27FC236}">
                      <a16:creationId xmlns:a16="http://schemas.microsoft.com/office/drawing/2014/main" id="{CDAB713C-9622-8BD6-9DB2-BAEA3131E8F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80" name="Groep 79">
                <a:extLst>
                  <a:ext uri="{FF2B5EF4-FFF2-40B4-BE49-F238E27FC236}">
                    <a16:creationId xmlns:a16="http://schemas.microsoft.com/office/drawing/2014/main" id="{2A6D6098-A707-5BDE-2A41-DE25D9379B31}"/>
                  </a:ext>
                </a:extLst>
              </p:cNvPr>
              <p:cNvGrpSpPr/>
              <p:nvPr/>
            </p:nvGrpSpPr>
            <p:grpSpPr>
              <a:xfrm>
                <a:off x="4877736" y="1930399"/>
                <a:ext cx="944504" cy="809593"/>
                <a:chOff x="5696016" y="3086100"/>
                <a:chExt cx="800080" cy="685799"/>
              </a:xfrm>
            </p:grpSpPr>
            <p:sp>
              <p:nvSpPr>
                <p:cNvPr id="96" name="Vrije vorm: vorm 95">
                  <a:extLst>
                    <a:ext uri="{FF2B5EF4-FFF2-40B4-BE49-F238E27FC236}">
                      <a16:creationId xmlns:a16="http://schemas.microsoft.com/office/drawing/2014/main" id="{9B833773-BC58-5C93-AA0B-10CD21208E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97" name="Vrije vorm: vorm 96">
                  <a:extLst>
                    <a:ext uri="{FF2B5EF4-FFF2-40B4-BE49-F238E27FC236}">
                      <a16:creationId xmlns:a16="http://schemas.microsoft.com/office/drawing/2014/main" id="{9B091FAB-FAFA-E221-5076-1177DD518D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81" name="Groep 80">
                <a:extLst>
                  <a:ext uri="{FF2B5EF4-FFF2-40B4-BE49-F238E27FC236}">
                    <a16:creationId xmlns:a16="http://schemas.microsoft.com/office/drawing/2014/main" id="{BB33ED50-EB4D-B305-5742-E594BEE4B51B}"/>
                  </a:ext>
                </a:extLst>
              </p:cNvPr>
              <p:cNvGrpSpPr/>
              <p:nvPr/>
            </p:nvGrpSpPr>
            <p:grpSpPr>
              <a:xfrm>
                <a:off x="5930071" y="1930399"/>
                <a:ext cx="944504" cy="809593"/>
                <a:chOff x="5696016" y="3086100"/>
                <a:chExt cx="800080" cy="685799"/>
              </a:xfrm>
            </p:grpSpPr>
            <p:sp>
              <p:nvSpPr>
                <p:cNvPr id="94" name="Vrije vorm: vorm 93">
                  <a:extLst>
                    <a:ext uri="{FF2B5EF4-FFF2-40B4-BE49-F238E27FC236}">
                      <a16:creationId xmlns:a16="http://schemas.microsoft.com/office/drawing/2014/main" id="{D173E1A6-CD6A-E6FC-74C9-1D9D1F48F2C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95" name="Vrije vorm: vorm 94">
                  <a:extLst>
                    <a:ext uri="{FF2B5EF4-FFF2-40B4-BE49-F238E27FC236}">
                      <a16:creationId xmlns:a16="http://schemas.microsoft.com/office/drawing/2014/main" id="{B1FACC84-45B7-8F10-20A5-A046D15BF61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82" name="Groep 81">
                <a:extLst>
                  <a:ext uri="{FF2B5EF4-FFF2-40B4-BE49-F238E27FC236}">
                    <a16:creationId xmlns:a16="http://schemas.microsoft.com/office/drawing/2014/main" id="{B16113B7-B29D-A5AD-7728-F3406F61EDC4}"/>
                  </a:ext>
                </a:extLst>
              </p:cNvPr>
              <p:cNvGrpSpPr/>
              <p:nvPr/>
            </p:nvGrpSpPr>
            <p:grpSpPr>
              <a:xfrm>
                <a:off x="6982406" y="1930399"/>
                <a:ext cx="944504" cy="809593"/>
                <a:chOff x="5696016" y="3086100"/>
                <a:chExt cx="800080" cy="685799"/>
              </a:xfrm>
            </p:grpSpPr>
            <p:sp>
              <p:nvSpPr>
                <p:cNvPr id="92" name="Vrije vorm: vorm 91">
                  <a:extLst>
                    <a:ext uri="{FF2B5EF4-FFF2-40B4-BE49-F238E27FC236}">
                      <a16:creationId xmlns:a16="http://schemas.microsoft.com/office/drawing/2014/main" id="{80CB6465-3EC2-A7DB-45AD-0044026DB2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93" name="Vrije vorm: vorm 92">
                  <a:extLst>
                    <a:ext uri="{FF2B5EF4-FFF2-40B4-BE49-F238E27FC236}">
                      <a16:creationId xmlns:a16="http://schemas.microsoft.com/office/drawing/2014/main" id="{5358255A-AC19-B34A-5428-E450B7D0C81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83" name="Groep 82">
                <a:extLst>
                  <a:ext uri="{FF2B5EF4-FFF2-40B4-BE49-F238E27FC236}">
                    <a16:creationId xmlns:a16="http://schemas.microsoft.com/office/drawing/2014/main" id="{30C39176-D0B8-DFA8-D840-6C620AEA01D8}"/>
                  </a:ext>
                </a:extLst>
              </p:cNvPr>
              <p:cNvGrpSpPr/>
              <p:nvPr/>
            </p:nvGrpSpPr>
            <p:grpSpPr>
              <a:xfrm>
                <a:off x="8034741" y="1930399"/>
                <a:ext cx="944504" cy="809593"/>
                <a:chOff x="5696016" y="3086100"/>
                <a:chExt cx="800080" cy="685799"/>
              </a:xfrm>
            </p:grpSpPr>
            <p:sp>
              <p:nvSpPr>
                <p:cNvPr id="90" name="Vrije vorm: vorm 89">
                  <a:extLst>
                    <a:ext uri="{FF2B5EF4-FFF2-40B4-BE49-F238E27FC236}">
                      <a16:creationId xmlns:a16="http://schemas.microsoft.com/office/drawing/2014/main" id="{6920D4E9-F8B4-ABA6-B51C-40E8EAAE3B9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91" name="Vrije vorm: vorm 90">
                  <a:extLst>
                    <a:ext uri="{FF2B5EF4-FFF2-40B4-BE49-F238E27FC236}">
                      <a16:creationId xmlns:a16="http://schemas.microsoft.com/office/drawing/2014/main" id="{C71A8EE0-D357-3160-9FB1-CA07504D469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84" name="Groep 83">
                <a:extLst>
                  <a:ext uri="{FF2B5EF4-FFF2-40B4-BE49-F238E27FC236}">
                    <a16:creationId xmlns:a16="http://schemas.microsoft.com/office/drawing/2014/main" id="{3AD491FB-13A7-DEF5-139C-4B85D7C38BDC}"/>
                  </a:ext>
                </a:extLst>
              </p:cNvPr>
              <p:cNvGrpSpPr/>
              <p:nvPr/>
            </p:nvGrpSpPr>
            <p:grpSpPr>
              <a:xfrm>
                <a:off x="9087076" y="1930399"/>
                <a:ext cx="944504" cy="809593"/>
                <a:chOff x="5696016" y="3086100"/>
                <a:chExt cx="800080" cy="685799"/>
              </a:xfrm>
            </p:grpSpPr>
            <p:sp>
              <p:nvSpPr>
                <p:cNvPr id="88" name="Vrije vorm: vorm 87">
                  <a:extLst>
                    <a:ext uri="{FF2B5EF4-FFF2-40B4-BE49-F238E27FC236}">
                      <a16:creationId xmlns:a16="http://schemas.microsoft.com/office/drawing/2014/main" id="{0466E454-7F72-4260-7516-64C9EAE6C61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89" name="Vrije vorm: vorm 88">
                  <a:extLst>
                    <a:ext uri="{FF2B5EF4-FFF2-40B4-BE49-F238E27FC236}">
                      <a16:creationId xmlns:a16="http://schemas.microsoft.com/office/drawing/2014/main" id="{CC1DEAAC-21F0-C944-E0BE-89E1B7AC03D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85" name="Groep 84">
                <a:extLst>
                  <a:ext uri="{FF2B5EF4-FFF2-40B4-BE49-F238E27FC236}">
                    <a16:creationId xmlns:a16="http://schemas.microsoft.com/office/drawing/2014/main" id="{4F0C49EE-8441-5A9C-2D14-B42B4CD99DFF}"/>
                  </a:ext>
                </a:extLst>
              </p:cNvPr>
              <p:cNvGrpSpPr/>
              <p:nvPr/>
            </p:nvGrpSpPr>
            <p:grpSpPr>
              <a:xfrm>
                <a:off x="10139413" y="1930399"/>
                <a:ext cx="944504" cy="809593"/>
                <a:chOff x="5696016" y="3086100"/>
                <a:chExt cx="800080" cy="685799"/>
              </a:xfrm>
            </p:grpSpPr>
            <p:sp>
              <p:nvSpPr>
                <p:cNvPr id="86" name="Vrije vorm: vorm 85">
                  <a:extLst>
                    <a:ext uri="{FF2B5EF4-FFF2-40B4-BE49-F238E27FC236}">
                      <a16:creationId xmlns:a16="http://schemas.microsoft.com/office/drawing/2014/main" id="{D36F1575-6A68-FCF8-73A4-EFAE32499CF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87" name="Vrije vorm: vorm 86">
                  <a:extLst>
                    <a:ext uri="{FF2B5EF4-FFF2-40B4-BE49-F238E27FC236}">
                      <a16:creationId xmlns:a16="http://schemas.microsoft.com/office/drawing/2014/main" id="{6485AA28-050C-3D2D-B5A9-659512D243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grpSp>
          <p:nvGrpSpPr>
            <p:cNvPr id="14" name="Groep 13">
              <a:extLst>
                <a:ext uri="{FF2B5EF4-FFF2-40B4-BE49-F238E27FC236}">
                  <a16:creationId xmlns:a16="http://schemas.microsoft.com/office/drawing/2014/main" id="{B5DAF43D-90A1-2271-BF04-72C0A79C00B0}"/>
                </a:ext>
              </a:extLst>
            </p:cNvPr>
            <p:cNvGrpSpPr/>
            <p:nvPr/>
          </p:nvGrpSpPr>
          <p:grpSpPr>
            <a:xfrm>
              <a:off x="649432" y="1690867"/>
              <a:ext cx="2409536" cy="187292"/>
              <a:chOff x="668396" y="1930399"/>
              <a:chExt cx="10415521" cy="809593"/>
            </a:xfrm>
          </p:grpSpPr>
          <p:grpSp>
            <p:nvGrpSpPr>
              <p:cNvPr id="46" name="Groep 45">
                <a:extLst>
                  <a:ext uri="{FF2B5EF4-FFF2-40B4-BE49-F238E27FC236}">
                    <a16:creationId xmlns:a16="http://schemas.microsoft.com/office/drawing/2014/main" id="{CEAC701B-F5E4-8D51-2BDA-4879B45C9069}"/>
                  </a:ext>
                </a:extLst>
              </p:cNvPr>
              <p:cNvGrpSpPr/>
              <p:nvPr/>
            </p:nvGrpSpPr>
            <p:grpSpPr>
              <a:xfrm>
                <a:off x="668396" y="1930399"/>
                <a:ext cx="944504" cy="809593"/>
                <a:chOff x="5696016" y="3086100"/>
                <a:chExt cx="800080" cy="685799"/>
              </a:xfrm>
            </p:grpSpPr>
            <p:sp>
              <p:nvSpPr>
                <p:cNvPr id="74" name="Vrije vorm: vorm 73">
                  <a:extLst>
                    <a:ext uri="{FF2B5EF4-FFF2-40B4-BE49-F238E27FC236}">
                      <a16:creationId xmlns:a16="http://schemas.microsoft.com/office/drawing/2014/main" id="{B343A97E-FCD4-17A3-5510-712511F1438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75" name="Vrije vorm: vorm 74">
                  <a:extLst>
                    <a:ext uri="{FF2B5EF4-FFF2-40B4-BE49-F238E27FC236}">
                      <a16:creationId xmlns:a16="http://schemas.microsoft.com/office/drawing/2014/main" id="{3988C9A2-D60E-F49D-EDA5-15D1C9BC88D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47" name="Groep 46">
                <a:extLst>
                  <a:ext uri="{FF2B5EF4-FFF2-40B4-BE49-F238E27FC236}">
                    <a16:creationId xmlns:a16="http://schemas.microsoft.com/office/drawing/2014/main" id="{598B14E6-7125-406E-0156-4C9B70FC3E4F}"/>
                  </a:ext>
                </a:extLst>
              </p:cNvPr>
              <p:cNvGrpSpPr/>
              <p:nvPr/>
            </p:nvGrpSpPr>
            <p:grpSpPr>
              <a:xfrm>
                <a:off x="1720731" y="1930399"/>
                <a:ext cx="944504" cy="809593"/>
                <a:chOff x="5696016" y="3086100"/>
                <a:chExt cx="800080" cy="685799"/>
              </a:xfrm>
            </p:grpSpPr>
            <p:sp>
              <p:nvSpPr>
                <p:cNvPr id="72" name="Vrije vorm: vorm 71">
                  <a:extLst>
                    <a:ext uri="{FF2B5EF4-FFF2-40B4-BE49-F238E27FC236}">
                      <a16:creationId xmlns:a16="http://schemas.microsoft.com/office/drawing/2014/main" id="{3052E45C-1020-9AEE-4BD2-22A710FCCD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73" name="Vrije vorm: vorm 72">
                  <a:extLst>
                    <a:ext uri="{FF2B5EF4-FFF2-40B4-BE49-F238E27FC236}">
                      <a16:creationId xmlns:a16="http://schemas.microsoft.com/office/drawing/2014/main" id="{C953FC32-FCA2-7CB4-2959-B7F7695FF10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48" name="Groep 47">
                <a:extLst>
                  <a:ext uri="{FF2B5EF4-FFF2-40B4-BE49-F238E27FC236}">
                    <a16:creationId xmlns:a16="http://schemas.microsoft.com/office/drawing/2014/main" id="{95D20729-C0D8-D6D1-66DC-852E931EC0E8}"/>
                  </a:ext>
                </a:extLst>
              </p:cNvPr>
              <p:cNvGrpSpPr/>
              <p:nvPr/>
            </p:nvGrpSpPr>
            <p:grpSpPr>
              <a:xfrm>
                <a:off x="2773066" y="1930399"/>
                <a:ext cx="944504" cy="809593"/>
                <a:chOff x="5696016" y="3086100"/>
                <a:chExt cx="800080" cy="685799"/>
              </a:xfrm>
            </p:grpSpPr>
            <p:sp>
              <p:nvSpPr>
                <p:cNvPr id="70" name="Vrije vorm: vorm 69">
                  <a:extLst>
                    <a:ext uri="{FF2B5EF4-FFF2-40B4-BE49-F238E27FC236}">
                      <a16:creationId xmlns:a16="http://schemas.microsoft.com/office/drawing/2014/main" id="{017A7A4F-C01F-6AA8-07CA-910283983AE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71" name="Vrije vorm: vorm 70">
                  <a:extLst>
                    <a:ext uri="{FF2B5EF4-FFF2-40B4-BE49-F238E27FC236}">
                      <a16:creationId xmlns:a16="http://schemas.microsoft.com/office/drawing/2014/main" id="{A57BE03C-50C7-CBC0-099C-7E26A22C7BF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49" name="Groep 48">
                <a:extLst>
                  <a:ext uri="{FF2B5EF4-FFF2-40B4-BE49-F238E27FC236}">
                    <a16:creationId xmlns:a16="http://schemas.microsoft.com/office/drawing/2014/main" id="{235A7248-38A9-3E9D-CCE1-F31A9B8B96CB}"/>
                  </a:ext>
                </a:extLst>
              </p:cNvPr>
              <p:cNvGrpSpPr/>
              <p:nvPr/>
            </p:nvGrpSpPr>
            <p:grpSpPr>
              <a:xfrm>
                <a:off x="3825401" y="1930399"/>
                <a:ext cx="944504" cy="809593"/>
                <a:chOff x="5696016" y="3086100"/>
                <a:chExt cx="800080" cy="685799"/>
              </a:xfrm>
            </p:grpSpPr>
            <p:sp>
              <p:nvSpPr>
                <p:cNvPr id="68" name="Vrije vorm: vorm 67">
                  <a:extLst>
                    <a:ext uri="{FF2B5EF4-FFF2-40B4-BE49-F238E27FC236}">
                      <a16:creationId xmlns:a16="http://schemas.microsoft.com/office/drawing/2014/main" id="{1D80C234-0B25-BD81-4CD8-99484A94005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69" name="Vrije vorm: vorm 68">
                  <a:extLst>
                    <a:ext uri="{FF2B5EF4-FFF2-40B4-BE49-F238E27FC236}">
                      <a16:creationId xmlns:a16="http://schemas.microsoft.com/office/drawing/2014/main" id="{6F0CA073-5716-668F-A54E-ECE28F1AAB0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50" name="Groep 49">
                <a:extLst>
                  <a:ext uri="{FF2B5EF4-FFF2-40B4-BE49-F238E27FC236}">
                    <a16:creationId xmlns:a16="http://schemas.microsoft.com/office/drawing/2014/main" id="{06469502-423A-EE55-3297-D3D1A04BA8B7}"/>
                  </a:ext>
                </a:extLst>
              </p:cNvPr>
              <p:cNvGrpSpPr/>
              <p:nvPr/>
            </p:nvGrpSpPr>
            <p:grpSpPr>
              <a:xfrm>
                <a:off x="4877736" y="1930399"/>
                <a:ext cx="944504" cy="809593"/>
                <a:chOff x="5696016" y="3086100"/>
                <a:chExt cx="800080" cy="685799"/>
              </a:xfrm>
            </p:grpSpPr>
            <p:sp>
              <p:nvSpPr>
                <p:cNvPr id="66" name="Vrije vorm: vorm 65">
                  <a:extLst>
                    <a:ext uri="{FF2B5EF4-FFF2-40B4-BE49-F238E27FC236}">
                      <a16:creationId xmlns:a16="http://schemas.microsoft.com/office/drawing/2014/main" id="{1B89AF05-D3E9-F127-78C6-D4C8C4914B5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67" name="Vrije vorm: vorm 66">
                  <a:extLst>
                    <a:ext uri="{FF2B5EF4-FFF2-40B4-BE49-F238E27FC236}">
                      <a16:creationId xmlns:a16="http://schemas.microsoft.com/office/drawing/2014/main" id="{DB468950-1876-2B61-9E1D-473711D1759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51" name="Groep 50">
                <a:extLst>
                  <a:ext uri="{FF2B5EF4-FFF2-40B4-BE49-F238E27FC236}">
                    <a16:creationId xmlns:a16="http://schemas.microsoft.com/office/drawing/2014/main" id="{3BD2CCAE-F6B5-9A96-EB2A-0933D45B556E}"/>
                  </a:ext>
                </a:extLst>
              </p:cNvPr>
              <p:cNvGrpSpPr/>
              <p:nvPr/>
            </p:nvGrpSpPr>
            <p:grpSpPr>
              <a:xfrm>
                <a:off x="5930071" y="1930399"/>
                <a:ext cx="944504" cy="809593"/>
                <a:chOff x="5696016" y="3086100"/>
                <a:chExt cx="800080" cy="685799"/>
              </a:xfrm>
            </p:grpSpPr>
            <p:sp>
              <p:nvSpPr>
                <p:cNvPr id="64" name="Vrije vorm: vorm 63">
                  <a:extLst>
                    <a:ext uri="{FF2B5EF4-FFF2-40B4-BE49-F238E27FC236}">
                      <a16:creationId xmlns:a16="http://schemas.microsoft.com/office/drawing/2014/main" id="{3C3A5251-B107-AA43-2759-D44F674795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65" name="Vrije vorm: vorm 64">
                  <a:extLst>
                    <a:ext uri="{FF2B5EF4-FFF2-40B4-BE49-F238E27FC236}">
                      <a16:creationId xmlns:a16="http://schemas.microsoft.com/office/drawing/2014/main" id="{F2FBB0DA-CB7F-E196-86C2-C4CCF160C3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52" name="Groep 51">
                <a:extLst>
                  <a:ext uri="{FF2B5EF4-FFF2-40B4-BE49-F238E27FC236}">
                    <a16:creationId xmlns:a16="http://schemas.microsoft.com/office/drawing/2014/main" id="{407914B1-BB4C-2B34-ABDD-D84D3D0F6A06}"/>
                  </a:ext>
                </a:extLst>
              </p:cNvPr>
              <p:cNvGrpSpPr/>
              <p:nvPr/>
            </p:nvGrpSpPr>
            <p:grpSpPr>
              <a:xfrm>
                <a:off x="6982406" y="1930399"/>
                <a:ext cx="944504" cy="809593"/>
                <a:chOff x="5696016" y="3086100"/>
                <a:chExt cx="800080" cy="685799"/>
              </a:xfrm>
            </p:grpSpPr>
            <p:sp>
              <p:nvSpPr>
                <p:cNvPr id="62" name="Vrije vorm: vorm 61">
                  <a:extLst>
                    <a:ext uri="{FF2B5EF4-FFF2-40B4-BE49-F238E27FC236}">
                      <a16:creationId xmlns:a16="http://schemas.microsoft.com/office/drawing/2014/main" id="{374E7E4A-A08D-84A7-94F4-4426460F7E9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63" name="Vrije vorm: vorm 62">
                  <a:extLst>
                    <a:ext uri="{FF2B5EF4-FFF2-40B4-BE49-F238E27FC236}">
                      <a16:creationId xmlns:a16="http://schemas.microsoft.com/office/drawing/2014/main" id="{591F1CEA-7B80-318B-B229-A830B41C94D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53" name="Groep 52">
                <a:extLst>
                  <a:ext uri="{FF2B5EF4-FFF2-40B4-BE49-F238E27FC236}">
                    <a16:creationId xmlns:a16="http://schemas.microsoft.com/office/drawing/2014/main" id="{B724DCA5-1F57-7151-9FF9-95AC72F3DCD0}"/>
                  </a:ext>
                </a:extLst>
              </p:cNvPr>
              <p:cNvGrpSpPr/>
              <p:nvPr/>
            </p:nvGrpSpPr>
            <p:grpSpPr>
              <a:xfrm>
                <a:off x="8034741" y="1930399"/>
                <a:ext cx="944504" cy="809593"/>
                <a:chOff x="5696016" y="3086100"/>
                <a:chExt cx="800080" cy="685799"/>
              </a:xfrm>
            </p:grpSpPr>
            <p:sp>
              <p:nvSpPr>
                <p:cNvPr id="60" name="Vrije vorm: vorm 59">
                  <a:extLst>
                    <a:ext uri="{FF2B5EF4-FFF2-40B4-BE49-F238E27FC236}">
                      <a16:creationId xmlns:a16="http://schemas.microsoft.com/office/drawing/2014/main" id="{1044F20D-C84E-95A3-7255-CD3EDE829BB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61" name="Vrije vorm: vorm 60">
                  <a:extLst>
                    <a:ext uri="{FF2B5EF4-FFF2-40B4-BE49-F238E27FC236}">
                      <a16:creationId xmlns:a16="http://schemas.microsoft.com/office/drawing/2014/main" id="{7DB1A830-47AB-6A90-EAA8-CE947B7F033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54" name="Groep 53">
                <a:extLst>
                  <a:ext uri="{FF2B5EF4-FFF2-40B4-BE49-F238E27FC236}">
                    <a16:creationId xmlns:a16="http://schemas.microsoft.com/office/drawing/2014/main" id="{43325215-6258-4C77-9290-9D440BD908CD}"/>
                  </a:ext>
                </a:extLst>
              </p:cNvPr>
              <p:cNvGrpSpPr/>
              <p:nvPr/>
            </p:nvGrpSpPr>
            <p:grpSpPr>
              <a:xfrm>
                <a:off x="9087076" y="1930399"/>
                <a:ext cx="944504" cy="809593"/>
                <a:chOff x="5696016" y="3086100"/>
                <a:chExt cx="800080" cy="685799"/>
              </a:xfrm>
            </p:grpSpPr>
            <p:sp>
              <p:nvSpPr>
                <p:cNvPr id="58" name="Vrije vorm: vorm 57">
                  <a:extLst>
                    <a:ext uri="{FF2B5EF4-FFF2-40B4-BE49-F238E27FC236}">
                      <a16:creationId xmlns:a16="http://schemas.microsoft.com/office/drawing/2014/main" id="{D2BDC502-9D3A-F62C-4FC1-DC0D9EE501B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59" name="Vrije vorm: vorm 58">
                  <a:extLst>
                    <a:ext uri="{FF2B5EF4-FFF2-40B4-BE49-F238E27FC236}">
                      <a16:creationId xmlns:a16="http://schemas.microsoft.com/office/drawing/2014/main" id="{1694A0FE-EBCB-4AD9-718B-0876690315D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55" name="Groep 54">
                <a:extLst>
                  <a:ext uri="{FF2B5EF4-FFF2-40B4-BE49-F238E27FC236}">
                    <a16:creationId xmlns:a16="http://schemas.microsoft.com/office/drawing/2014/main" id="{8893F443-4982-C202-A38F-92FA6753D600}"/>
                  </a:ext>
                </a:extLst>
              </p:cNvPr>
              <p:cNvGrpSpPr/>
              <p:nvPr/>
            </p:nvGrpSpPr>
            <p:grpSpPr>
              <a:xfrm>
                <a:off x="10139413" y="1930399"/>
                <a:ext cx="944504" cy="809593"/>
                <a:chOff x="5696016" y="3086100"/>
                <a:chExt cx="800080" cy="685799"/>
              </a:xfrm>
            </p:grpSpPr>
            <p:sp>
              <p:nvSpPr>
                <p:cNvPr id="56" name="Vrije vorm: vorm 55">
                  <a:extLst>
                    <a:ext uri="{FF2B5EF4-FFF2-40B4-BE49-F238E27FC236}">
                      <a16:creationId xmlns:a16="http://schemas.microsoft.com/office/drawing/2014/main" id="{90FF810C-28CC-0781-43C0-D0077858C63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57" name="Vrije vorm: vorm 56">
                  <a:extLst>
                    <a:ext uri="{FF2B5EF4-FFF2-40B4-BE49-F238E27FC236}">
                      <a16:creationId xmlns:a16="http://schemas.microsoft.com/office/drawing/2014/main" id="{8E2D036E-FE36-A101-E317-D53C4ABB531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grpSp>
          <p:nvGrpSpPr>
            <p:cNvPr id="15" name="Groep 14">
              <a:extLst>
                <a:ext uri="{FF2B5EF4-FFF2-40B4-BE49-F238E27FC236}">
                  <a16:creationId xmlns:a16="http://schemas.microsoft.com/office/drawing/2014/main" id="{0EF0A2F3-34DC-B3CB-7E44-A688B8EF6E73}"/>
                </a:ext>
              </a:extLst>
            </p:cNvPr>
            <p:cNvGrpSpPr/>
            <p:nvPr/>
          </p:nvGrpSpPr>
          <p:grpSpPr>
            <a:xfrm>
              <a:off x="649432" y="1924901"/>
              <a:ext cx="2409536" cy="187292"/>
              <a:chOff x="668396" y="1930399"/>
              <a:chExt cx="10415521" cy="809593"/>
            </a:xfrm>
          </p:grpSpPr>
          <p:grpSp>
            <p:nvGrpSpPr>
              <p:cNvPr id="16" name="Groep 15">
                <a:extLst>
                  <a:ext uri="{FF2B5EF4-FFF2-40B4-BE49-F238E27FC236}">
                    <a16:creationId xmlns:a16="http://schemas.microsoft.com/office/drawing/2014/main" id="{081513E9-F60F-C041-6A22-2660FC62DFCE}"/>
                  </a:ext>
                </a:extLst>
              </p:cNvPr>
              <p:cNvGrpSpPr/>
              <p:nvPr/>
            </p:nvGrpSpPr>
            <p:grpSpPr>
              <a:xfrm>
                <a:off x="668396" y="1930399"/>
                <a:ext cx="944504" cy="809593"/>
                <a:chOff x="5696016" y="3086100"/>
                <a:chExt cx="800080" cy="685799"/>
              </a:xfrm>
            </p:grpSpPr>
            <p:sp>
              <p:nvSpPr>
                <p:cNvPr id="44" name="Vrije vorm: vorm 43">
                  <a:extLst>
                    <a:ext uri="{FF2B5EF4-FFF2-40B4-BE49-F238E27FC236}">
                      <a16:creationId xmlns:a16="http://schemas.microsoft.com/office/drawing/2014/main" id="{255CDC2A-F208-579C-0B49-AC551907610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45" name="Vrije vorm: vorm 44">
                  <a:extLst>
                    <a:ext uri="{FF2B5EF4-FFF2-40B4-BE49-F238E27FC236}">
                      <a16:creationId xmlns:a16="http://schemas.microsoft.com/office/drawing/2014/main" id="{29276B4E-645E-2A93-E52E-D7FDADC652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7" name="Groep 16">
                <a:extLst>
                  <a:ext uri="{FF2B5EF4-FFF2-40B4-BE49-F238E27FC236}">
                    <a16:creationId xmlns:a16="http://schemas.microsoft.com/office/drawing/2014/main" id="{C6ADFC3B-EDA7-10C4-0E1F-5F7A8961FBE1}"/>
                  </a:ext>
                </a:extLst>
              </p:cNvPr>
              <p:cNvGrpSpPr/>
              <p:nvPr/>
            </p:nvGrpSpPr>
            <p:grpSpPr>
              <a:xfrm>
                <a:off x="1720731" y="1930399"/>
                <a:ext cx="944504" cy="809593"/>
                <a:chOff x="5696016" y="3086100"/>
                <a:chExt cx="800080" cy="685799"/>
              </a:xfrm>
            </p:grpSpPr>
            <p:sp>
              <p:nvSpPr>
                <p:cNvPr id="42" name="Vrije vorm: vorm 41">
                  <a:extLst>
                    <a:ext uri="{FF2B5EF4-FFF2-40B4-BE49-F238E27FC236}">
                      <a16:creationId xmlns:a16="http://schemas.microsoft.com/office/drawing/2014/main" id="{2423BE31-85B9-DCDC-94F9-C0446B9BC2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43" name="Vrije vorm: vorm 42">
                  <a:extLst>
                    <a:ext uri="{FF2B5EF4-FFF2-40B4-BE49-F238E27FC236}">
                      <a16:creationId xmlns:a16="http://schemas.microsoft.com/office/drawing/2014/main" id="{B8FA4AFF-96A6-B9DD-D4FE-4D52A52952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8" name="Groep 17">
                <a:extLst>
                  <a:ext uri="{FF2B5EF4-FFF2-40B4-BE49-F238E27FC236}">
                    <a16:creationId xmlns:a16="http://schemas.microsoft.com/office/drawing/2014/main" id="{E7661EC7-9C5A-895A-524F-A96637E15C40}"/>
                  </a:ext>
                </a:extLst>
              </p:cNvPr>
              <p:cNvGrpSpPr/>
              <p:nvPr/>
            </p:nvGrpSpPr>
            <p:grpSpPr>
              <a:xfrm>
                <a:off x="2773066" y="1930399"/>
                <a:ext cx="944504" cy="809593"/>
                <a:chOff x="5696016" y="3086100"/>
                <a:chExt cx="800080" cy="685799"/>
              </a:xfrm>
            </p:grpSpPr>
            <p:sp>
              <p:nvSpPr>
                <p:cNvPr id="40" name="Vrije vorm: vorm 39">
                  <a:extLst>
                    <a:ext uri="{FF2B5EF4-FFF2-40B4-BE49-F238E27FC236}">
                      <a16:creationId xmlns:a16="http://schemas.microsoft.com/office/drawing/2014/main" id="{AE4547D3-520A-0C01-5874-947E36233DA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41" name="Vrije vorm: vorm 40">
                  <a:extLst>
                    <a:ext uri="{FF2B5EF4-FFF2-40B4-BE49-F238E27FC236}">
                      <a16:creationId xmlns:a16="http://schemas.microsoft.com/office/drawing/2014/main" id="{B70F296C-24F8-F616-53ED-C8F86822AF6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19" name="Groep 18">
                <a:extLst>
                  <a:ext uri="{FF2B5EF4-FFF2-40B4-BE49-F238E27FC236}">
                    <a16:creationId xmlns:a16="http://schemas.microsoft.com/office/drawing/2014/main" id="{A702B479-F15D-3B85-C921-CE2515254F1B}"/>
                  </a:ext>
                </a:extLst>
              </p:cNvPr>
              <p:cNvGrpSpPr/>
              <p:nvPr/>
            </p:nvGrpSpPr>
            <p:grpSpPr>
              <a:xfrm>
                <a:off x="3825401" y="1930399"/>
                <a:ext cx="944504" cy="809593"/>
                <a:chOff x="5696016" y="3086100"/>
                <a:chExt cx="800080" cy="685799"/>
              </a:xfrm>
            </p:grpSpPr>
            <p:sp>
              <p:nvSpPr>
                <p:cNvPr id="38" name="Vrije vorm: vorm 37">
                  <a:extLst>
                    <a:ext uri="{FF2B5EF4-FFF2-40B4-BE49-F238E27FC236}">
                      <a16:creationId xmlns:a16="http://schemas.microsoft.com/office/drawing/2014/main" id="{6318798D-28AD-8CB9-3005-402A8CBE269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39" name="Vrije vorm: vorm 38">
                  <a:extLst>
                    <a:ext uri="{FF2B5EF4-FFF2-40B4-BE49-F238E27FC236}">
                      <a16:creationId xmlns:a16="http://schemas.microsoft.com/office/drawing/2014/main" id="{EBEE5EC8-B6FA-50A2-D609-84D17A7BC3D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0" name="Groep 19">
                <a:extLst>
                  <a:ext uri="{FF2B5EF4-FFF2-40B4-BE49-F238E27FC236}">
                    <a16:creationId xmlns:a16="http://schemas.microsoft.com/office/drawing/2014/main" id="{9B3889C4-530C-F161-1413-FCE2D238D054}"/>
                  </a:ext>
                </a:extLst>
              </p:cNvPr>
              <p:cNvGrpSpPr/>
              <p:nvPr/>
            </p:nvGrpSpPr>
            <p:grpSpPr>
              <a:xfrm>
                <a:off x="4877736" y="1930399"/>
                <a:ext cx="944504" cy="809593"/>
                <a:chOff x="5696016" y="3086100"/>
                <a:chExt cx="800080" cy="685799"/>
              </a:xfrm>
            </p:grpSpPr>
            <p:sp>
              <p:nvSpPr>
                <p:cNvPr id="36" name="Vrije vorm: vorm 35">
                  <a:extLst>
                    <a:ext uri="{FF2B5EF4-FFF2-40B4-BE49-F238E27FC236}">
                      <a16:creationId xmlns:a16="http://schemas.microsoft.com/office/drawing/2014/main" id="{5E3B7391-2BFF-3DCC-6B0F-2F6BEF41B00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37" name="Vrije vorm: vorm 36">
                  <a:extLst>
                    <a:ext uri="{FF2B5EF4-FFF2-40B4-BE49-F238E27FC236}">
                      <a16:creationId xmlns:a16="http://schemas.microsoft.com/office/drawing/2014/main" id="{8D5E2A05-5C6F-06EA-D41E-86DABF76A4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1" name="Groep 20">
                <a:extLst>
                  <a:ext uri="{FF2B5EF4-FFF2-40B4-BE49-F238E27FC236}">
                    <a16:creationId xmlns:a16="http://schemas.microsoft.com/office/drawing/2014/main" id="{A2631724-2230-C534-C0F4-A4E310E63C97}"/>
                  </a:ext>
                </a:extLst>
              </p:cNvPr>
              <p:cNvGrpSpPr/>
              <p:nvPr/>
            </p:nvGrpSpPr>
            <p:grpSpPr>
              <a:xfrm>
                <a:off x="5930071" y="1930399"/>
                <a:ext cx="944504" cy="809593"/>
                <a:chOff x="5696016" y="3086100"/>
                <a:chExt cx="800080" cy="685799"/>
              </a:xfrm>
            </p:grpSpPr>
            <p:sp>
              <p:nvSpPr>
                <p:cNvPr id="34" name="Vrije vorm: vorm 33">
                  <a:extLst>
                    <a:ext uri="{FF2B5EF4-FFF2-40B4-BE49-F238E27FC236}">
                      <a16:creationId xmlns:a16="http://schemas.microsoft.com/office/drawing/2014/main" id="{82D161E2-ECF1-19EB-A42E-4F007791937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35" name="Vrije vorm: vorm 34">
                  <a:extLst>
                    <a:ext uri="{FF2B5EF4-FFF2-40B4-BE49-F238E27FC236}">
                      <a16:creationId xmlns:a16="http://schemas.microsoft.com/office/drawing/2014/main" id="{ADCE9950-DAE0-9B4A-422C-990B814EC15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2" name="Groep 21">
                <a:extLst>
                  <a:ext uri="{FF2B5EF4-FFF2-40B4-BE49-F238E27FC236}">
                    <a16:creationId xmlns:a16="http://schemas.microsoft.com/office/drawing/2014/main" id="{E572202A-2A72-8823-8F8D-C713EB395AB7}"/>
                  </a:ext>
                </a:extLst>
              </p:cNvPr>
              <p:cNvGrpSpPr/>
              <p:nvPr/>
            </p:nvGrpSpPr>
            <p:grpSpPr>
              <a:xfrm>
                <a:off x="6982406" y="1930399"/>
                <a:ext cx="944504" cy="809593"/>
                <a:chOff x="5696016" y="3086100"/>
                <a:chExt cx="800080" cy="685799"/>
              </a:xfrm>
            </p:grpSpPr>
            <p:sp>
              <p:nvSpPr>
                <p:cNvPr id="32" name="Vrije vorm: vorm 31">
                  <a:extLst>
                    <a:ext uri="{FF2B5EF4-FFF2-40B4-BE49-F238E27FC236}">
                      <a16:creationId xmlns:a16="http://schemas.microsoft.com/office/drawing/2014/main" id="{61135A75-F4FE-ED45-7CDE-C484F18C2AD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33" name="Vrije vorm: vorm 32">
                  <a:extLst>
                    <a:ext uri="{FF2B5EF4-FFF2-40B4-BE49-F238E27FC236}">
                      <a16:creationId xmlns:a16="http://schemas.microsoft.com/office/drawing/2014/main" id="{24E71144-F090-7CA7-ED62-FB084FED0AB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3" name="Groep 22">
                <a:extLst>
                  <a:ext uri="{FF2B5EF4-FFF2-40B4-BE49-F238E27FC236}">
                    <a16:creationId xmlns:a16="http://schemas.microsoft.com/office/drawing/2014/main" id="{F891E405-6F26-C1FE-1345-4E956F7E689C}"/>
                  </a:ext>
                </a:extLst>
              </p:cNvPr>
              <p:cNvGrpSpPr/>
              <p:nvPr/>
            </p:nvGrpSpPr>
            <p:grpSpPr>
              <a:xfrm>
                <a:off x="8034741" y="1930399"/>
                <a:ext cx="944504" cy="809593"/>
                <a:chOff x="5696016" y="3086100"/>
                <a:chExt cx="800080" cy="685799"/>
              </a:xfrm>
            </p:grpSpPr>
            <p:sp>
              <p:nvSpPr>
                <p:cNvPr id="30" name="Vrije vorm: vorm 29">
                  <a:extLst>
                    <a:ext uri="{FF2B5EF4-FFF2-40B4-BE49-F238E27FC236}">
                      <a16:creationId xmlns:a16="http://schemas.microsoft.com/office/drawing/2014/main" id="{C72E77A2-529C-867D-A00B-BEFF9EEB360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31" name="Vrije vorm: vorm 30">
                  <a:extLst>
                    <a:ext uri="{FF2B5EF4-FFF2-40B4-BE49-F238E27FC236}">
                      <a16:creationId xmlns:a16="http://schemas.microsoft.com/office/drawing/2014/main" id="{BB2184C4-B8CE-B6A4-3D6C-63EBAD5BFB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4" name="Groep 23">
                <a:extLst>
                  <a:ext uri="{FF2B5EF4-FFF2-40B4-BE49-F238E27FC236}">
                    <a16:creationId xmlns:a16="http://schemas.microsoft.com/office/drawing/2014/main" id="{8A02F842-7EF6-A256-D7EE-758038D22981}"/>
                  </a:ext>
                </a:extLst>
              </p:cNvPr>
              <p:cNvGrpSpPr/>
              <p:nvPr/>
            </p:nvGrpSpPr>
            <p:grpSpPr>
              <a:xfrm>
                <a:off x="9087076" y="1930399"/>
                <a:ext cx="944504" cy="809593"/>
                <a:chOff x="5696016" y="3086100"/>
                <a:chExt cx="800080" cy="685799"/>
              </a:xfrm>
            </p:grpSpPr>
            <p:sp>
              <p:nvSpPr>
                <p:cNvPr id="28" name="Vrije vorm: vorm 27">
                  <a:extLst>
                    <a:ext uri="{FF2B5EF4-FFF2-40B4-BE49-F238E27FC236}">
                      <a16:creationId xmlns:a16="http://schemas.microsoft.com/office/drawing/2014/main" id="{B58DF2CB-0152-D307-8386-FB5A72EC093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9" name="Vrije vorm: vorm 28">
                  <a:extLst>
                    <a:ext uri="{FF2B5EF4-FFF2-40B4-BE49-F238E27FC236}">
                      <a16:creationId xmlns:a16="http://schemas.microsoft.com/office/drawing/2014/main" id="{EF90075E-252B-7088-65A0-2C2DB390967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a:p>
              </p:txBody>
            </p:sp>
          </p:grpSp>
          <p:grpSp>
            <p:nvGrpSpPr>
              <p:cNvPr id="25" name="Groep 24">
                <a:extLst>
                  <a:ext uri="{FF2B5EF4-FFF2-40B4-BE49-F238E27FC236}">
                    <a16:creationId xmlns:a16="http://schemas.microsoft.com/office/drawing/2014/main" id="{7593AD60-888A-F299-AAA3-8675CD803119}"/>
                  </a:ext>
                </a:extLst>
              </p:cNvPr>
              <p:cNvGrpSpPr/>
              <p:nvPr/>
            </p:nvGrpSpPr>
            <p:grpSpPr>
              <a:xfrm>
                <a:off x="10139413" y="1930399"/>
                <a:ext cx="944504" cy="809593"/>
                <a:chOff x="5696016" y="3086100"/>
                <a:chExt cx="800080" cy="685799"/>
              </a:xfrm>
            </p:grpSpPr>
            <p:sp>
              <p:nvSpPr>
                <p:cNvPr id="26" name="Vrije vorm: vorm 25">
                  <a:extLst>
                    <a:ext uri="{FF2B5EF4-FFF2-40B4-BE49-F238E27FC236}">
                      <a16:creationId xmlns:a16="http://schemas.microsoft.com/office/drawing/2014/main" id="{33093C84-1DFA-41D5-8D77-2D6C2C608A3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7" name="Vrije vorm: vorm 26">
                  <a:extLst>
                    <a:ext uri="{FF2B5EF4-FFF2-40B4-BE49-F238E27FC236}">
                      <a16:creationId xmlns:a16="http://schemas.microsoft.com/office/drawing/2014/main" id="{F287CB40-FF39-B25B-E952-08E2EA90D60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dirty="0"/>
                </a:p>
              </p:txBody>
            </p:sp>
          </p:grpSp>
        </p:grpSp>
      </p:grpSp>
      <p:grpSp>
        <p:nvGrpSpPr>
          <p:cNvPr id="226" name="Groep 225">
            <a:extLst>
              <a:ext uri="{FF2B5EF4-FFF2-40B4-BE49-F238E27FC236}">
                <a16:creationId xmlns:a16="http://schemas.microsoft.com/office/drawing/2014/main" id="{4936764F-28A8-9BA4-F349-2ED7BFC29D81}"/>
              </a:ext>
            </a:extLst>
          </p:cNvPr>
          <p:cNvGrpSpPr/>
          <p:nvPr/>
        </p:nvGrpSpPr>
        <p:grpSpPr>
          <a:xfrm>
            <a:off x="4083255" y="5865467"/>
            <a:ext cx="234882" cy="201332"/>
            <a:chOff x="1293345" y="4997000"/>
            <a:chExt cx="289443" cy="248100"/>
          </a:xfrm>
        </p:grpSpPr>
        <p:sp>
          <p:nvSpPr>
            <p:cNvPr id="227" name="Vrije vorm: vorm 226">
              <a:extLst>
                <a:ext uri="{FF2B5EF4-FFF2-40B4-BE49-F238E27FC236}">
                  <a16:creationId xmlns:a16="http://schemas.microsoft.com/office/drawing/2014/main" id="{FDAAB372-F799-A6AB-9285-F95B11792D2F}"/>
                </a:ext>
              </a:extLst>
            </p:cNvPr>
            <p:cNvSpPr/>
            <p:nvPr/>
          </p:nvSpPr>
          <p:spPr>
            <a:xfrm>
              <a:off x="1293345" y="4997000"/>
              <a:ext cx="289443" cy="151041"/>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solidFill>
              <a:srgbClr val="000000"/>
            </a:solidFill>
            <a:ln w="9525" cap="flat">
              <a:noFill/>
              <a:prstDash val="solid"/>
              <a:miter/>
            </a:ln>
          </p:spPr>
          <p:txBody>
            <a:bodyPr rtlCol="0" anchor="ctr"/>
            <a:lstStyle/>
            <a:p>
              <a:endParaRPr lang="nl-NL"/>
            </a:p>
          </p:txBody>
        </p:sp>
        <p:sp>
          <p:nvSpPr>
            <p:cNvPr id="228" name="Vrije vorm: vorm 227">
              <a:extLst>
                <a:ext uri="{FF2B5EF4-FFF2-40B4-BE49-F238E27FC236}">
                  <a16:creationId xmlns:a16="http://schemas.microsoft.com/office/drawing/2014/main" id="{A557640C-DFDD-79D5-50D3-A247D5A52C48}"/>
                </a:ext>
              </a:extLst>
            </p:cNvPr>
            <p:cNvSpPr/>
            <p:nvPr/>
          </p:nvSpPr>
          <p:spPr>
            <a:xfrm>
              <a:off x="1334690" y="5044435"/>
              <a:ext cx="206750" cy="200665"/>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solidFill>
              <a:srgbClr val="000000"/>
            </a:solidFill>
            <a:ln w="9525" cap="flat">
              <a:noFill/>
              <a:prstDash val="solid"/>
              <a:miter/>
            </a:ln>
          </p:spPr>
          <p:txBody>
            <a:bodyPr rtlCol="0" anchor="ctr"/>
            <a:lstStyle/>
            <a:p>
              <a:endParaRPr lang="nl-NL" dirty="0"/>
            </a:p>
          </p:txBody>
        </p:sp>
      </p:grpSp>
      <p:sp>
        <p:nvSpPr>
          <p:cNvPr id="229" name="Tekstvak 228">
            <a:extLst>
              <a:ext uri="{FF2B5EF4-FFF2-40B4-BE49-F238E27FC236}">
                <a16:creationId xmlns:a16="http://schemas.microsoft.com/office/drawing/2014/main" id="{4518D1B4-B9F1-D8E7-08E7-D51ADF335DC6}"/>
              </a:ext>
            </a:extLst>
          </p:cNvPr>
          <p:cNvSpPr txBox="1"/>
          <p:nvPr/>
        </p:nvSpPr>
        <p:spPr>
          <a:xfrm>
            <a:off x="4318131" y="5846879"/>
            <a:ext cx="3705791" cy="276999"/>
          </a:xfrm>
          <a:prstGeom prst="rect">
            <a:avLst/>
          </a:prstGeom>
          <a:noFill/>
        </p:spPr>
        <p:txBody>
          <a:bodyPr wrap="square" anchor="ctr">
            <a:spAutoFit/>
          </a:bodyPr>
          <a:lstStyle/>
          <a:p>
            <a:r>
              <a:rPr lang="nl-NL" sz="1200" dirty="0">
                <a:latin typeface="+mj-lt"/>
              </a:rPr>
              <a:t>10.000 nieuwbouwwoningen</a:t>
            </a:r>
            <a:endParaRPr lang="nl-NL" sz="1200" dirty="0"/>
          </a:p>
        </p:txBody>
      </p:sp>
      <p:grpSp>
        <p:nvGrpSpPr>
          <p:cNvPr id="230" name="Groep 229">
            <a:extLst>
              <a:ext uri="{FF2B5EF4-FFF2-40B4-BE49-F238E27FC236}">
                <a16:creationId xmlns:a16="http://schemas.microsoft.com/office/drawing/2014/main" id="{BD785B4F-2639-BD5C-FA1B-5A958D4A1DB4}"/>
              </a:ext>
            </a:extLst>
          </p:cNvPr>
          <p:cNvGrpSpPr/>
          <p:nvPr/>
        </p:nvGrpSpPr>
        <p:grpSpPr>
          <a:xfrm>
            <a:off x="3279583" y="3796569"/>
            <a:ext cx="2590164" cy="1710798"/>
            <a:chOff x="649432" y="520700"/>
            <a:chExt cx="2409536" cy="1591493"/>
          </a:xfrm>
          <a:solidFill>
            <a:schemeClr val="accent2"/>
          </a:solidFill>
        </p:grpSpPr>
        <p:grpSp>
          <p:nvGrpSpPr>
            <p:cNvPr id="231" name="Groep 230">
              <a:extLst>
                <a:ext uri="{FF2B5EF4-FFF2-40B4-BE49-F238E27FC236}">
                  <a16:creationId xmlns:a16="http://schemas.microsoft.com/office/drawing/2014/main" id="{D5F98038-ABC4-C0F5-3F80-6A48FB5EB973}"/>
                </a:ext>
              </a:extLst>
            </p:cNvPr>
            <p:cNvGrpSpPr/>
            <p:nvPr/>
          </p:nvGrpSpPr>
          <p:grpSpPr>
            <a:xfrm>
              <a:off x="649432" y="520700"/>
              <a:ext cx="2409536" cy="187292"/>
              <a:chOff x="668396" y="1930399"/>
              <a:chExt cx="10415521" cy="809593"/>
            </a:xfrm>
            <a:grpFill/>
          </p:grpSpPr>
          <p:grpSp>
            <p:nvGrpSpPr>
              <p:cNvPr id="418" name="Groep 417">
                <a:extLst>
                  <a:ext uri="{FF2B5EF4-FFF2-40B4-BE49-F238E27FC236}">
                    <a16:creationId xmlns:a16="http://schemas.microsoft.com/office/drawing/2014/main" id="{90325583-62CE-EE4E-C4A5-9F7794F85E91}"/>
                  </a:ext>
                </a:extLst>
              </p:cNvPr>
              <p:cNvGrpSpPr/>
              <p:nvPr/>
            </p:nvGrpSpPr>
            <p:grpSpPr>
              <a:xfrm>
                <a:off x="668396" y="1930399"/>
                <a:ext cx="944504" cy="809593"/>
                <a:chOff x="5696016" y="3086100"/>
                <a:chExt cx="800080" cy="685799"/>
              </a:xfrm>
              <a:grpFill/>
            </p:grpSpPr>
            <p:sp>
              <p:nvSpPr>
                <p:cNvPr id="446" name="Vrije vorm: vorm 445">
                  <a:extLst>
                    <a:ext uri="{FF2B5EF4-FFF2-40B4-BE49-F238E27FC236}">
                      <a16:creationId xmlns:a16="http://schemas.microsoft.com/office/drawing/2014/main" id="{4300F9E0-2958-F839-4D71-6380A147FA7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7" name="Vrije vorm: vorm 446">
                  <a:extLst>
                    <a:ext uri="{FF2B5EF4-FFF2-40B4-BE49-F238E27FC236}">
                      <a16:creationId xmlns:a16="http://schemas.microsoft.com/office/drawing/2014/main" id="{2A1F26A7-35FA-CA51-03AC-AE4E4A263ED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19" name="Groep 418">
                <a:extLst>
                  <a:ext uri="{FF2B5EF4-FFF2-40B4-BE49-F238E27FC236}">
                    <a16:creationId xmlns:a16="http://schemas.microsoft.com/office/drawing/2014/main" id="{9D5A6216-FBA2-4329-7CFA-DBDE78440F82}"/>
                  </a:ext>
                </a:extLst>
              </p:cNvPr>
              <p:cNvGrpSpPr/>
              <p:nvPr/>
            </p:nvGrpSpPr>
            <p:grpSpPr>
              <a:xfrm>
                <a:off x="1720731" y="1930399"/>
                <a:ext cx="944504" cy="809593"/>
                <a:chOff x="5696016" y="3086100"/>
                <a:chExt cx="800080" cy="685799"/>
              </a:xfrm>
              <a:grpFill/>
            </p:grpSpPr>
            <p:sp>
              <p:nvSpPr>
                <p:cNvPr id="444" name="Vrije vorm: vorm 443">
                  <a:extLst>
                    <a:ext uri="{FF2B5EF4-FFF2-40B4-BE49-F238E27FC236}">
                      <a16:creationId xmlns:a16="http://schemas.microsoft.com/office/drawing/2014/main" id="{34B3996D-E6B2-99B1-B48E-A2BCCE6A648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5" name="Vrije vorm: vorm 444">
                  <a:extLst>
                    <a:ext uri="{FF2B5EF4-FFF2-40B4-BE49-F238E27FC236}">
                      <a16:creationId xmlns:a16="http://schemas.microsoft.com/office/drawing/2014/main" id="{588299B8-EA87-114C-3F1E-44FE3D1D119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0" name="Groep 419">
                <a:extLst>
                  <a:ext uri="{FF2B5EF4-FFF2-40B4-BE49-F238E27FC236}">
                    <a16:creationId xmlns:a16="http://schemas.microsoft.com/office/drawing/2014/main" id="{A0281AA5-63DE-5475-D9C0-2AC882D8F382}"/>
                  </a:ext>
                </a:extLst>
              </p:cNvPr>
              <p:cNvGrpSpPr/>
              <p:nvPr/>
            </p:nvGrpSpPr>
            <p:grpSpPr>
              <a:xfrm>
                <a:off x="2773066" y="1930399"/>
                <a:ext cx="944504" cy="809593"/>
                <a:chOff x="5696016" y="3086100"/>
                <a:chExt cx="800080" cy="685799"/>
              </a:xfrm>
              <a:grpFill/>
            </p:grpSpPr>
            <p:sp>
              <p:nvSpPr>
                <p:cNvPr id="442" name="Vrije vorm: vorm 441">
                  <a:extLst>
                    <a:ext uri="{FF2B5EF4-FFF2-40B4-BE49-F238E27FC236}">
                      <a16:creationId xmlns:a16="http://schemas.microsoft.com/office/drawing/2014/main" id="{F0084866-A489-1C8A-5B71-C492435FC5E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3" name="Vrije vorm: vorm 442">
                  <a:extLst>
                    <a:ext uri="{FF2B5EF4-FFF2-40B4-BE49-F238E27FC236}">
                      <a16:creationId xmlns:a16="http://schemas.microsoft.com/office/drawing/2014/main" id="{A8DFD997-2619-4781-01E0-D1601D25ACD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1" name="Groep 420">
                <a:extLst>
                  <a:ext uri="{FF2B5EF4-FFF2-40B4-BE49-F238E27FC236}">
                    <a16:creationId xmlns:a16="http://schemas.microsoft.com/office/drawing/2014/main" id="{6EACFB93-C130-14C8-62DE-C58B048FCAC5}"/>
                  </a:ext>
                </a:extLst>
              </p:cNvPr>
              <p:cNvGrpSpPr/>
              <p:nvPr/>
            </p:nvGrpSpPr>
            <p:grpSpPr>
              <a:xfrm>
                <a:off x="3825401" y="1930399"/>
                <a:ext cx="944504" cy="809593"/>
                <a:chOff x="5696016" y="3086100"/>
                <a:chExt cx="800080" cy="685799"/>
              </a:xfrm>
              <a:grpFill/>
            </p:grpSpPr>
            <p:sp>
              <p:nvSpPr>
                <p:cNvPr id="440" name="Vrije vorm: vorm 439">
                  <a:extLst>
                    <a:ext uri="{FF2B5EF4-FFF2-40B4-BE49-F238E27FC236}">
                      <a16:creationId xmlns:a16="http://schemas.microsoft.com/office/drawing/2014/main" id="{244E61CF-36A3-7B2B-E988-7198F142521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1" name="Vrije vorm: vorm 440">
                  <a:extLst>
                    <a:ext uri="{FF2B5EF4-FFF2-40B4-BE49-F238E27FC236}">
                      <a16:creationId xmlns:a16="http://schemas.microsoft.com/office/drawing/2014/main" id="{99BDB590-8A7E-EB36-05A0-5CDAD2ABA2D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2" name="Groep 421">
                <a:extLst>
                  <a:ext uri="{FF2B5EF4-FFF2-40B4-BE49-F238E27FC236}">
                    <a16:creationId xmlns:a16="http://schemas.microsoft.com/office/drawing/2014/main" id="{4013F307-4E1B-D44D-7EE0-4F1CF6BAC32F}"/>
                  </a:ext>
                </a:extLst>
              </p:cNvPr>
              <p:cNvGrpSpPr/>
              <p:nvPr/>
            </p:nvGrpSpPr>
            <p:grpSpPr>
              <a:xfrm>
                <a:off x="4877736" y="1930399"/>
                <a:ext cx="944504" cy="809593"/>
                <a:chOff x="5696016" y="3086100"/>
                <a:chExt cx="800080" cy="685799"/>
              </a:xfrm>
              <a:grpFill/>
            </p:grpSpPr>
            <p:sp>
              <p:nvSpPr>
                <p:cNvPr id="438" name="Vrije vorm: vorm 437">
                  <a:extLst>
                    <a:ext uri="{FF2B5EF4-FFF2-40B4-BE49-F238E27FC236}">
                      <a16:creationId xmlns:a16="http://schemas.microsoft.com/office/drawing/2014/main" id="{D1DB8AD6-CE05-CBBF-23BB-C4C17EBD9E3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9" name="Vrije vorm: vorm 438">
                  <a:extLst>
                    <a:ext uri="{FF2B5EF4-FFF2-40B4-BE49-F238E27FC236}">
                      <a16:creationId xmlns:a16="http://schemas.microsoft.com/office/drawing/2014/main" id="{A82C573C-DE2D-9F35-36C0-37E9E405EF0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3" name="Groep 422">
                <a:extLst>
                  <a:ext uri="{FF2B5EF4-FFF2-40B4-BE49-F238E27FC236}">
                    <a16:creationId xmlns:a16="http://schemas.microsoft.com/office/drawing/2014/main" id="{D25E4355-B307-6BF7-C690-80EFFDEAB893}"/>
                  </a:ext>
                </a:extLst>
              </p:cNvPr>
              <p:cNvGrpSpPr/>
              <p:nvPr/>
            </p:nvGrpSpPr>
            <p:grpSpPr>
              <a:xfrm>
                <a:off x="5930071" y="1930399"/>
                <a:ext cx="944504" cy="809593"/>
                <a:chOff x="5696016" y="3086100"/>
                <a:chExt cx="800080" cy="685799"/>
              </a:xfrm>
              <a:grpFill/>
            </p:grpSpPr>
            <p:sp>
              <p:nvSpPr>
                <p:cNvPr id="436" name="Vrije vorm: vorm 435">
                  <a:extLst>
                    <a:ext uri="{FF2B5EF4-FFF2-40B4-BE49-F238E27FC236}">
                      <a16:creationId xmlns:a16="http://schemas.microsoft.com/office/drawing/2014/main" id="{BE4A1B25-CC06-A4B8-D14B-619159951EA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7" name="Vrije vorm: vorm 436">
                  <a:extLst>
                    <a:ext uri="{FF2B5EF4-FFF2-40B4-BE49-F238E27FC236}">
                      <a16:creationId xmlns:a16="http://schemas.microsoft.com/office/drawing/2014/main" id="{30605D21-0F9D-C888-F8EC-B76DEE4A773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4" name="Groep 423">
                <a:extLst>
                  <a:ext uri="{FF2B5EF4-FFF2-40B4-BE49-F238E27FC236}">
                    <a16:creationId xmlns:a16="http://schemas.microsoft.com/office/drawing/2014/main" id="{DCFB67F7-9BF5-6D33-465F-DA2FED05280C}"/>
                  </a:ext>
                </a:extLst>
              </p:cNvPr>
              <p:cNvGrpSpPr/>
              <p:nvPr/>
            </p:nvGrpSpPr>
            <p:grpSpPr>
              <a:xfrm>
                <a:off x="6982406" y="1930399"/>
                <a:ext cx="944504" cy="809593"/>
                <a:chOff x="5696016" y="3086100"/>
                <a:chExt cx="800080" cy="685799"/>
              </a:xfrm>
              <a:grpFill/>
            </p:grpSpPr>
            <p:sp>
              <p:nvSpPr>
                <p:cNvPr id="434" name="Vrije vorm: vorm 433">
                  <a:extLst>
                    <a:ext uri="{FF2B5EF4-FFF2-40B4-BE49-F238E27FC236}">
                      <a16:creationId xmlns:a16="http://schemas.microsoft.com/office/drawing/2014/main" id="{3ADC4FA1-CA57-8227-F912-1E1921857A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5" name="Vrije vorm: vorm 434">
                  <a:extLst>
                    <a:ext uri="{FF2B5EF4-FFF2-40B4-BE49-F238E27FC236}">
                      <a16:creationId xmlns:a16="http://schemas.microsoft.com/office/drawing/2014/main" id="{E54CFD96-42AC-FD1A-0D6C-D595C5EC97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5" name="Groep 424">
                <a:extLst>
                  <a:ext uri="{FF2B5EF4-FFF2-40B4-BE49-F238E27FC236}">
                    <a16:creationId xmlns:a16="http://schemas.microsoft.com/office/drawing/2014/main" id="{9E4A7EC7-1046-202E-1E80-E2145B248CA6}"/>
                  </a:ext>
                </a:extLst>
              </p:cNvPr>
              <p:cNvGrpSpPr/>
              <p:nvPr/>
            </p:nvGrpSpPr>
            <p:grpSpPr>
              <a:xfrm>
                <a:off x="8034741" y="1930399"/>
                <a:ext cx="944504" cy="809593"/>
                <a:chOff x="5696016" y="3086100"/>
                <a:chExt cx="800080" cy="685799"/>
              </a:xfrm>
              <a:grpFill/>
            </p:grpSpPr>
            <p:sp>
              <p:nvSpPr>
                <p:cNvPr id="432" name="Vrije vorm: vorm 431">
                  <a:extLst>
                    <a:ext uri="{FF2B5EF4-FFF2-40B4-BE49-F238E27FC236}">
                      <a16:creationId xmlns:a16="http://schemas.microsoft.com/office/drawing/2014/main" id="{CE3F1AD0-A0E7-A896-EF19-AF1821D4F2C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3" name="Vrije vorm: vorm 432">
                  <a:extLst>
                    <a:ext uri="{FF2B5EF4-FFF2-40B4-BE49-F238E27FC236}">
                      <a16:creationId xmlns:a16="http://schemas.microsoft.com/office/drawing/2014/main" id="{AD860B17-433A-B87B-F299-D80021641B6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6" name="Groep 425">
                <a:extLst>
                  <a:ext uri="{FF2B5EF4-FFF2-40B4-BE49-F238E27FC236}">
                    <a16:creationId xmlns:a16="http://schemas.microsoft.com/office/drawing/2014/main" id="{155352B8-BADD-FA8E-6B9D-8EEA4666B89A}"/>
                  </a:ext>
                </a:extLst>
              </p:cNvPr>
              <p:cNvGrpSpPr/>
              <p:nvPr/>
            </p:nvGrpSpPr>
            <p:grpSpPr>
              <a:xfrm>
                <a:off x="9087076" y="1930399"/>
                <a:ext cx="944504" cy="809593"/>
                <a:chOff x="5696016" y="3086100"/>
                <a:chExt cx="800080" cy="685799"/>
              </a:xfrm>
              <a:grpFill/>
            </p:grpSpPr>
            <p:sp>
              <p:nvSpPr>
                <p:cNvPr id="430" name="Vrije vorm: vorm 429">
                  <a:extLst>
                    <a:ext uri="{FF2B5EF4-FFF2-40B4-BE49-F238E27FC236}">
                      <a16:creationId xmlns:a16="http://schemas.microsoft.com/office/drawing/2014/main" id="{30FCF20F-C6E9-A5A6-E180-0F52EADA223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1" name="Vrije vorm: vorm 430">
                  <a:extLst>
                    <a:ext uri="{FF2B5EF4-FFF2-40B4-BE49-F238E27FC236}">
                      <a16:creationId xmlns:a16="http://schemas.microsoft.com/office/drawing/2014/main" id="{A2573C4D-228F-F5D8-8CB8-CAEB73E753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7" name="Groep 426">
                <a:extLst>
                  <a:ext uri="{FF2B5EF4-FFF2-40B4-BE49-F238E27FC236}">
                    <a16:creationId xmlns:a16="http://schemas.microsoft.com/office/drawing/2014/main" id="{E28937C6-8932-EAB5-7C0B-5F1718B65B2C}"/>
                  </a:ext>
                </a:extLst>
              </p:cNvPr>
              <p:cNvGrpSpPr/>
              <p:nvPr/>
            </p:nvGrpSpPr>
            <p:grpSpPr>
              <a:xfrm>
                <a:off x="10139413" y="1930399"/>
                <a:ext cx="944504" cy="809593"/>
                <a:chOff x="5696016" y="3086100"/>
                <a:chExt cx="800080" cy="685799"/>
              </a:xfrm>
              <a:grpFill/>
            </p:grpSpPr>
            <p:sp>
              <p:nvSpPr>
                <p:cNvPr id="428" name="Vrije vorm: vorm 427">
                  <a:extLst>
                    <a:ext uri="{FF2B5EF4-FFF2-40B4-BE49-F238E27FC236}">
                      <a16:creationId xmlns:a16="http://schemas.microsoft.com/office/drawing/2014/main" id="{5D5090A6-44DB-9CE4-63E8-519C856DC5F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29" name="Vrije vorm: vorm 428">
                  <a:extLst>
                    <a:ext uri="{FF2B5EF4-FFF2-40B4-BE49-F238E27FC236}">
                      <a16:creationId xmlns:a16="http://schemas.microsoft.com/office/drawing/2014/main" id="{38348B54-5C1B-C62B-2E00-A1E2AA49AE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2" name="Groep 231">
              <a:extLst>
                <a:ext uri="{FF2B5EF4-FFF2-40B4-BE49-F238E27FC236}">
                  <a16:creationId xmlns:a16="http://schemas.microsoft.com/office/drawing/2014/main" id="{B0D3EE64-D13E-C7DE-2004-CEA992001F4F}"/>
                </a:ext>
              </a:extLst>
            </p:cNvPr>
            <p:cNvGrpSpPr/>
            <p:nvPr/>
          </p:nvGrpSpPr>
          <p:grpSpPr>
            <a:xfrm>
              <a:off x="649432" y="754734"/>
              <a:ext cx="2409536" cy="187292"/>
              <a:chOff x="668396" y="1930399"/>
              <a:chExt cx="10415521" cy="809593"/>
            </a:xfrm>
            <a:grpFill/>
          </p:grpSpPr>
          <p:grpSp>
            <p:nvGrpSpPr>
              <p:cNvPr id="388" name="Groep 387">
                <a:extLst>
                  <a:ext uri="{FF2B5EF4-FFF2-40B4-BE49-F238E27FC236}">
                    <a16:creationId xmlns:a16="http://schemas.microsoft.com/office/drawing/2014/main" id="{BBAD9588-BD49-1724-4533-B6CCE6CE7AEF}"/>
                  </a:ext>
                </a:extLst>
              </p:cNvPr>
              <p:cNvGrpSpPr/>
              <p:nvPr/>
            </p:nvGrpSpPr>
            <p:grpSpPr>
              <a:xfrm>
                <a:off x="668396" y="1930399"/>
                <a:ext cx="944504" cy="809593"/>
                <a:chOff x="5696016" y="3086100"/>
                <a:chExt cx="800080" cy="685799"/>
              </a:xfrm>
              <a:grpFill/>
            </p:grpSpPr>
            <p:sp>
              <p:nvSpPr>
                <p:cNvPr id="416" name="Vrije vorm: vorm 415">
                  <a:extLst>
                    <a:ext uri="{FF2B5EF4-FFF2-40B4-BE49-F238E27FC236}">
                      <a16:creationId xmlns:a16="http://schemas.microsoft.com/office/drawing/2014/main" id="{E723C3E1-DC92-5735-3B21-CF0E2DD1F3A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7" name="Vrije vorm: vorm 416">
                  <a:extLst>
                    <a:ext uri="{FF2B5EF4-FFF2-40B4-BE49-F238E27FC236}">
                      <a16:creationId xmlns:a16="http://schemas.microsoft.com/office/drawing/2014/main" id="{77CCD6E6-DC53-8EC7-9CDA-8C933A88513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89" name="Groep 388">
                <a:extLst>
                  <a:ext uri="{FF2B5EF4-FFF2-40B4-BE49-F238E27FC236}">
                    <a16:creationId xmlns:a16="http://schemas.microsoft.com/office/drawing/2014/main" id="{1B111600-F699-BECF-D1CC-56167BCD2E3B}"/>
                  </a:ext>
                </a:extLst>
              </p:cNvPr>
              <p:cNvGrpSpPr/>
              <p:nvPr/>
            </p:nvGrpSpPr>
            <p:grpSpPr>
              <a:xfrm>
                <a:off x="1720731" y="1930399"/>
                <a:ext cx="944504" cy="809593"/>
                <a:chOff x="5696016" y="3086100"/>
                <a:chExt cx="800080" cy="685799"/>
              </a:xfrm>
              <a:grpFill/>
            </p:grpSpPr>
            <p:sp>
              <p:nvSpPr>
                <p:cNvPr id="414" name="Vrije vorm: vorm 413">
                  <a:extLst>
                    <a:ext uri="{FF2B5EF4-FFF2-40B4-BE49-F238E27FC236}">
                      <a16:creationId xmlns:a16="http://schemas.microsoft.com/office/drawing/2014/main" id="{F25B00F9-A117-9777-7422-CDF336FEA36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5" name="Vrije vorm: vorm 414">
                  <a:extLst>
                    <a:ext uri="{FF2B5EF4-FFF2-40B4-BE49-F238E27FC236}">
                      <a16:creationId xmlns:a16="http://schemas.microsoft.com/office/drawing/2014/main" id="{F81B29AB-A693-B762-B74E-AC1AF33417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0" name="Groep 389">
                <a:extLst>
                  <a:ext uri="{FF2B5EF4-FFF2-40B4-BE49-F238E27FC236}">
                    <a16:creationId xmlns:a16="http://schemas.microsoft.com/office/drawing/2014/main" id="{FDAD71F7-8933-9376-B952-05DB638D61A9}"/>
                  </a:ext>
                </a:extLst>
              </p:cNvPr>
              <p:cNvGrpSpPr/>
              <p:nvPr/>
            </p:nvGrpSpPr>
            <p:grpSpPr>
              <a:xfrm>
                <a:off x="2773066" y="1930399"/>
                <a:ext cx="944504" cy="809593"/>
                <a:chOff x="5696016" y="3086100"/>
                <a:chExt cx="800080" cy="685799"/>
              </a:xfrm>
              <a:grpFill/>
            </p:grpSpPr>
            <p:sp>
              <p:nvSpPr>
                <p:cNvPr id="412" name="Vrije vorm: vorm 411">
                  <a:extLst>
                    <a:ext uri="{FF2B5EF4-FFF2-40B4-BE49-F238E27FC236}">
                      <a16:creationId xmlns:a16="http://schemas.microsoft.com/office/drawing/2014/main" id="{783B14C8-F12C-E344-B4D4-D90341D5F4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3" name="Vrije vorm: vorm 412">
                  <a:extLst>
                    <a:ext uri="{FF2B5EF4-FFF2-40B4-BE49-F238E27FC236}">
                      <a16:creationId xmlns:a16="http://schemas.microsoft.com/office/drawing/2014/main" id="{FBE2A6BA-CBB7-F354-1159-9BBE5DDF89D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1" name="Groep 390">
                <a:extLst>
                  <a:ext uri="{FF2B5EF4-FFF2-40B4-BE49-F238E27FC236}">
                    <a16:creationId xmlns:a16="http://schemas.microsoft.com/office/drawing/2014/main" id="{BB48AAA5-DE4C-5472-A0B3-D34CB88ABCA9}"/>
                  </a:ext>
                </a:extLst>
              </p:cNvPr>
              <p:cNvGrpSpPr/>
              <p:nvPr/>
            </p:nvGrpSpPr>
            <p:grpSpPr>
              <a:xfrm>
                <a:off x="3825401" y="1930399"/>
                <a:ext cx="944504" cy="809593"/>
                <a:chOff x="5696016" y="3086100"/>
                <a:chExt cx="800080" cy="685799"/>
              </a:xfrm>
              <a:grpFill/>
            </p:grpSpPr>
            <p:sp>
              <p:nvSpPr>
                <p:cNvPr id="410" name="Vrije vorm: vorm 409">
                  <a:extLst>
                    <a:ext uri="{FF2B5EF4-FFF2-40B4-BE49-F238E27FC236}">
                      <a16:creationId xmlns:a16="http://schemas.microsoft.com/office/drawing/2014/main" id="{78A51ACE-D365-7A17-0295-780D41528E4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1" name="Vrije vorm: vorm 410">
                  <a:extLst>
                    <a:ext uri="{FF2B5EF4-FFF2-40B4-BE49-F238E27FC236}">
                      <a16:creationId xmlns:a16="http://schemas.microsoft.com/office/drawing/2014/main" id="{36614A95-F70C-9A41-F3E2-FE3DD2E3E02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2" name="Groep 391">
                <a:extLst>
                  <a:ext uri="{FF2B5EF4-FFF2-40B4-BE49-F238E27FC236}">
                    <a16:creationId xmlns:a16="http://schemas.microsoft.com/office/drawing/2014/main" id="{4C48F196-9990-CAAD-34FD-3539932054D4}"/>
                  </a:ext>
                </a:extLst>
              </p:cNvPr>
              <p:cNvGrpSpPr/>
              <p:nvPr/>
            </p:nvGrpSpPr>
            <p:grpSpPr>
              <a:xfrm>
                <a:off x="4877736" y="1930399"/>
                <a:ext cx="944504" cy="809593"/>
                <a:chOff x="5696016" y="3086100"/>
                <a:chExt cx="800080" cy="685799"/>
              </a:xfrm>
              <a:grpFill/>
            </p:grpSpPr>
            <p:sp>
              <p:nvSpPr>
                <p:cNvPr id="408" name="Vrije vorm: vorm 407">
                  <a:extLst>
                    <a:ext uri="{FF2B5EF4-FFF2-40B4-BE49-F238E27FC236}">
                      <a16:creationId xmlns:a16="http://schemas.microsoft.com/office/drawing/2014/main" id="{6C5712A5-E3DC-93F9-A434-486C0A1237B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9" name="Vrije vorm: vorm 408">
                  <a:extLst>
                    <a:ext uri="{FF2B5EF4-FFF2-40B4-BE49-F238E27FC236}">
                      <a16:creationId xmlns:a16="http://schemas.microsoft.com/office/drawing/2014/main" id="{9A186B70-8CCD-85FF-8D1E-FA9D210ABB3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3" name="Groep 392">
                <a:extLst>
                  <a:ext uri="{FF2B5EF4-FFF2-40B4-BE49-F238E27FC236}">
                    <a16:creationId xmlns:a16="http://schemas.microsoft.com/office/drawing/2014/main" id="{9D23E352-5464-4818-8562-CB203BB8ED47}"/>
                  </a:ext>
                </a:extLst>
              </p:cNvPr>
              <p:cNvGrpSpPr/>
              <p:nvPr/>
            </p:nvGrpSpPr>
            <p:grpSpPr>
              <a:xfrm>
                <a:off x="5930071" y="1930399"/>
                <a:ext cx="944504" cy="809593"/>
                <a:chOff x="5696016" y="3086100"/>
                <a:chExt cx="800080" cy="685799"/>
              </a:xfrm>
              <a:grpFill/>
            </p:grpSpPr>
            <p:sp>
              <p:nvSpPr>
                <p:cNvPr id="406" name="Vrije vorm: vorm 405">
                  <a:extLst>
                    <a:ext uri="{FF2B5EF4-FFF2-40B4-BE49-F238E27FC236}">
                      <a16:creationId xmlns:a16="http://schemas.microsoft.com/office/drawing/2014/main" id="{FE1CB330-6549-4A95-F72E-A39E2EF7143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7" name="Vrije vorm: vorm 406">
                  <a:extLst>
                    <a:ext uri="{FF2B5EF4-FFF2-40B4-BE49-F238E27FC236}">
                      <a16:creationId xmlns:a16="http://schemas.microsoft.com/office/drawing/2014/main" id="{1976B6A6-8BAA-572A-E43D-7B4304BF23E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4" name="Groep 393">
                <a:extLst>
                  <a:ext uri="{FF2B5EF4-FFF2-40B4-BE49-F238E27FC236}">
                    <a16:creationId xmlns:a16="http://schemas.microsoft.com/office/drawing/2014/main" id="{DDEADB85-83A3-CE5A-A1A6-A4BB83265195}"/>
                  </a:ext>
                </a:extLst>
              </p:cNvPr>
              <p:cNvGrpSpPr/>
              <p:nvPr/>
            </p:nvGrpSpPr>
            <p:grpSpPr>
              <a:xfrm>
                <a:off x="6982406" y="1930399"/>
                <a:ext cx="944504" cy="809593"/>
                <a:chOff x="5696016" y="3086100"/>
                <a:chExt cx="800080" cy="685799"/>
              </a:xfrm>
              <a:grpFill/>
            </p:grpSpPr>
            <p:sp>
              <p:nvSpPr>
                <p:cNvPr id="404" name="Vrije vorm: vorm 403">
                  <a:extLst>
                    <a:ext uri="{FF2B5EF4-FFF2-40B4-BE49-F238E27FC236}">
                      <a16:creationId xmlns:a16="http://schemas.microsoft.com/office/drawing/2014/main" id="{F0ACEC82-4E2F-EE17-8FAA-5133FB4BD95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5" name="Vrije vorm: vorm 404">
                  <a:extLst>
                    <a:ext uri="{FF2B5EF4-FFF2-40B4-BE49-F238E27FC236}">
                      <a16:creationId xmlns:a16="http://schemas.microsoft.com/office/drawing/2014/main" id="{6BFB18E5-F215-B64C-FC02-FD31BA3235E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5" name="Groep 394">
                <a:extLst>
                  <a:ext uri="{FF2B5EF4-FFF2-40B4-BE49-F238E27FC236}">
                    <a16:creationId xmlns:a16="http://schemas.microsoft.com/office/drawing/2014/main" id="{EDD0D970-9533-DE37-339C-DB3D756EAC5F}"/>
                  </a:ext>
                </a:extLst>
              </p:cNvPr>
              <p:cNvGrpSpPr/>
              <p:nvPr/>
            </p:nvGrpSpPr>
            <p:grpSpPr>
              <a:xfrm>
                <a:off x="8034741" y="1930399"/>
                <a:ext cx="944504" cy="809593"/>
                <a:chOff x="5696016" y="3086100"/>
                <a:chExt cx="800080" cy="685799"/>
              </a:xfrm>
              <a:grpFill/>
            </p:grpSpPr>
            <p:sp>
              <p:nvSpPr>
                <p:cNvPr id="402" name="Vrije vorm: vorm 401">
                  <a:extLst>
                    <a:ext uri="{FF2B5EF4-FFF2-40B4-BE49-F238E27FC236}">
                      <a16:creationId xmlns:a16="http://schemas.microsoft.com/office/drawing/2014/main" id="{DAC2B947-6009-0E11-3E56-52833FC90F7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3" name="Vrije vorm: vorm 402">
                  <a:extLst>
                    <a:ext uri="{FF2B5EF4-FFF2-40B4-BE49-F238E27FC236}">
                      <a16:creationId xmlns:a16="http://schemas.microsoft.com/office/drawing/2014/main" id="{DB6B3E8F-CD2B-C71B-91C5-42646A272A0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6" name="Groep 395">
                <a:extLst>
                  <a:ext uri="{FF2B5EF4-FFF2-40B4-BE49-F238E27FC236}">
                    <a16:creationId xmlns:a16="http://schemas.microsoft.com/office/drawing/2014/main" id="{A08C6696-4421-8F48-6289-89D9706C5B24}"/>
                  </a:ext>
                </a:extLst>
              </p:cNvPr>
              <p:cNvGrpSpPr/>
              <p:nvPr/>
            </p:nvGrpSpPr>
            <p:grpSpPr>
              <a:xfrm>
                <a:off x="9087076" y="1930399"/>
                <a:ext cx="944504" cy="809593"/>
                <a:chOff x="5696016" y="3086100"/>
                <a:chExt cx="800080" cy="685799"/>
              </a:xfrm>
              <a:grpFill/>
            </p:grpSpPr>
            <p:sp>
              <p:nvSpPr>
                <p:cNvPr id="400" name="Vrije vorm: vorm 399">
                  <a:extLst>
                    <a:ext uri="{FF2B5EF4-FFF2-40B4-BE49-F238E27FC236}">
                      <a16:creationId xmlns:a16="http://schemas.microsoft.com/office/drawing/2014/main" id="{20F0C566-C216-67D3-97CB-E92D9673D46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1" name="Vrije vorm: vorm 400">
                  <a:extLst>
                    <a:ext uri="{FF2B5EF4-FFF2-40B4-BE49-F238E27FC236}">
                      <a16:creationId xmlns:a16="http://schemas.microsoft.com/office/drawing/2014/main" id="{C41EE1FB-3157-4EF9-923D-59D848344EE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7" name="Groep 396">
                <a:extLst>
                  <a:ext uri="{FF2B5EF4-FFF2-40B4-BE49-F238E27FC236}">
                    <a16:creationId xmlns:a16="http://schemas.microsoft.com/office/drawing/2014/main" id="{F0598696-CE0A-8BBF-DE06-F793E39A9237}"/>
                  </a:ext>
                </a:extLst>
              </p:cNvPr>
              <p:cNvGrpSpPr/>
              <p:nvPr/>
            </p:nvGrpSpPr>
            <p:grpSpPr>
              <a:xfrm>
                <a:off x="10139413" y="1930399"/>
                <a:ext cx="944504" cy="809593"/>
                <a:chOff x="5696016" y="3086100"/>
                <a:chExt cx="800080" cy="685799"/>
              </a:xfrm>
              <a:grpFill/>
            </p:grpSpPr>
            <p:sp>
              <p:nvSpPr>
                <p:cNvPr id="398" name="Vrije vorm: vorm 397">
                  <a:extLst>
                    <a:ext uri="{FF2B5EF4-FFF2-40B4-BE49-F238E27FC236}">
                      <a16:creationId xmlns:a16="http://schemas.microsoft.com/office/drawing/2014/main" id="{FE81999D-A376-603F-9413-C7EFBE0170E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99" name="Vrije vorm: vorm 398">
                  <a:extLst>
                    <a:ext uri="{FF2B5EF4-FFF2-40B4-BE49-F238E27FC236}">
                      <a16:creationId xmlns:a16="http://schemas.microsoft.com/office/drawing/2014/main" id="{9D68D986-190A-7353-BD66-E98C3F3FEC9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3" name="Groep 232">
              <a:extLst>
                <a:ext uri="{FF2B5EF4-FFF2-40B4-BE49-F238E27FC236}">
                  <a16:creationId xmlns:a16="http://schemas.microsoft.com/office/drawing/2014/main" id="{07CDCBD2-494D-B585-8D30-A8665C36F6BC}"/>
                </a:ext>
              </a:extLst>
            </p:cNvPr>
            <p:cNvGrpSpPr/>
            <p:nvPr/>
          </p:nvGrpSpPr>
          <p:grpSpPr>
            <a:xfrm>
              <a:off x="649432" y="988768"/>
              <a:ext cx="2409536" cy="187292"/>
              <a:chOff x="668396" y="1930399"/>
              <a:chExt cx="10415521" cy="809593"/>
            </a:xfrm>
            <a:grpFill/>
          </p:grpSpPr>
          <p:grpSp>
            <p:nvGrpSpPr>
              <p:cNvPr id="358" name="Groep 357">
                <a:extLst>
                  <a:ext uri="{FF2B5EF4-FFF2-40B4-BE49-F238E27FC236}">
                    <a16:creationId xmlns:a16="http://schemas.microsoft.com/office/drawing/2014/main" id="{F7F6332E-290F-66BD-9C14-A9CDF22532A7}"/>
                  </a:ext>
                </a:extLst>
              </p:cNvPr>
              <p:cNvGrpSpPr/>
              <p:nvPr/>
            </p:nvGrpSpPr>
            <p:grpSpPr>
              <a:xfrm>
                <a:off x="668396" y="1930399"/>
                <a:ext cx="944504" cy="809593"/>
                <a:chOff x="5696016" y="3086100"/>
                <a:chExt cx="800080" cy="685799"/>
              </a:xfrm>
              <a:grpFill/>
            </p:grpSpPr>
            <p:sp>
              <p:nvSpPr>
                <p:cNvPr id="386" name="Vrije vorm: vorm 385">
                  <a:extLst>
                    <a:ext uri="{FF2B5EF4-FFF2-40B4-BE49-F238E27FC236}">
                      <a16:creationId xmlns:a16="http://schemas.microsoft.com/office/drawing/2014/main" id="{54237BFB-3A58-DDDA-83C2-1CE689E9F5B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7" name="Vrije vorm: vorm 386">
                  <a:extLst>
                    <a:ext uri="{FF2B5EF4-FFF2-40B4-BE49-F238E27FC236}">
                      <a16:creationId xmlns:a16="http://schemas.microsoft.com/office/drawing/2014/main" id="{98E652A6-BDE0-CFC3-DFF8-36984E2781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59" name="Groep 358">
                <a:extLst>
                  <a:ext uri="{FF2B5EF4-FFF2-40B4-BE49-F238E27FC236}">
                    <a16:creationId xmlns:a16="http://schemas.microsoft.com/office/drawing/2014/main" id="{DC03CA65-BFD6-E393-EB4E-2FBF9ADF4F29}"/>
                  </a:ext>
                </a:extLst>
              </p:cNvPr>
              <p:cNvGrpSpPr/>
              <p:nvPr/>
            </p:nvGrpSpPr>
            <p:grpSpPr>
              <a:xfrm>
                <a:off x="1720731" y="1930399"/>
                <a:ext cx="944504" cy="809593"/>
                <a:chOff x="5696016" y="3086100"/>
                <a:chExt cx="800080" cy="685799"/>
              </a:xfrm>
              <a:grpFill/>
            </p:grpSpPr>
            <p:sp>
              <p:nvSpPr>
                <p:cNvPr id="384" name="Vrije vorm: vorm 383">
                  <a:extLst>
                    <a:ext uri="{FF2B5EF4-FFF2-40B4-BE49-F238E27FC236}">
                      <a16:creationId xmlns:a16="http://schemas.microsoft.com/office/drawing/2014/main" id="{98ED7A2B-259C-B5FC-17BF-7B0773FA14C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5" name="Vrije vorm: vorm 384">
                  <a:extLst>
                    <a:ext uri="{FF2B5EF4-FFF2-40B4-BE49-F238E27FC236}">
                      <a16:creationId xmlns:a16="http://schemas.microsoft.com/office/drawing/2014/main" id="{15D0327D-93BA-3E4B-D5E1-72B0F47E36C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0" name="Groep 359">
                <a:extLst>
                  <a:ext uri="{FF2B5EF4-FFF2-40B4-BE49-F238E27FC236}">
                    <a16:creationId xmlns:a16="http://schemas.microsoft.com/office/drawing/2014/main" id="{A50D615C-0473-B972-1842-AF839EF93696}"/>
                  </a:ext>
                </a:extLst>
              </p:cNvPr>
              <p:cNvGrpSpPr/>
              <p:nvPr/>
            </p:nvGrpSpPr>
            <p:grpSpPr>
              <a:xfrm>
                <a:off x="2773066" y="1930399"/>
                <a:ext cx="944504" cy="809593"/>
                <a:chOff x="5696016" y="3086100"/>
                <a:chExt cx="800080" cy="685799"/>
              </a:xfrm>
              <a:grpFill/>
            </p:grpSpPr>
            <p:sp>
              <p:nvSpPr>
                <p:cNvPr id="382" name="Vrije vorm: vorm 381">
                  <a:extLst>
                    <a:ext uri="{FF2B5EF4-FFF2-40B4-BE49-F238E27FC236}">
                      <a16:creationId xmlns:a16="http://schemas.microsoft.com/office/drawing/2014/main" id="{0FB6F03A-94B1-E5BA-2E3C-5AB244BF1A5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3" name="Vrije vorm: vorm 382">
                  <a:extLst>
                    <a:ext uri="{FF2B5EF4-FFF2-40B4-BE49-F238E27FC236}">
                      <a16:creationId xmlns:a16="http://schemas.microsoft.com/office/drawing/2014/main" id="{6A49D12F-F89B-7AEA-8620-607F656ABFA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1" name="Groep 360">
                <a:extLst>
                  <a:ext uri="{FF2B5EF4-FFF2-40B4-BE49-F238E27FC236}">
                    <a16:creationId xmlns:a16="http://schemas.microsoft.com/office/drawing/2014/main" id="{19E89626-ABB4-EA21-49DD-B1F2D15EB9AB}"/>
                  </a:ext>
                </a:extLst>
              </p:cNvPr>
              <p:cNvGrpSpPr/>
              <p:nvPr/>
            </p:nvGrpSpPr>
            <p:grpSpPr>
              <a:xfrm>
                <a:off x="3825401" y="1930399"/>
                <a:ext cx="944504" cy="809593"/>
                <a:chOff x="5696016" y="3086100"/>
                <a:chExt cx="800080" cy="685799"/>
              </a:xfrm>
              <a:grpFill/>
            </p:grpSpPr>
            <p:sp>
              <p:nvSpPr>
                <p:cNvPr id="380" name="Vrije vorm: vorm 379">
                  <a:extLst>
                    <a:ext uri="{FF2B5EF4-FFF2-40B4-BE49-F238E27FC236}">
                      <a16:creationId xmlns:a16="http://schemas.microsoft.com/office/drawing/2014/main" id="{5C0945C5-8CAD-CDAE-6738-47784498EEA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1" name="Vrije vorm: vorm 380">
                  <a:extLst>
                    <a:ext uri="{FF2B5EF4-FFF2-40B4-BE49-F238E27FC236}">
                      <a16:creationId xmlns:a16="http://schemas.microsoft.com/office/drawing/2014/main" id="{1B30E0CF-C53C-B87E-B4F6-8B03B5B649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2" name="Groep 361">
                <a:extLst>
                  <a:ext uri="{FF2B5EF4-FFF2-40B4-BE49-F238E27FC236}">
                    <a16:creationId xmlns:a16="http://schemas.microsoft.com/office/drawing/2014/main" id="{1DE4B5CA-6C1A-714F-7608-3DE0888CEF87}"/>
                  </a:ext>
                </a:extLst>
              </p:cNvPr>
              <p:cNvGrpSpPr/>
              <p:nvPr/>
            </p:nvGrpSpPr>
            <p:grpSpPr>
              <a:xfrm>
                <a:off x="4877736" y="1930399"/>
                <a:ext cx="944504" cy="809593"/>
                <a:chOff x="5696016" y="3086100"/>
                <a:chExt cx="800080" cy="685799"/>
              </a:xfrm>
              <a:grpFill/>
            </p:grpSpPr>
            <p:sp>
              <p:nvSpPr>
                <p:cNvPr id="378" name="Vrije vorm: vorm 377">
                  <a:extLst>
                    <a:ext uri="{FF2B5EF4-FFF2-40B4-BE49-F238E27FC236}">
                      <a16:creationId xmlns:a16="http://schemas.microsoft.com/office/drawing/2014/main" id="{0C6B8F7A-DF8F-45CF-4B42-98D6856316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9" name="Vrije vorm: vorm 378">
                  <a:extLst>
                    <a:ext uri="{FF2B5EF4-FFF2-40B4-BE49-F238E27FC236}">
                      <a16:creationId xmlns:a16="http://schemas.microsoft.com/office/drawing/2014/main" id="{FB0459C9-8C6B-32D4-2A52-E08451D0906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3" name="Groep 362">
                <a:extLst>
                  <a:ext uri="{FF2B5EF4-FFF2-40B4-BE49-F238E27FC236}">
                    <a16:creationId xmlns:a16="http://schemas.microsoft.com/office/drawing/2014/main" id="{BECDD698-624D-EFA3-7248-521E331C86F0}"/>
                  </a:ext>
                </a:extLst>
              </p:cNvPr>
              <p:cNvGrpSpPr/>
              <p:nvPr/>
            </p:nvGrpSpPr>
            <p:grpSpPr>
              <a:xfrm>
                <a:off x="5930071" y="1930399"/>
                <a:ext cx="944504" cy="809593"/>
                <a:chOff x="5696016" y="3086100"/>
                <a:chExt cx="800080" cy="685799"/>
              </a:xfrm>
              <a:grpFill/>
            </p:grpSpPr>
            <p:sp>
              <p:nvSpPr>
                <p:cNvPr id="376" name="Vrije vorm: vorm 375">
                  <a:extLst>
                    <a:ext uri="{FF2B5EF4-FFF2-40B4-BE49-F238E27FC236}">
                      <a16:creationId xmlns:a16="http://schemas.microsoft.com/office/drawing/2014/main" id="{AD354F50-9F72-76FE-C856-F4210D9D0A8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7" name="Vrije vorm: vorm 376">
                  <a:extLst>
                    <a:ext uri="{FF2B5EF4-FFF2-40B4-BE49-F238E27FC236}">
                      <a16:creationId xmlns:a16="http://schemas.microsoft.com/office/drawing/2014/main" id="{C89F9405-C32F-0F3A-C677-1267B7909F3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4" name="Groep 363">
                <a:extLst>
                  <a:ext uri="{FF2B5EF4-FFF2-40B4-BE49-F238E27FC236}">
                    <a16:creationId xmlns:a16="http://schemas.microsoft.com/office/drawing/2014/main" id="{7FAE7720-F0B5-2BEA-0AB3-238CDE3D1068}"/>
                  </a:ext>
                </a:extLst>
              </p:cNvPr>
              <p:cNvGrpSpPr/>
              <p:nvPr/>
            </p:nvGrpSpPr>
            <p:grpSpPr>
              <a:xfrm>
                <a:off x="6982406" y="1930399"/>
                <a:ext cx="944504" cy="809593"/>
                <a:chOff x="5696016" y="3086100"/>
                <a:chExt cx="800080" cy="685799"/>
              </a:xfrm>
              <a:grpFill/>
            </p:grpSpPr>
            <p:sp>
              <p:nvSpPr>
                <p:cNvPr id="374" name="Vrije vorm: vorm 373">
                  <a:extLst>
                    <a:ext uri="{FF2B5EF4-FFF2-40B4-BE49-F238E27FC236}">
                      <a16:creationId xmlns:a16="http://schemas.microsoft.com/office/drawing/2014/main" id="{FC94E8D7-50BA-977F-5738-19B558FB2AC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5" name="Vrije vorm: vorm 374">
                  <a:extLst>
                    <a:ext uri="{FF2B5EF4-FFF2-40B4-BE49-F238E27FC236}">
                      <a16:creationId xmlns:a16="http://schemas.microsoft.com/office/drawing/2014/main" id="{2885A48F-47A8-ABFB-8B6F-026A917F690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5" name="Groep 364">
                <a:extLst>
                  <a:ext uri="{FF2B5EF4-FFF2-40B4-BE49-F238E27FC236}">
                    <a16:creationId xmlns:a16="http://schemas.microsoft.com/office/drawing/2014/main" id="{085F4F41-61DB-8AA3-F6DA-5999F12FE17D}"/>
                  </a:ext>
                </a:extLst>
              </p:cNvPr>
              <p:cNvGrpSpPr/>
              <p:nvPr/>
            </p:nvGrpSpPr>
            <p:grpSpPr>
              <a:xfrm>
                <a:off x="8034741" y="1930399"/>
                <a:ext cx="944504" cy="809593"/>
                <a:chOff x="5696016" y="3086100"/>
                <a:chExt cx="800080" cy="685799"/>
              </a:xfrm>
              <a:grpFill/>
            </p:grpSpPr>
            <p:sp>
              <p:nvSpPr>
                <p:cNvPr id="372" name="Vrije vorm: vorm 371">
                  <a:extLst>
                    <a:ext uri="{FF2B5EF4-FFF2-40B4-BE49-F238E27FC236}">
                      <a16:creationId xmlns:a16="http://schemas.microsoft.com/office/drawing/2014/main" id="{A902B34A-62A6-0B38-5486-ED5DF4A782B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3" name="Vrije vorm: vorm 372">
                  <a:extLst>
                    <a:ext uri="{FF2B5EF4-FFF2-40B4-BE49-F238E27FC236}">
                      <a16:creationId xmlns:a16="http://schemas.microsoft.com/office/drawing/2014/main" id="{EFE1B494-73BE-2A01-7298-4F97459E799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6" name="Groep 365">
                <a:extLst>
                  <a:ext uri="{FF2B5EF4-FFF2-40B4-BE49-F238E27FC236}">
                    <a16:creationId xmlns:a16="http://schemas.microsoft.com/office/drawing/2014/main" id="{8266B8F6-413D-8D67-B5BB-13A8C9E0E590}"/>
                  </a:ext>
                </a:extLst>
              </p:cNvPr>
              <p:cNvGrpSpPr/>
              <p:nvPr/>
            </p:nvGrpSpPr>
            <p:grpSpPr>
              <a:xfrm>
                <a:off x="9087076" y="1930399"/>
                <a:ext cx="944504" cy="809593"/>
                <a:chOff x="5696016" y="3086100"/>
                <a:chExt cx="800080" cy="685799"/>
              </a:xfrm>
              <a:grpFill/>
            </p:grpSpPr>
            <p:sp>
              <p:nvSpPr>
                <p:cNvPr id="370" name="Vrije vorm: vorm 369">
                  <a:extLst>
                    <a:ext uri="{FF2B5EF4-FFF2-40B4-BE49-F238E27FC236}">
                      <a16:creationId xmlns:a16="http://schemas.microsoft.com/office/drawing/2014/main" id="{C1F0D9D7-6602-7D7F-4265-C95E553BCCE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1" name="Vrije vorm: vorm 370">
                  <a:extLst>
                    <a:ext uri="{FF2B5EF4-FFF2-40B4-BE49-F238E27FC236}">
                      <a16:creationId xmlns:a16="http://schemas.microsoft.com/office/drawing/2014/main" id="{A11A25F7-25EF-710A-FA82-6AD2D12C110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7" name="Groep 366">
                <a:extLst>
                  <a:ext uri="{FF2B5EF4-FFF2-40B4-BE49-F238E27FC236}">
                    <a16:creationId xmlns:a16="http://schemas.microsoft.com/office/drawing/2014/main" id="{0050E087-2497-64C9-B5D5-2B1DEA8E3B57}"/>
                  </a:ext>
                </a:extLst>
              </p:cNvPr>
              <p:cNvGrpSpPr/>
              <p:nvPr/>
            </p:nvGrpSpPr>
            <p:grpSpPr>
              <a:xfrm>
                <a:off x="10139413" y="1930399"/>
                <a:ext cx="944504" cy="809593"/>
                <a:chOff x="5696016" y="3086100"/>
                <a:chExt cx="800080" cy="685799"/>
              </a:xfrm>
              <a:grpFill/>
            </p:grpSpPr>
            <p:sp>
              <p:nvSpPr>
                <p:cNvPr id="368" name="Vrije vorm: vorm 367">
                  <a:extLst>
                    <a:ext uri="{FF2B5EF4-FFF2-40B4-BE49-F238E27FC236}">
                      <a16:creationId xmlns:a16="http://schemas.microsoft.com/office/drawing/2014/main" id="{B0DB1A47-C2E8-CA40-B8A5-524860026D3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69" name="Vrije vorm: vorm 368">
                  <a:extLst>
                    <a:ext uri="{FF2B5EF4-FFF2-40B4-BE49-F238E27FC236}">
                      <a16:creationId xmlns:a16="http://schemas.microsoft.com/office/drawing/2014/main" id="{730777AF-AC65-1DB1-9302-B01CEFA2085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4" name="Groep 233">
              <a:extLst>
                <a:ext uri="{FF2B5EF4-FFF2-40B4-BE49-F238E27FC236}">
                  <a16:creationId xmlns:a16="http://schemas.microsoft.com/office/drawing/2014/main" id="{E6950C12-3343-1C2E-6185-AEF04E397473}"/>
                </a:ext>
              </a:extLst>
            </p:cNvPr>
            <p:cNvGrpSpPr/>
            <p:nvPr/>
          </p:nvGrpSpPr>
          <p:grpSpPr>
            <a:xfrm>
              <a:off x="649432" y="1222801"/>
              <a:ext cx="2409536" cy="187292"/>
              <a:chOff x="668396" y="1930399"/>
              <a:chExt cx="10415521" cy="809593"/>
            </a:xfrm>
            <a:grpFill/>
          </p:grpSpPr>
          <p:grpSp>
            <p:nvGrpSpPr>
              <p:cNvPr id="328" name="Groep 327">
                <a:extLst>
                  <a:ext uri="{FF2B5EF4-FFF2-40B4-BE49-F238E27FC236}">
                    <a16:creationId xmlns:a16="http://schemas.microsoft.com/office/drawing/2014/main" id="{735E65BB-7103-478D-F274-C6A9A5FF1887}"/>
                  </a:ext>
                </a:extLst>
              </p:cNvPr>
              <p:cNvGrpSpPr/>
              <p:nvPr/>
            </p:nvGrpSpPr>
            <p:grpSpPr>
              <a:xfrm>
                <a:off x="668396" y="1930399"/>
                <a:ext cx="944504" cy="809593"/>
                <a:chOff x="5696016" y="3086100"/>
                <a:chExt cx="800080" cy="685799"/>
              </a:xfrm>
              <a:grpFill/>
            </p:grpSpPr>
            <p:sp>
              <p:nvSpPr>
                <p:cNvPr id="356" name="Vrije vorm: vorm 355">
                  <a:extLst>
                    <a:ext uri="{FF2B5EF4-FFF2-40B4-BE49-F238E27FC236}">
                      <a16:creationId xmlns:a16="http://schemas.microsoft.com/office/drawing/2014/main" id="{1C2CA99E-EAF7-FD3D-87BF-D6A57F5465A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7" name="Vrije vorm: vorm 356">
                  <a:extLst>
                    <a:ext uri="{FF2B5EF4-FFF2-40B4-BE49-F238E27FC236}">
                      <a16:creationId xmlns:a16="http://schemas.microsoft.com/office/drawing/2014/main" id="{7C986931-8ADC-E5B9-780A-C8EB3D5F725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29" name="Groep 328">
                <a:extLst>
                  <a:ext uri="{FF2B5EF4-FFF2-40B4-BE49-F238E27FC236}">
                    <a16:creationId xmlns:a16="http://schemas.microsoft.com/office/drawing/2014/main" id="{3CC94BCF-5A9E-D0AA-E6B8-93BEEE4C6B6E}"/>
                  </a:ext>
                </a:extLst>
              </p:cNvPr>
              <p:cNvGrpSpPr/>
              <p:nvPr/>
            </p:nvGrpSpPr>
            <p:grpSpPr>
              <a:xfrm>
                <a:off x="1720731" y="1930399"/>
                <a:ext cx="944504" cy="809593"/>
                <a:chOff x="5696016" y="3086100"/>
                <a:chExt cx="800080" cy="685799"/>
              </a:xfrm>
              <a:grpFill/>
            </p:grpSpPr>
            <p:sp>
              <p:nvSpPr>
                <p:cNvPr id="354" name="Vrije vorm: vorm 353">
                  <a:extLst>
                    <a:ext uri="{FF2B5EF4-FFF2-40B4-BE49-F238E27FC236}">
                      <a16:creationId xmlns:a16="http://schemas.microsoft.com/office/drawing/2014/main" id="{06410FE0-78EB-DA37-E1E0-9F1BD4EBC25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5" name="Vrije vorm: vorm 354">
                  <a:extLst>
                    <a:ext uri="{FF2B5EF4-FFF2-40B4-BE49-F238E27FC236}">
                      <a16:creationId xmlns:a16="http://schemas.microsoft.com/office/drawing/2014/main" id="{5B477B8B-C583-0771-C7A8-C2D7D57124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0" name="Groep 329">
                <a:extLst>
                  <a:ext uri="{FF2B5EF4-FFF2-40B4-BE49-F238E27FC236}">
                    <a16:creationId xmlns:a16="http://schemas.microsoft.com/office/drawing/2014/main" id="{A47A37BA-BE26-F183-5311-E01E09103513}"/>
                  </a:ext>
                </a:extLst>
              </p:cNvPr>
              <p:cNvGrpSpPr/>
              <p:nvPr/>
            </p:nvGrpSpPr>
            <p:grpSpPr>
              <a:xfrm>
                <a:off x="2773066" y="1930399"/>
                <a:ext cx="944504" cy="809593"/>
                <a:chOff x="5696016" y="3086100"/>
                <a:chExt cx="800080" cy="685799"/>
              </a:xfrm>
              <a:grpFill/>
            </p:grpSpPr>
            <p:sp>
              <p:nvSpPr>
                <p:cNvPr id="352" name="Vrije vorm: vorm 351">
                  <a:extLst>
                    <a:ext uri="{FF2B5EF4-FFF2-40B4-BE49-F238E27FC236}">
                      <a16:creationId xmlns:a16="http://schemas.microsoft.com/office/drawing/2014/main" id="{73447285-7B8E-85EB-CE3B-59C2BE59141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3" name="Vrije vorm: vorm 352">
                  <a:extLst>
                    <a:ext uri="{FF2B5EF4-FFF2-40B4-BE49-F238E27FC236}">
                      <a16:creationId xmlns:a16="http://schemas.microsoft.com/office/drawing/2014/main" id="{47509143-863F-2696-3EE0-9946BAD7ADD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1" name="Groep 330">
                <a:extLst>
                  <a:ext uri="{FF2B5EF4-FFF2-40B4-BE49-F238E27FC236}">
                    <a16:creationId xmlns:a16="http://schemas.microsoft.com/office/drawing/2014/main" id="{2BD91D0B-6C7E-79C4-E324-6C983083F432}"/>
                  </a:ext>
                </a:extLst>
              </p:cNvPr>
              <p:cNvGrpSpPr/>
              <p:nvPr/>
            </p:nvGrpSpPr>
            <p:grpSpPr>
              <a:xfrm>
                <a:off x="3825401" y="1930399"/>
                <a:ext cx="944504" cy="809593"/>
                <a:chOff x="5696016" y="3086100"/>
                <a:chExt cx="800080" cy="685799"/>
              </a:xfrm>
              <a:grpFill/>
            </p:grpSpPr>
            <p:sp>
              <p:nvSpPr>
                <p:cNvPr id="350" name="Vrije vorm: vorm 349">
                  <a:extLst>
                    <a:ext uri="{FF2B5EF4-FFF2-40B4-BE49-F238E27FC236}">
                      <a16:creationId xmlns:a16="http://schemas.microsoft.com/office/drawing/2014/main" id="{5267F9AA-BA00-BCFA-3CEE-76226769B5A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1" name="Vrije vorm: vorm 350">
                  <a:extLst>
                    <a:ext uri="{FF2B5EF4-FFF2-40B4-BE49-F238E27FC236}">
                      <a16:creationId xmlns:a16="http://schemas.microsoft.com/office/drawing/2014/main" id="{781F4ADF-9265-8B82-4112-87D12A78AB6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2" name="Groep 331">
                <a:extLst>
                  <a:ext uri="{FF2B5EF4-FFF2-40B4-BE49-F238E27FC236}">
                    <a16:creationId xmlns:a16="http://schemas.microsoft.com/office/drawing/2014/main" id="{68DE9147-3517-8BBD-1204-CA7AC53D04B8}"/>
                  </a:ext>
                </a:extLst>
              </p:cNvPr>
              <p:cNvGrpSpPr/>
              <p:nvPr/>
            </p:nvGrpSpPr>
            <p:grpSpPr>
              <a:xfrm>
                <a:off x="4877736" y="1930399"/>
                <a:ext cx="944504" cy="809593"/>
                <a:chOff x="5696016" y="3086100"/>
                <a:chExt cx="800080" cy="685799"/>
              </a:xfrm>
              <a:grpFill/>
            </p:grpSpPr>
            <p:sp>
              <p:nvSpPr>
                <p:cNvPr id="348" name="Vrije vorm: vorm 347">
                  <a:extLst>
                    <a:ext uri="{FF2B5EF4-FFF2-40B4-BE49-F238E27FC236}">
                      <a16:creationId xmlns:a16="http://schemas.microsoft.com/office/drawing/2014/main" id="{63DC6123-B9B6-722D-6CA9-8F4B2BD6862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9" name="Vrije vorm: vorm 348">
                  <a:extLst>
                    <a:ext uri="{FF2B5EF4-FFF2-40B4-BE49-F238E27FC236}">
                      <a16:creationId xmlns:a16="http://schemas.microsoft.com/office/drawing/2014/main" id="{4AC2E597-92F7-AEAE-08A5-E69BFF59EBF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3" name="Groep 332">
                <a:extLst>
                  <a:ext uri="{FF2B5EF4-FFF2-40B4-BE49-F238E27FC236}">
                    <a16:creationId xmlns:a16="http://schemas.microsoft.com/office/drawing/2014/main" id="{10A1B014-C26C-10A6-D06C-C326317F97D4}"/>
                  </a:ext>
                </a:extLst>
              </p:cNvPr>
              <p:cNvGrpSpPr/>
              <p:nvPr/>
            </p:nvGrpSpPr>
            <p:grpSpPr>
              <a:xfrm>
                <a:off x="5930071" y="1930399"/>
                <a:ext cx="944504" cy="809593"/>
                <a:chOff x="5696016" y="3086100"/>
                <a:chExt cx="800080" cy="685799"/>
              </a:xfrm>
              <a:grpFill/>
            </p:grpSpPr>
            <p:sp>
              <p:nvSpPr>
                <p:cNvPr id="346" name="Vrije vorm: vorm 345">
                  <a:extLst>
                    <a:ext uri="{FF2B5EF4-FFF2-40B4-BE49-F238E27FC236}">
                      <a16:creationId xmlns:a16="http://schemas.microsoft.com/office/drawing/2014/main" id="{1C8E2C22-AF3E-ADB9-5339-22BB86A5EC0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7" name="Vrije vorm: vorm 346">
                  <a:extLst>
                    <a:ext uri="{FF2B5EF4-FFF2-40B4-BE49-F238E27FC236}">
                      <a16:creationId xmlns:a16="http://schemas.microsoft.com/office/drawing/2014/main" id="{B07668AD-78D0-3CDF-FF4C-46EB07C9C95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4" name="Groep 333">
                <a:extLst>
                  <a:ext uri="{FF2B5EF4-FFF2-40B4-BE49-F238E27FC236}">
                    <a16:creationId xmlns:a16="http://schemas.microsoft.com/office/drawing/2014/main" id="{F14B180E-6CDB-B06C-379B-9B5A15036279}"/>
                  </a:ext>
                </a:extLst>
              </p:cNvPr>
              <p:cNvGrpSpPr/>
              <p:nvPr/>
            </p:nvGrpSpPr>
            <p:grpSpPr>
              <a:xfrm>
                <a:off x="6982406" y="1930399"/>
                <a:ext cx="944504" cy="809593"/>
                <a:chOff x="5696016" y="3086100"/>
                <a:chExt cx="800080" cy="685799"/>
              </a:xfrm>
              <a:grpFill/>
            </p:grpSpPr>
            <p:sp>
              <p:nvSpPr>
                <p:cNvPr id="344" name="Vrije vorm: vorm 343">
                  <a:extLst>
                    <a:ext uri="{FF2B5EF4-FFF2-40B4-BE49-F238E27FC236}">
                      <a16:creationId xmlns:a16="http://schemas.microsoft.com/office/drawing/2014/main" id="{F40FB42E-3C6E-4B79-3C65-5ADC35AD4A6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5" name="Vrije vorm: vorm 344">
                  <a:extLst>
                    <a:ext uri="{FF2B5EF4-FFF2-40B4-BE49-F238E27FC236}">
                      <a16:creationId xmlns:a16="http://schemas.microsoft.com/office/drawing/2014/main" id="{4B1D317A-CA2A-5C74-9C83-F8065AA3EBE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5" name="Groep 334">
                <a:extLst>
                  <a:ext uri="{FF2B5EF4-FFF2-40B4-BE49-F238E27FC236}">
                    <a16:creationId xmlns:a16="http://schemas.microsoft.com/office/drawing/2014/main" id="{273C87AA-AE1B-2310-A40A-A380B73BCB83}"/>
                  </a:ext>
                </a:extLst>
              </p:cNvPr>
              <p:cNvGrpSpPr/>
              <p:nvPr/>
            </p:nvGrpSpPr>
            <p:grpSpPr>
              <a:xfrm>
                <a:off x="8034741" y="1930399"/>
                <a:ext cx="944504" cy="809593"/>
                <a:chOff x="5696016" y="3086100"/>
                <a:chExt cx="800080" cy="685799"/>
              </a:xfrm>
              <a:grpFill/>
            </p:grpSpPr>
            <p:sp>
              <p:nvSpPr>
                <p:cNvPr id="342" name="Vrije vorm: vorm 341">
                  <a:extLst>
                    <a:ext uri="{FF2B5EF4-FFF2-40B4-BE49-F238E27FC236}">
                      <a16:creationId xmlns:a16="http://schemas.microsoft.com/office/drawing/2014/main" id="{89C33262-2DF3-82E6-4507-45E90414F0F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3" name="Vrije vorm: vorm 342">
                  <a:extLst>
                    <a:ext uri="{FF2B5EF4-FFF2-40B4-BE49-F238E27FC236}">
                      <a16:creationId xmlns:a16="http://schemas.microsoft.com/office/drawing/2014/main" id="{8DFEE533-737A-7FE4-BDF3-D78D9042621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6" name="Groep 335">
                <a:extLst>
                  <a:ext uri="{FF2B5EF4-FFF2-40B4-BE49-F238E27FC236}">
                    <a16:creationId xmlns:a16="http://schemas.microsoft.com/office/drawing/2014/main" id="{F92EDCEF-4C86-DAAA-C44A-3D78790BE72C}"/>
                  </a:ext>
                </a:extLst>
              </p:cNvPr>
              <p:cNvGrpSpPr/>
              <p:nvPr/>
            </p:nvGrpSpPr>
            <p:grpSpPr>
              <a:xfrm>
                <a:off x="9087076" y="1930399"/>
                <a:ext cx="944504" cy="809593"/>
                <a:chOff x="5696016" y="3086100"/>
                <a:chExt cx="800080" cy="685799"/>
              </a:xfrm>
              <a:grpFill/>
            </p:grpSpPr>
            <p:sp>
              <p:nvSpPr>
                <p:cNvPr id="340" name="Vrije vorm: vorm 339">
                  <a:extLst>
                    <a:ext uri="{FF2B5EF4-FFF2-40B4-BE49-F238E27FC236}">
                      <a16:creationId xmlns:a16="http://schemas.microsoft.com/office/drawing/2014/main" id="{C8A01F58-D40C-5E41-F834-B3B0646C52D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1" name="Vrije vorm: vorm 340">
                  <a:extLst>
                    <a:ext uri="{FF2B5EF4-FFF2-40B4-BE49-F238E27FC236}">
                      <a16:creationId xmlns:a16="http://schemas.microsoft.com/office/drawing/2014/main" id="{5DCC8473-75DD-68EB-027D-510DDE3BFB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7" name="Groep 336">
                <a:extLst>
                  <a:ext uri="{FF2B5EF4-FFF2-40B4-BE49-F238E27FC236}">
                    <a16:creationId xmlns:a16="http://schemas.microsoft.com/office/drawing/2014/main" id="{A991A87E-96F7-20D0-2E33-BB62E3FA7CD4}"/>
                  </a:ext>
                </a:extLst>
              </p:cNvPr>
              <p:cNvGrpSpPr/>
              <p:nvPr/>
            </p:nvGrpSpPr>
            <p:grpSpPr>
              <a:xfrm>
                <a:off x="10139413" y="1930399"/>
                <a:ext cx="944504" cy="809593"/>
                <a:chOff x="5696016" y="3086100"/>
                <a:chExt cx="800080" cy="685799"/>
              </a:xfrm>
              <a:grpFill/>
            </p:grpSpPr>
            <p:sp>
              <p:nvSpPr>
                <p:cNvPr id="338" name="Vrije vorm: vorm 337">
                  <a:extLst>
                    <a:ext uri="{FF2B5EF4-FFF2-40B4-BE49-F238E27FC236}">
                      <a16:creationId xmlns:a16="http://schemas.microsoft.com/office/drawing/2014/main" id="{0FB6E1A5-8CD8-DD22-A344-1068F488BD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39" name="Vrije vorm: vorm 338">
                  <a:extLst>
                    <a:ext uri="{FF2B5EF4-FFF2-40B4-BE49-F238E27FC236}">
                      <a16:creationId xmlns:a16="http://schemas.microsoft.com/office/drawing/2014/main" id="{4FB249F4-B729-307D-1AA8-DFE8F6D5CC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5" name="Groep 234">
              <a:extLst>
                <a:ext uri="{FF2B5EF4-FFF2-40B4-BE49-F238E27FC236}">
                  <a16:creationId xmlns:a16="http://schemas.microsoft.com/office/drawing/2014/main" id="{B17836DA-69FC-8C9C-CFB6-7C2339866585}"/>
                </a:ext>
              </a:extLst>
            </p:cNvPr>
            <p:cNvGrpSpPr/>
            <p:nvPr/>
          </p:nvGrpSpPr>
          <p:grpSpPr>
            <a:xfrm>
              <a:off x="649432" y="1456834"/>
              <a:ext cx="2409536" cy="187292"/>
              <a:chOff x="668396" y="1930399"/>
              <a:chExt cx="10415521" cy="809593"/>
            </a:xfrm>
            <a:grpFill/>
          </p:grpSpPr>
          <p:grpSp>
            <p:nvGrpSpPr>
              <p:cNvPr id="298" name="Groep 297">
                <a:extLst>
                  <a:ext uri="{FF2B5EF4-FFF2-40B4-BE49-F238E27FC236}">
                    <a16:creationId xmlns:a16="http://schemas.microsoft.com/office/drawing/2014/main" id="{5829DC61-4CFB-1013-C2CB-F3FC0C70A2AF}"/>
                  </a:ext>
                </a:extLst>
              </p:cNvPr>
              <p:cNvGrpSpPr/>
              <p:nvPr/>
            </p:nvGrpSpPr>
            <p:grpSpPr>
              <a:xfrm>
                <a:off x="668396" y="1930399"/>
                <a:ext cx="944504" cy="809593"/>
                <a:chOff x="5696016" y="3086100"/>
                <a:chExt cx="800080" cy="685799"/>
              </a:xfrm>
              <a:grpFill/>
            </p:grpSpPr>
            <p:sp>
              <p:nvSpPr>
                <p:cNvPr id="326" name="Vrije vorm: vorm 325">
                  <a:extLst>
                    <a:ext uri="{FF2B5EF4-FFF2-40B4-BE49-F238E27FC236}">
                      <a16:creationId xmlns:a16="http://schemas.microsoft.com/office/drawing/2014/main" id="{5D2AF91F-7FD9-2171-D283-80DF57B1AF3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7" name="Vrije vorm: vorm 326">
                  <a:extLst>
                    <a:ext uri="{FF2B5EF4-FFF2-40B4-BE49-F238E27FC236}">
                      <a16:creationId xmlns:a16="http://schemas.microsoft.com/office/drawing/2014/main" id="{4F9AFDBF-925B-3CDD-ACEE-F63CA9A0184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99" name="Groep 298">
                <a:extLst>
                  <a:ext uri="{FF2B5EF4-FFF2-40B4-BE49-F238E27FC236}">
                    <a16:creationId xmlns:a16="http://schemas.microsoft.com/office/drawing/2014/main" id="{037F4F3E-B235-09B2-9C8D-B6FB5B08C6D2}"/>
                  </a:ext>
                </a:extLst>
              </p:cNvPr>
              <p:cNvGrpSpPr/>
              <p:nvPr/>
            </p:nvGrpSpPr>
            <p:grpSpPr>
              <a:xfrm>
                <a:off x="1720731" y="1930399"/>
                <a:ext cx="944504" cy="809593"/>
                <a:chOff x="5696016" y="3086100"/>
                <a:chExt cx="800080" cy="685799"/>
              </a:xfrm>
              <a:grpFill/>
            </p:grpSpPr>
            <p:sp>
              <p:nvSpPr>
                <p:cNvPr id="324" name="Vrije vorm: vorm 323">
                  <a:extLst>
                    <a:ext uri="{FF2B5EF4-FFF2-40B4-BE49-F238E27FC236}">
                      <a16:creationId xmlns:a16="http://schemas.microsoft.com/office/drawing/2014/main" id="{19FFFF27-69A6-A1F3-A610-3C5C70453E8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5" name="Vrije vorm: vorm 324">
                  <a:extLst>
                    <a:ext uri="{FF2B5EF4-FFF2-40B4-BE49-F238E27FC236}">
                      <a16:creationId xmlns:a16="http://schemas.microsoft.com/office/drawing/2014/main" id="{ECC65B5D-3AB6-7DA2-08E6-DA4395342E0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0" name="Groep 299">
                <a:extLst>
                  <a:ext uri="{FF2B5EF4-FFF2-40B4-BE49-F238E27FC236}">
                    <a16:creationId xmlns:a16="http://schemas.microsoft.com/office/drawing/2014/main" id="{250035D2-9758-F645-66A4-82FD3D4F4D14}"/>
                  </a:ext>
                </a:extLst>
              </p:cNvPr>
              <p:cNvGrpSpPr/>
              <p:nvPr/>
            </p:nvGrpSpPr>
            <p:grpSpPr>
              <a:xfrm>
                <a:off x="2773066" y="1930399"/>
                <a:ext cx="944504" cy="809593"/>
                <a:chOff x="5696016" y="3086100"/>
                <a:chExt cx="800080" cy="685799"/>
              </a:xfrm>
              <a:grpFill/>
            </p:grpSpPr>
            <p:sp>
              <p:nvSpPr>
                <p:cNvPr id="322" name="Vrije vorm: vorm 321">
                  <a:extLst>
                    <a:ext uri="{FF2B5EF4-FFF2-40B4-BE49-F238E27FC236}">
                      <a16:creationId xmlns:a16="http://schemas.microsoft.com/office/drawing/2014/main" id="{1D312896-9900-FA7E-B0D6-AA5A3478E1D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3" name="Vrije vorm: vorm 322">
                  <a:extLst>
                    <a:ext uri="{FF2B5EF4-FFF2-40B4-BE49-F238E27FC236}">
                      <a16:creationId xmlns:a16="http://schemas.microsoft.com/office/drawing/2014/main" id="{BDAA0230-13BC-96CD-000A-6DAF762C5A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1" name="Groep 300">
                <a:extLst>
                  <a:ext uri="{FF2B5EF4-FFF2-40B4-BE49-F238E27FC236}">
                    <a16:creationId xmlns:a16="http://schemas.microsoft.com/office/drawing/2014/main" id="{EA05E308-11A7-BF69-5C63-D186774722F3}"/>
                  </a:ext>
                </a:extLst>
              </p:cNvPr>
              <p:cNvGrpSpPr/>
              <p:nvPr/>
            </p:nvGrpSpPr>
            <p:grpSpPr>
              <a:xfrm>
                <a:off x="3825401" y="1930399"/>
                <a:ext cx="944504" cy="809593"/>
                <a:chOff x="5696016" y="3086100"/>
                <a:chExt cx="800080" cy="685799"/>
              </a:xfrm>
              <a:grpFill/>
            </p:grpSpPr>
            <p:sp>
              <p:nvSpPr>
                <p:cNvPr id="320" name="Vrije vorm: vorm 319">
                  <a:extLst>
                    <a:ext uri="{FF2B5EF4-FFF2-40B4-BE49-F238E27FC236}">
                      <a16:creationId xmlns:a16="http://schemas.microsoft.com/office/drawing/2014/main" id="{BCFFE0A8-E98B-7069-325C-F6FA119D48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1" name="Vrije vorm: vorm 320">
                  <a:extLst>
                    <a:ext uri="{FF2B5EF4-FFF2-40B4-BE49-F238E27FC236}">
                      <a16:creationId xmlns:a16="http://schemas.microsoft.com/office/drawing/2014/main" id="{33E40266-7F2F-D79D-AD95-B9385406512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2" name="Groep 301">
                <a:extLst>
                  <a:ext uri="{FF2B5EF4-FFF2-40B4-BE49-F238E27FC236}">
                    <a16:creationId xmlns:a16="http://schemas.microsoft.com/office/drawing/2014/main" id="{6E6B8159-D5C6-19F3-67CA-9E4FDA709F16}"/>
                  </a:ext>
                </a:extLst>
              </p:cNvPr>
              <p:cNvGrpSpPr/>
              <p:nvPr/>
            </p:nvGrpSpPr>
            <p:grpSpPr>
              <a:xfrm>
                <a:off x="4877736" y="1930399"/>
                <a:ext cx="944504" cy="809593"/>
                <a:chOff x="5696016" y="3086100"/>
                <a:chExt cx="800080" cy="685799"/>
              </a:xfrm>
              <a:grpFill/>
            </p:grpSpPr>
            <p:sp>
              <p:nvSpPr>
                <p:cNvPr id="318" name="Vrije vorm: vorm 317">
                  <a:extLst>
                    <a:ext uri="{FF2B5EF4-FFF2-40B4-BE49-F238E27FC236}">
                      <a16:creationId xmlns:a16="http://schemas.microsoft.com/office/drawing/2014/main" id="{6C8735AF-4A93-C74D-1140-60757C89DB4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9" name="Vrije vorm: vorm 318">
                  <a:extLst>
                    <a:ext uri="{FF2B5EF4-FFF2-40B4-BE49-F238E27FC236}">
                      <a16:creationId xmlns:a16="http://schemas.microsoft.com/office/drawing/2014/main" id="{3649E7A5-6A10-DDE6-3689-7EFA77A6C40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3" name="Groep 302">
                <a:extLst>
                  <a:ext uri="{FF2B5EF4-FFF2-40B4-BE49-F238E27FC236}">
                    <a16:creationId xmlns:a16="http://schemas.microsoft.com/office/drawing/2014/main" id="{39727FF9-F1DF-4C05-1C60-74708395C389}"/>
                  </a:ext>
                </a:extLst>
              </p:cNvPr>
              <p:cNvGrpSpPr/>
              <p:nvPr/>
            </p:nvGrpSpPr>
            <p:grpSpPr>
              <a:xfrm>
                <a:off x="5930071" y="1930399"/>
                <a:ext cx="944504" cy="809593"/>
                <a:chOff x="5696016" y="3086100"/>
                <a:chExt cx="800080" cy="685799"/>
              </a:xfrm>
              <a:grpFill/>
            </p:grpSpPr>
            <p:sp>
              <p:nvSpPr>
                <p:cNvPr id="316" name="Vrije vorm: vorm 315">
                  <a:extLst>
                    <a:ext uri="{FF2B5EF4-FFF2-40B4-BE49-F238E27FC236}">
                      <a16:creationId xmlns:a16="http://schemas.microsoft.com/office/drawing/2014/main" id="{85911496-095B-8767-434E-0F67BB0D174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7" name="Vrije vorm: vorm 316">
                  <a:extLst>
                    <a:ext uri="{FF2B5EF4-FFF2-40B4-BE49-F238E27FC236}">
                      <a16:creationId xmlns:a16="http://schemas.microsoft.com/office/drawing/2014/main" id="{9A6F054C-7AB2-D288-710B-6910BE313F1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4" name="Groep 303">
                <a:extLst>
                  <a:ext uri="{FF2B5EF4-FFF2-40B4-BE49-F238E27FC236}">
                    <a16:creationId xmlns:a16="http://schemas.microsoft.com/office/drawing/2014/main" id="{A59EA28F-57F0-AF4B-AAF0-ED77BBCCE104}"/>
                  </a:ext>
                </a:extLst>
              </p:cNvPr>
              <p:cNvGrpSpPr/>
              <p:nvPr/>
            </p:nvGrpSpPr>
            <p:grpSpPr>
              <a:xfrm>
                <a:off x="6982406" y="1930399"/>
                <a:ext cx="944504" cy="809593"/>
                <a:chOff x="5696016" y="3086100"/>
                <a:chExt cx="800080" cy="685799"/>
              </a:xfrm>
              <a:grpFill/>
            </p:grpSpPr>
            <p:sp>
              <p:nvSpPr>
                <p:cNvPr id="314" name="Vrije vorm: vorm 313">
                  <a:extLst>
                    <a:ext uri="{FF2B5EF4-FFF2-40B4-BE49-F238E27FC236}">
                      <a16:creationId xmlns:a16="http://schemas.microsoft.com/office/drawing/2014/main" id="{6B01EAFB-F75D-4676-3877-510C8AF5884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5" name="Vrije vorm: vorm 314">
                  <a:extLst>
                    <a:ext uri="{FF2B5EF4-FFF2-40B4-BE49-F238E27FC236}">
                      <a16:creationId xmlns:a16="http://schemas.microsoft.com/office/drawing/2014/main" id="{25C4AF79-F92B-7D01-C04B-CF993CF34D2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5" name="Groep 304">
                <a:extLst>
                  <a:ext uri="{FF2B5EF4-FFF2-40B4-BE49-F238E27FC236}">
                    <a16:creationId xmlns:a16="http://schemas.microsoft.com/office/drawing/2014/main" id="{8FB718AC-BD1D-8EB6-D25D-172B39933E40}"/>
                  </a:ext>
                </a:extLst>
              </p:cNvPr>
              <p:cNvGrpSpPr/>
              <p:nvPr/>
            </p:nvGrpSpPr>
            <p:grpSpPr>
              <a:xfrm>
                <a:off x="8034741" y="1930399"/>
                <a:ext cx="944504" cy="809593"/>
                <a:chOff x="5696016" y="3086100"/>
                <a:chExt cx="800080" cy="685799"/>
              </a:xfrm>
              <a:grpFill/>
            </p:grpSpPr>
            <p:sp>
              <p:nvSpPr>
                <p:cNvPr id="312" name="Vrije vorm: vorm 311">
                  <a:extLst>
                    <a:ext uri="{FF2B5EF4-FFF2-40B4-BE49-F238E27FC236}">
                      <a16:creationId xmlns:a16="http://schemas.microsoft.com/office/drawing/2014/main" id="{0C69FAB5-5DEB-5ED7-B088-C90D7BBB8D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3" name="Vrije vorm: vorm 312">
                  <a:extLst>
                    <a:ext uri="{FF2B5EF4-FFF2-40B4-BE49-F238E27FC236}">
                      <a16:creationId xmlns:a16="http://schemas.microsoft.com/office/drawing/2014/main" id="{A01540B8-9D8F-B9DC-C5F4-7D6FC7A72E1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6" name="Groep 305">
                <a:extLst>
                  <a:ext uri="{FF2B5EF4-FFF2-40B4-BE49-F238E27FC236}">
                    <a16:creationId xmlns:a16="http://schemas.microsoft.com/office/drawing/2014/main" id="{5F9F29B3-3903-EF0E-D6EF-AD63C3AB52FA}"/>
                  </a:ext>
                </a:extLst>
              </p:cNvPr>
              <p:cNvGrpSpPr/>
              <p:nvPr/>
            </p:nvGrpSpPr>
            <p:grpSpPr>
              <a:xfrm>
                <a:off x="9087076" y="1930399"/>
                <a:ext cx="944504" cy="809593"/>
                <a:chOff x="5696016" y="3086100"/>
                <a:chExt cx="800080" cy="685799"/>
              </a:xfrm>
              <a:grpFill/>
            </p:grpSpPr>
            <p:sp>
              <p:nvSpPr>
                <p:cNvPr id="310" name="Vrije vorm: vorm 309">
                  <a:extLst>
                    <a:ext uri="{FF2B5EF4-FFF2-40B4-BE49-F238E27FC236}">
                      <a16:creationId xmlns:a16="http://schemas.microsoft.com/office/drawing/2014/main" id="{C3F32AD3-6946-D20D-65EA-17B3DE44D2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1" name="Vrije vorm: vorm 310">
                  <a:extLst>
                    <a:ext uri="{FF2B5EF4-FFF2-40B4-BE49-F238E27FC236}">
                      <a16:creationId xmlns:a16="http://schemas.microsoft.com/office/drawing/2014/main" id="{00BE646B-C48C-E23B-0527-239BB027157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7" name="Groep 306">
                <a:extLst>
                  <a:ext uri="{FF2B5EF4-FFF2-40B4-BE49-F238E27FC236}">
                    <a16:creationId xmlns:a16="http://schemas.microsoft.com/office/drawing/2014/main" id="{2A57C645-648F-004C-5CED-EB9F2ED12DEF}"/>
                  </a:ext>
                </a:extLst>
              </p:cNvPr>
              <p:cNvGrpSpPr/>
              <p:nvPr/>
            </p:nvGrpSpPr>
            <p:grpSpPr>
              <a:xfrm>
                <a:off x="10139413" y="1930399"/>
                <a:ext cx="944504" cy="809593"/>
                <a:chOff x="5696016" y="3086100"/>
                <a:chExt cx="800080" cy="685799"/>
              </a:xfrm>
              <a:grpFill/>
            </p:grpSpPr>
            <p:sp>
              <p:nvSpPr>
                <p:cNvPr id="308" name="Vrije vorm: vorm 307">
                  <a:extLst>
                    <a:ext uri="{FF2B5EF4-FFF2-40B4-BE49-F238E27FC236}">
                      <a16:creationId xmlns:a16="http://schemas.microsoft.com/office/drawing/2014/main" id="{34B35144-7F86-2AC8-E132-3A6104957CA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09" name="Vrije vorm: vorm 308">
                  <a:extLst>
                    <a:ext uri="{FF2B5EF4-FFF2-40B4-BE49-F238E27FC236}">
                      <a16:creationId xmlns:a16="http://schemas.microsoft.com/office/drawing/2014/main" id="{E6145C6F-BB59-4067-943D-BABB128AD06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6" name="Groep 235">
              <a:extLst>
                <a:ext uri="{FF2B5EF4-FFF2-40B4-BE49-F238E27FC236}">
                  <a16:creationId xmlns:a16="http://schemas.microsoft.com/office/drawing/2014/main" id="{DA3F464D-8076-198E-A31A-5326FEF6105D}"/>
                </a:ext>
              </a:extLst>
            </p:cNvPr>
            <p:cNvGrpSpPr/>
            <p:nvPr/>
          </p:nvGrpSpPr>
          <p:grpSpPr>
            <a:xfrm>
              <a:off x="649432" y="1690867"/>
              <a:ext cx="2409536" cy="187292"/>
              <a:chOff x="668396" y="1930399"/>
              <a:chExt cx="10415521" cy="809593"/>
            </a:xfrm>
            <a:grpFill/>
          </p:grpSpPr>
          <p:grpSp>
            <p:nvGrpSpPr>
              <p:cNvPr id="268" name="Groep 267">
                <a:extLst>
                  <a:ext uri="{FF2B5EF4-FFF2-40B4-BE49-F238E27FC236}">
                    <a16:creationId xmlns:a16="http://schemas.microsoft.com/office/drawing/2014/main" id="{AF6879D1-5720-7971-D74F-F77095D86BAD}"/>
                  </a:ext>
                </a:extLst>
              </p:cNvPr>
              <p:cNvGrpSpPr/>
              <p:nvPr/>
            </p:nvGrpSpPr>
            <p:grpSpPr>
              <a:xfrm>
                <a:off x="668396" y="1930399"/>
                <a:ext cx="944504" cy="809593"/>
                <a:chOff x="5696016" y="3086100"/>
                <a:chExt cx="800080" cy="685799"/>
              </a:xfrm>
              <a:grpFill/>
            </p:grpSpPr>
            <p:sp>
              <p:nvSpPr>
                <p:cNvPr id="296" name="Vrije vorm: vorm 295">
                  <a:extLst>
                    <a:ext uri="{FF2B5EF4-FFF2-40B4-BE49-F238E27FC236}">
                      <a16:creationId xmlns:a16="http://schemas.microsoft.com/office/drawing/2014/main" id="{C239E256-3010-6546-78C9-117D249A15A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7" name="Vrije vorm: vorm 296">
                  <a:extLst>
                    <a:ext uri="{FF2B5EF4-FFF2-40B4-BE49-F238E27FC236}">
                      <a16:creationId xmlns:a16="http://schemas.microsoft.com/office/drawing/2014/main" id="{6A12DB81-006A-78A0-100C-5145542EBE9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69" name="Groep 268">
                <a:extLst>
                  <a:ext uri="{FF2B5EF4-FFF2-40B4-BE49-F238E27FC236}">
                    <a16:creationId xmlns:a16="http://schemas.microsoft.com/office/drawing/2014/main" id="{5E00E6B1-3E26-1572-F760-BD8CDE365D83}"/>
                  </a:ext>
                </a:extLst>
              </p:cNvPr>
              <p:cNvGrpSpPr/>
              <p:nvPr/>
            </p:nvGrpSpPr>
            <p:grpSpPr>
              <a:xfrm>
                <a:off x="1720731" y="1930399"/>
                <a:ext cx="944504" cy="809593"/>
                <a:chOff x="5696016" y="3086100"/>
                <a:chExt cx="800080" cy="685799"/>
              </a:xfrm>
              <a:grpFill/>
            </p:grpSpPr>
            <p:sp>
              <p:nvSpPr>
                <p:cNvPr id="294" name="Vrije vorm: vorm 293">
                  <a:extLst>
                    <a:ext uri="{FF2B5EF4-FFF2-40B4-BE49-F238E27FC236}">
                      <a16:creationId xmlns:a16="http://schemas.microsoft.com/office/drawing/2014/main" id="{59BB4D62-1EEB-EFE0-6066-1CED105FE9F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5" name="Vrije vorm: vorm 294">
                  <a:extLst>
                    <a:ext uri="{FF2B5EF4-FFF2-40B4-BE49-F238E27FC236}">
                      <a16:creationId xmlns:a16="http://schemas.microsoft.com/office/drawing/2014/main" id="{EDBCE821-9636-3644-FEBA-BE03B50C9B3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0" name="Groep 269">
                <a:extLst>
                  <a:ext uri="{FF2B5EF4-FFF2-40B4-BE49-F238E27FC236}">
                    <a16:creationId xmlns:a16="http://schemas.microsoft.com/office/drawing/2014/main" id="{9B1F080F-2F41-80DA-10DD-9C63C24C05AA}"/>
                  </a:ext>
                </a:extLst>
              </p:cNvPr>
              <p:cNvGrpSpPr/>
              <p:nvPr/>
            </p:nvGrpSpPr>
            <p:grpSpPr>
              <a:xfrm>
                <a:off x="2773066" y="1930399"/>
                <a:ext cx="944504" cy="809593"/>
                <a:chOff x="5696016" y="3086100"/>
                <a:chExt cx="800080" cy="685799"/>
              </a:xfrm>
              <a:grpFill/>
            </p:grpSpPr>
            <p:sp>
              <p:nvSpPr>
                <p:cNvPr id="292" name="Vrije vorm: vorm 291">
                  <a:extLst>
                    <a:ext uri="{FF2B5EF4-FFF2-40B4-BE49-F238E27FC236}">
                      <a16:creationId xmlns:a16="http://schemas.microsoft.com/office/drawing/2014/main" id="{F18DFB0A-B499-8862-2772-4798C99CD76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3" name="Vrije vorm: vorm 292">
                  <a:extLst>
                    <a:ext uri="{FF2B5EF4-FFF2-40B4-BE49-F238E27FC236}">
                      <a16:creationId xmlns:a16="http://schemas.microsoft.com/office/drawing/2014/main" id="{DF0605EF-0718-64C1-921E-6E0B55F93B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1" name="Groep 270">
                <a:extLst>
                  <a:ext uri="{FF2B5EF4-FFF2-40B4-BE49-F238E27FC236}">
                    <a16:creationId xmlns:a16="http://schemas.microsoft.com/office/drawing/2014/main" id="{71FD7236-D5CE-0AEA-758B-302EA4C4CA7D}"/>
                  </a:ext>
                </a:extLst>
              </p:cNvPr>
              <p:cNvGrpSpPr/>
              <p:nvPr/>
            </p:nvGrpSpPr>
            <p:grpSpPr>
              <a:xfrm>
                <a:off x="3825401" y="1930399"/>
                <a:ext cx="944504" cy="809593"/>
                <a:chOff x="5696016" y="3086100"/>
                <a:chExt cx="800080" cy="685799"/>
              </a:xfrm>
              <a:grpFill/>
            </p:grpSpPr>
            <p:sp>
              <p:nvSpPr>
                <p:cNvPr id="290" name="Vrije vorm: vorm 289">
                  <a:extLst>
                    <a:ext uri="{FF2B5EF4-FFF2-40B4-BE49-F238E27FC236}">
                      <a16:creationId xmlns:a16="http://schemas.microsoft.com/office/drawing/2014/main" id="{4B3CD80B-3029-691B-BDDA-CEE3961A6F9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1" name="Vrije vorm: vorm 290">
                  <a:extLst>
                    <a:ext uri="{FF2B5EF4-FFF2-40B4-BE49-F238E27FC236}">
                      <a16:creationId xmlns:a16="http://schemas.microsoft.com/office/drawing/2014/main" id="{C54407D1-09E4-6CB5-FA1D-37017CABEC5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2" name="Groep 271">
                <a:extLst>
                  <a:ext uri="{FF2B5EF4-FFF2-40B4-BE49-F238E27FC236}">
                    <a16:creationId xmlns:a16="http://schemas.microsoft.com/office/drawing/2014/main" id="{A93919D0-31B9-9213-835C-25B5AB51AFDD}"/>
                  </a:ext>
                </a:extLst>
              </p:cNvPr>
              <p:cNvGrpSpPr/>
              <p:nvPr/>
            </p:nvGrpSpPr>
            <p:grpSpPr>
              <a:xfrm>
                <a:off x="4877736" y="1930399"/>
                <a:ext cx="944504" cy="809593"/>
                <a:chOff x="5696016" y="3086100"/>
                <a:chExt cx="800080" cy="685799"/>
              </a:xfrm>
              <a:grpFill/>
            </p:grpSpPr>
            <p:sp>
              <p:nvSpPr>
                <p:cNvPr id="288" name="Vrije vorm: vorm 287">
                  <a:extLst>
                    <a:ext uri="{FF2B5EF4-FFF2-40B4-BE49-F238E27FC236}">
                      <a16:creationId xmlns:a16="http://schemas.microsoft.com/office/drawing/2014/main" id="{5A3B9A75-6299-0AA5-ADD1-527C7778F3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9" name="Vrije vorm: vorm 288">
                  <a:extLst>
                    <a:ext uri="{FF2B5EF4-FFF2-40B4-BE49-F238E27FC236}">
                      <a16:creationId xmlns:a16="http://schemas.microsoft.com/office/drawing/2014/main" id="{35F14B73-3902-3155-5210-A39F685805D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3" name="Groep 272">
                <a:extLst>
                  <a:ext uri="{FF2B5EF4-FFF2-40B4-BE49-F238E27FC236}">
                    <a16:creationId xmlns:a16="http://schemas.microsoft.com/office/drawing/2014/main" id="{96014A1F-A106-0234-6C57-DC01DDA42671}"/>
                  </a:ext>
                </a:extLst>
              </p:cNvPr>
              <p:cNvGrpSpPr/>
              <p:nvPr/>
            </p:nvGrpSpPr>
            <p:grpSpPr>
              <a:xfrm>
                <a:off x="5930071" y="1930399"/>
                <a:ext cx="944504" cy="809593"/>
                <a:chOff x="5696016" y="3086100"/>
                <a:chExt cx="800080" cy="685799"/>
              </a:xfrm>
              <a:grpFill/>
            </p:grpSpPr>
            <p:sp>
              <p:nvSpPr>
                <p:cNvPr id="286" name="Vrije vorm: vorm 285">
                  <a:extLst>
                    <a:ext uri="{FF2B5EF4-FFF2-40B4-BE49-F238E27FC236}">
                      <a16:creationId xmlns:a16="http://schemas.microsoft.com/office/drawing/2014/main" id="{EE2F80F4-3DD5-7808-A062-3110AE07978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7" name="Vrije vorm: vorm 286">
                  <a:extLst>
                    <a:ext uri="{FF2B5EF4-FFF2-40B4-BE49-F238E27FC236}">
                      <a16:creationId xmlns:a16="http://schemas.microsoft.com/office/drawing/2014/main" id="{E0991E68-D9CF-0286-05FA-1E85CA7F455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4" name="Groep 273">
                <a:extLst>
                  <a:ext uri="{FF2B5EF4-FFF2-40B4-BE49-F238E27FC236}">
                    <a16:creationId xmlns:a16="http://schemas.microsoft.com/office/drawing/2014/main" id="{D484F59B-2B70-7E70-B44A-4BC9036350E5}"/>
                  </a:ext>
                </a:extLst>
              </p:cNvPr>
              <p:cNvGrpSpPr/>
              <p:nvPr/>
            </p:nvGrpSpPr>
            <p:grpSpPr>
              <a:xfrm>
                <a:off x="6982406" y="1930399"/>
                <a:ext cx="944504" cy="809593"/>
                <a:chOff x="5696016" y="3086100"/>
                <a:chExt cx="800080" cy="685799"/>
              </a:xfrm>
              <a:grpFill/>
            </p:grpSpPr>
            <p:sp>
              <p:nvSpPr>
                <p:cNvPr id="284" name="Vrije vorm: vorm 283">
                  <a:extLst>
                    <a:ext uri="{FF2B5EF4-FFF2-40B4-BE49-F238E27FC236}">
                      <a16:creationId xmlns:a16="http://schemas.microsoft.com/office/drawing/2014/main" id="{E6E15C81-271C-29B9-1361-D5F7176EBF6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5" name="Vrije vorm: vorm 284">
                  <a:extLst>
                    <a:ext uri="{FF2B5EF4-FFF2-40B4-BE49-F238E27FC236}">
                      <a16:creationId xmlns:a16="http://schemas.microsoft.com/office/drawing/2014/main" id="{09E3B23B-E009-9A4D-3E36-FD3039E610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5" name="Groep 274">
                <a:extLst>
                  <a:ext uri="{FF2B5EF4-FFF2-40B4-BE49-F238E27FC236}">
                    <a16:creationId xmlns:a16="http://schemas.microsoft.com/office/drawing/2014/main" id="{48A24DA5-2A52-AFBC-A615-DC22DA987B51}"/>
                  </a:ext>
                </a:extLst>
              </p:cNvPr>
              <p:cNvGrpSpPr/>
              <p:nvPr/>
            </p:nvGrpSpPr>
            <p:grpSpPr>
              <a:xfrm>
                <a:off x="8034741" y="1930399"/>
                <a:ext cx="944504" cy="809593"/>
                <a:chOff x="5696016" y="3086100"/>
                <a:chExt cx="800080" cy="685799"/>
              </a:xfrm>
              <a:grpFill/>
            </p:grpSpPr>
            <p:sp>
              <p:nvSpPr>
                <p:cNvPr id="282" name="Vrije vorm: vorm 281">
                  <a:extLst>
                    <a:ext uri="{FF2B5EF4-FFF2-40B4-BE49-F238E27FC236}">
                      <a16:creationId xmlns:a16="http://schemas.microsoft.com/office/drawing/2014/main" id="{BE3F1C23-0135-7C73-8741-36AA22B8FD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3" name="Vrije vorm: vorm 282">
                  <a:extLst>
                    <a:ext uri="{FF2B5EF4-FFF2-40B4-BE49-F238E27FC236}">
                      <a16:creationId xmlns:a16="http://schemas.microsoft.com/office/drawing/2014/main" id="{A4337A3D-BFE9-9B7B-C9B4-D9452B10710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6" name="Groep 275">
                <a:extLst>
                  <a:ext uri="{FF2B5EF4-FFF2-40B4-BE49-F238E27FC236}">
                    <a16:creationId xmlns:a16="http://schemas.microsoft.com/office/drawing/2014/main" id="{E975ECD5-4D00-EE78-E5B8-36C7E45456D8}"/>
                  </a:ext>
                </a:extLst>
              </p:cNvPr>
              <p:cNvGrpSpPr/>
              <p:nvPr/>
            </p:nvGrpSpPr>
            <p:grpSpPr>
              <a:xfrm>
                <a:off x="9087076" y="1930399"/>
                <a:ext cx="944504" cy="809593"/>
                <a:chOff x="5696016" y="3086100"/>
                <a:chExt cx="800080" cy="685799"/>
              </a:xfrm>
              <a:grpFill/>
            </p:grpSpPr>
            <p:sp>
              <p:nvSpPr>
                <p:cNvPr id="280" name="Vrije vorm: vorm 279">
                  <a:extLst>
                    <a:ext uri="{FF2B5EF4-FFF2-40B4-BE49-F238E27FC236}">
                      <a16:creationId xmlns:a16="http://schemas.microsoft.com/office/drawing/2014/main" id="{632FBC2A-BB96-5030-699D-E327BB2945A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1" name="Vrije vorm: vorm 280">
                  <a:extLst>
                    <a:ext uri="{FF2B5EF4-FFF2-40B4-BE49-F238E27FC236}">
                      <a16:creationId xmlns:a16="http://schemas.microsoft.com/office/drawing/2014/main" id="{E2292685-6E76-4454-C8E8-7B2C66C85F5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7" name="Groep 276">
                <a:extLst>
                  <a:ext uri="{FF2B5EF4-FFF2-40B4-BE49-F238E27FC236}">
                    <a16:creationId xmlns:a16="http://schemas.microsoft.com/office/drawing/2014/main" id="{12EE76C9-5029-598E-019D-96BE172DA117}"/>
                  </a:ext>
                </a:extLst>
              </p:cNvPr>
              <p:cNvGrpSpPr/>
              <p:nvPr/>
            </p:nvGrpSpPr>
            <p:grpSpPr>
              <a:xfrm>
                <a:off x="10139413" y="1930399"/>
                <a:ext cx="944504" cy="809593"/>
                <a:chOff x="5696016" y="3086100"/>
                <a:chExt cx="800080" cy="685799"/>
              </a:xfrm>
              <a:grpFill/>
            </p:grpSpPr>
            <p:sp>
              <p:nvSpPr>
                <p:cNvPr id="278" name="Vrije vorm: vorm 277">
                  <a:extLst>
                    <a:ext uri="{FF2B5EF4-FFF2-40B4-BE49-F238E27FC236}">
                      <a16:creationId xmlns:a16="http://schemas.microsoft.com/office/drawing/2014/main" id="{36029C92-0598-7B04-B54F-CA0F30EDEA2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79" name="Vrije vorm: vorm 278">
                  <a:extLst>
                    <a:ext uri="{FF2B5EF4-FFF2-40B4-BE49-F238E27FC236}">
                      <a16:creationId xmlns:a16="http://schemas.microsoft.com/office/drawing/2014/main" id="{47111FC5-C79B-3D39-36DD-1DDBCC7126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7" name="Groep 236">
              <a:extLst>
                <a:ext uri="{FF2B5EF4-FFF2-40B4-BE49-F238E27FC236}">
                  <a16:creationId xmlns:a16="http://schemas.microsoft.com/office/drawing/2014/main" id="{CD2D6948-615A-E1C4-757A-2EE2E30FA1ED}"/>
                </a:ext>
              </a:extLst>
            </p:cNvPr>
            <p:cNvGrpSpPr/>
            <p:nvPr/>
          </p:nvGrpSpPr>
          <p:grpSpPr>
            <a:xfrm>
              <a:off x="649432" y="1924901"/>
              <a:ext cx="2409536" cy="187292"/>
              <a:chOff x="668396" y="1930399"/>
              <a:chExt cx="10415521" cy="809593"/>
            </a:xfrm>
            <a:grpFill/>
          </p:grpSpPr>
          <p:grpSp>
            <p:nvGrpSpPr>
              <p:cNvPr id="238" name="Groep 237">
                <a:extLst>
                  <a:ext uri="{FF2B5EF4-FFF2-40B4-BE49-F238E27FC236}">
                    <a16:creationId xmlns:a16="http://schemas.microsoft.com/office/drawing/2014/main" id="{C061AEAA-C320-FC6E-5C4E-7D025B577A98}"/>
                  </a:ext>
                </a:extLst>
              </p:cNvPr>
              <p:cNvGrpSpPr/>
              <p:nvPr/>
            </p:nvGrpSpPr>
            <p:grpSpPr>
              <a:xfrm>
                <a:off x="668396" y="1930399"/>
                <a:ext cx="944504" cy="809593"/>
                <a:chOff x="5696016" y="3086100"/>
                <a:chExt cx="800080" cy="685799"/>
              </a:xfrm>
              <a:grpFill/>
            </p:grpSpPr>
            <p:sp>
              <p:nvSpPr>
                <p:cNvPr id="266" name="Vrije vorm: vorm 265">
                  <a:extLst>
                    <a:ext uri="{FF2B5EF4-FFF2-40B4-BE49-F238E27FC236}">
                      <a16:creationId xmlns:a16="http://schemas.microsoft.com/office/drawing/2014/main" id="{9940D6DA-F95B-CEC4-0B58-1ED33630D9C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7" name="Vrije vorm: vorm 266">
                  <a:extLst>
                    <a:ext uri="{FF2B5EF4-FFF2-40B4-BE49-F238E27FC236}">
                      <a16:creationId xmlns:a16="http://schemas.microsoft.com/office/drawing/2014/main" id="{91F791F2-C42C-62AB-CFE7-675AC8E532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 name="Groep 238">
                <a:extLst>
                  <a:ext uri="{FF2B5EF4-FFF2-40B4-BE49-F238E27FC236}">
                    <a16:creationId xmlns:a16="http://schemas.microsoft.com/office/drawing/2014/main" id="{A4112CA1-8366-0BE3-8BB4-CEC7720D4128}"/>
                  </a:ext>
                </a:extLst>
              </p:cNvPr>
              <p:cNvGrpSpPr/>
              <p:nvPr/>
            </p:nvGrpSpPr>
            <p:grpSpPr>
              <a:xfrm>
                <a:off x="1720731" y="1930399"/>
                <a:ext cx="944504" cy="809593"/>
                <a:chOff x="5696016" y="3086100"/>
                <a:chExt cx="800080" cy="685799"/>
              </a:xfrm>
              <a:grpFill/>
            </p:grpSpPr>
            <p:sp>
              <p:nvSpPr>
                <p:cNvPr id="264" name="Vrije vorm: vorm 263">
                  <a:extLst>
                    <a:ext uri="{FF2B5EF4-FFF2-40B4-BE49-F238E27FC236}">
                      <a16:creationId xmlns:a16="http://schemas.microsoft.com/office/drawing/2014/main" id="{0B9CA7E4-4304-3FAD-C923-3CFB038BFDC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5" name="Vrije vorm: vorm 264">
                  <a:extLst>
                    <a:ext uri="{FF2B5EF4-FFF2-40B4-BE49-F238E27FC236}">
                      <a16:creationId xmlns:a16="http://schemas.microsoft.com/office/drawing/2014/main" id="{CD6C444F-8D73-C685-7F36-DCF56FA8ACB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 name="Groep 239">
                <a:extLst>
                  <a:ext uri="{FF2B5EF4-FFF2-40B4-BE49-F238E27FC236}">
                    <a16:creationId xmlns:a16="http://schemas.microsoft.com/office/drawing/2014/main" id="{5CF0E51B-DA80-0D1C-5DA5-32B07516FBDC}"/>
                  </a:ext>
                </a:extLst>
              </p:cNvPr>
              <p:cNvGrpSpPr/>
              <p:nvPr/>
            </p:nvGrpSpPr>
            <p:grpSpPr>
              <a:xfrm>
                <a:off x="2773066" y="1930399"/>
                <a:ext cx="944504" cy="809593"/>
                <a:chOff x="5696016" y="3086100"/>
                <a:chExt cx="800080" cy="685799"/>
              </a:xfrm>
              <a:grpFill/>
            </p:grpSpPr>
            <p:sp>
              <p:nvSpPr>
                <p:cNvPr id="262" name="Vrije vorm: vorm 261">
                  <a:extLst>
                    <a:ext uri="{FF2B5EF4-FFF2-40B4-BE49-F238E27FC236}">
                      <a16:creationId xmlns:a16="http://schemas.microsoft.com/office/drawing/2014/main" id="{08CE64FD-BCF1-FD8B-9D51-5138DFB44F9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3" name="Vrije vorm: vorm 262">
                  <a:extLst>
                    <a:ext uri="{FF2B5EF4-FFF2-40B4-BE49-F238E27FC236}">
                      <a16:creationId xmlns:a16="http://schemas.microsoft.com/office/drawing/2014/main" id="{B5D63B93-4BD9-04E9-0A9E-7DFF2200F44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 name="Groep 240">
                <a:extLst>
                  <a:ext uri="{FF2B5EF4-FFF2-40B4-BE49-F238E27FC236}">
                    <a16:creationId xmlns:a16="http://schemas.microsoft.com/office/drawing/2014/main" id="{59FEFCB3-075A-57E9-BC02-3D65817653E7}"/>
                  </a:ext>
                </a:extLst>
              </p:cNvPr>
              <p:cNvGrpSpPr/>
              <p:nvPr/>
            </p:nvGrpSpPr>
            <p:grpSpPr>
              <a:xfrm>
                <a:off x="3825401" y="1930399"/>
                <a:ext cx="944504" cy="809593"/>
                <a:chOff x="5696016" y="3086100"/>
                <a:chExt cx="800080" cy="685799"/>
              </a:xfrm>
              <a:grpFill/>
            </p:grpSpPr>
            <p:sp>
              <p:nvSpPr>
                <p:cNvPr id="260" name="Vrije vorm: vorm 259">
                  <a:extLst>
                    <a:ext uri="{FF2B5EF4-FFF2-40B4-BE49-F238E27FC236}">
                      <a16:creationId xmlns:a16="http://schemas.microsoft.com/office/drawing/2014/main" id="{C0DC898C-B77E-0BA1-DC89-19E72D26903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1" name="Vrije vorm: vorm 260">
                  <a:extLst>
                    <a:ext uri="{FF2B5EF4-FFF2-40B4-BE49-F238E27FC236}">
                      <a16:creationId xmlns:a16="http://schemas.microsoft.com/office/drawing/2014/main" id="{E43F3E45-A82E-229D-C168-839B4069F84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2" name="Groep 241">
                <a:extLst>
                  <a:ext uri="{FF2B5EF4-FFF2-40B4-BE49-F238E27FC236}">
                    <a16:creationId xmlns:a16="http://schemas.microsoft.com/office/drawing/2014/main" id="{7DB50952-3F98-300A-EFD5-037C01D90599}"/>
                  </a:ext>
                </a:extLst>
              </p:cNvPr>
              <p:cNvGrpSpPr/>
              <p:nvPr/>
            </p:nvGrpSpPr>
            <p:grpSpPr>
              <a:xfrm>
                <a:off x="4877736" y="1930399"/>
                <a:ext cx="944504" cy="809593"/>
                <a:chOff x="5696016" y="3086100"/>
                <a:chExt cx="800080" cy="685799"/>
              </a:xfrm>
              <a:grpFill/>
            </p:grpSpPr>
            <p:sp>
              <p:nvSpPr>
                <p:cNvPr id="258" name="Vrije vorm: vorm 257">
                  <a:extLst>
                    <a:ext uri="{FF2B5EF4-FFF2-40B4-BE49-F238E27FC236}">
                      <a16:creationId xmlns:a16="http://schemas.microsoft.com/office/drawing/2014/main" id="{F50D063B-DB74-7B98-CC70-CD998344169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9" name="Vrije vorm: vorm 258">
                  <a:extLst>
                    <a:ext uri="{FF2B5EF4-FFF2-40B4-BE49-F238E27FC236}">
                      <a16:creationId xmlns:a16="http://schemas.microsoft.com/office/drawing/2014/main" id="{DDDE48E4-DD95-2147-1F2D-CEEAAA0B5C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3" name="Groep 242">
                <a:extLst>
                  <a:ext uri="{FF2B5EF4-FFF2-40B4-BE49-F238E27FC236}">
                    <a16:creationId xmlns:a16="http://schemas.microsoft.com/office/drawing/2014/main" id="{A5306834-3429-91EA-2C6F-9FD9F13F4ABB}"/>
                  </a:ext>
                </a:extLst>
              </p:cNvPr>
              <p:cNvGrpSpPr/>
              <p:nvPr/>
            </p:nvGrpSpPr>
            <p:grpSpPr>
              <a:xfrm>
                <a:off x="5930071" y="1930399"/>
                <a:ext cx="944504" cy="809593"/>
                <a:chOff x="5696016" y="3086100"/>
                <a:chExt cx="800080" cy="685799"/>
              </a:xfrm>
              <a:grpFill/>
            </p:grpSpPr>
            <p:sp>
              <p:nvSpPr>
                <p:cNvPr id="256" name="Vrije vorm: vorm 255">
                  <a:extLst>
                    <a:ext uri="{FF2B5EF4-FFF2-40B4-BE49-F238E27FC236}">
                      <a16:creationId xmlns:a16="http://schemas.microsoft.com/office/drawing/2014/main" id="{4C7637DF-E2F3-B453-CC7F-FD65E689A9F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7" name="Vrije vorm: vorm 256">
                  <a:extLst>
                    <a:ext uri="{FF2B5EF4-FFF2-40B4-BE49-F238E27FC236}">
                      <a16:creationId xmlns:a16="http://schemas.microsoft.com/office/drawing/2014/main" id="{3090104F-6701-9022-1C2C-731B7D4EE77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4" name="Groep 243">
                <a:extLst>
                  <a:ext uri="{FF2B5EF4-FFF2-40B4-BE49-F238E27FC236}">
                    <a16:creationId xmlns:a16="http://schemas.microsoft.com/office/drawing/2014/main" id="{9890105B-3EF3-3EB5-8700-670C1417D4AD}"/>
                  </a:ext>
                </a:extLst>
              </p:cNvPr>
              <p:cNvGrpSpPr/>
              <p:nvPr/>
            </p:nvGrpSpPr>
            <p:grpSpPr>
              <a:xfrm>
                <a:off x="6982406" y="1930399"/>
                <a:ext cx="944504" cy="809593"/>
                <a:chOff x="5696016" y="3086100"/>
                <a:chExt cx="800080" cy="685799"/>
              </a:xfrm>
              <a:grpFill/>
            </p:grpSpPr>
            <p:sp>
              <p:nvSpPr>
                <p:cNvPr id="254" name="Vrije vorm: vorm 253">
                  <a:extLst>
                    <a:ext uri="{FF2B5EF4-FFF2-40B4-BE49-F238E27FC236}">
                      <a16:creationId xmlns:a16="http://schemas.microsoft.com/office/drawing/2014/main" id="{708E7C0C-AE95-147D-906A-C35CFB814F6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5" name="Vrije vorm: vorm 254">
                  <a:extLst>
                    <a:ext uri="{FF2B5EF4-FFF2-40B4-BE49-F238E27FC236}">
                      <a16:creationId xmlns:a16="http://schemas.microsoft.com/office/drawing/2014/main" id="{3AC70ED1-2311-676D-1236-4F8A03F0E8F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5" name="Groep 244">
                <a:extLst>
                  <a:ext uri="{FF2B5EF4-FFF2-40B4-BE49-F238E27FC236}">
                    <a16:creationId xmlns:a16="http://schemas.microsoft.com/office/drawing/2014/main" id="{FAFAEC71-1DFA-9120-06ED-1F0A92146DD1}"/>
                  </a:ext>
                </a:extLst>
              </p:cNvPr>
              <p:cNvGrpSpPr/>
              <p:nvPr/>
            </p:nvGrpSpPr>
            <p:grpSpPr>
              <a:xfrm>
                <a:off x="8034741" y="1930399"/>
                <a:ext cx="944504" cy="809593"/>
                <a:chOff x="5696016" y="3086100"/>
                <a:chExt cx="800080" cy="685799"/>
              </a:xfrm>
              <a:grpFill/>
            </p:grpSpPr>
            <p:sp>
              <p:nvSpPr>
                <p:cNvPr id="252" name="Vrije vorm: vorm 251">
                  <a:extLst>
                    <a:ext uri="{FF2B5EF4-FFF2-40B4-BE49-F238E27FC236}">
                      <a16:creationId xmlns:a16="http://schemas.microsoft.com/office/drawing/2014/main" id="{1E301233-2F0A-CB7C-E01B-A487385189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3" name="Vrije vorm: vorm 252">
                  <a:extLst>
                    <a:ext uri="{FF2B5EF4-FFF2-40B4-BE49-F238E27FC236}">
                      <a16:creationId xmlns:a16="http://schemas.microsoft.com/office/drawing/2014/main" id="{66F8D390-E18F-D531-E386-5AD17DF63F3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6" name="Groep 245">
                <a:extLst>
                  <a:ext uri="{FF2B5EF4-FFF2-40B4-BE49-F238E27FC236}">
                    <a16:creationId xmlns:a16="http://schemas.microsoft.com/office/drawing/2014/main" id="{61BD6EBB-A753-5C6D-7CCB-93B960B2818F}"/>
                  </a:ext>
                </a:extLst>
              </p:cNvPr>
              <p:cNvGrpSpPr/>
              <p:nvPr/>
            </p:nvGrpSpPr>
            <p:grpSpPr>
              <a:xfrm>
                <a:off x="9087076" y="1930399"/>
                <a:ext cx="944504" cy="809593"/>
                <a:chOff x="5696016" y="3086100"/>
                <a:chExt cx="800080" cy="685799"/>
              </a:xfrm>
              <a:grpFill/>
            </p:grpSpPr>
            <p:sp>
              <p:nvSpPr>
                <p:cNvPr id="250" name="Vrije vorm: vorm 249">
                  <a:extLst>
                    <a:ext uri="{FF2B5EF4-FFF2-40B4-BE49-F238E27FC236}">
                      <a16:creationId xmlns:a16="http://schemas.microsoft.com/office/drawing/2014/main" id="{51B4B0F3-10A2-5FA0-014B-82D2D767EEB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1" name="Vrije vorm: vorm 250">
                  <a:extLst>
                    <a:ext uri="{FF2B5EF4-FFF2-40B4-BE49-F238E27FC236}">
                      <a16:creationId xmlns:a16="http://schemas.microsoft.com/office/drawing/2014/main" id="{25525A92-F9CD-78D0-EA0C-201DB8BA758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7" name="Groep 246">
                <a:extLst>
                  <a:ext uri="{FF2B5EF4-FFF2-40B4-BE49-F238E27FC236}">
                    <a16:creationId xmlns:a16="http://schemas.microsoft.com/office/drawing/2014/main" id="{F0190366-2AD4-4A4B-E07E-2F78100538C7}"/>
                  </a:ext>
                </a:extLst>
              </p:cNvPr>
              <p:cNvGrpSpPr/>
              <p:nvPr/>
            </p:nvGrpSpPr>
            <p:grpSpPr>
              <a:xfrm>
                <a:off x="10139413" y="1930399"/>
                <a:ext cx="944504" cy="809593"/>
                <a:chOff x="5696016" y="3086100"/>
                <a:chExt cx="800080" cy="685799"/>
              </a:xfrm>
              <a:grpFill/>
            </p:grpSpPr>
            <p:sp>
              <p:nvSpPr>
                <p:cNvPr id="248" name="Vrije vorm: vorm 247">
                  <a:extLst>
                    <a:ext uri="{FF2B5EF4-FFF2-40B4-BE49-F238E27FC236}">
                      <a16:creationId xmlns:a16="http://schemas.microsoft.com/office/drawing/2014/main" id="{B13A20A2-2339-9D08-E31D-97EB927362D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 name="Vrije vorm: vorm 248">
                  <a:extLst>
                    <a:ext uri="{FF2B5EF4-FFF2-40B4-BE49-F238E27FC236}">
                      <a16:creationId xmlns:a16="http://schemas.microsoft.com/office/drawing/2014/main" id="{B419C181-2320-754E-5202-3369A0506C9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448" name="Groep 447">
            <a:extLst>
              <a:ext uri="{FF2B5EF4-FFF2-40B4-BE49-F238E27FC236}">
                <a16:creationId xmlns:a16="http://schemas.microsoft.com/office/drawing/2014/main" id="{8244796A-5729-4C1F-F164-C98F08C3A242}"/>
              </a:ext>
            </a:extLst>
          </p:cNvPr>
          <p:cNvGrpSpPr/>
          <p:nvPr/>
        </p:nvGrpSpPr>
        <p:grpSpPr>
          <a:xfrm>
            <a:off x="5912410" y="2044547"/>
            <a:ext cx="2590164" cy="1710798"/>
            <a:chOff x="649432" y="520700"/>
            <a:chExt cx="2409536" cy="1591493"/>
          </a:xfrm>
          <a:solidFill>
            <a:schemeClr val="accent2"/>
          </a:solidFill>
        </p:grpSpPr>
        <p:grpSp>
          <p:nvGrpSpPr>
            <p:cNvPr id="449" name="Groep 448">
              <a:extLst>
                <a:ext uri="{FF2B5EF4-FFF2-40B4-BE49-F238E27FC236}">
                  <a16:creationId xmlns:a16="http://schemas.microsoft.com/office/drawing/2014/main" id="{6EC6561D-5EC6-9840-BF93-F5E93F1B392E}"/>
                </a:ext>
              </a:extLst>
            </p:cNvPr>
            <p:cNvGrpSpPr/>
            <p:nvPr/>
          </p:nvGrpSpPr>
          <p:grpSpPr>
            <a:xfrm>
              <a:off x="649432" y="520700"/>
              <a:ext cx="2409536" cy="187292"/>
              <a:chOff x="668396" y="1930399"/>
              <a:chExt cx="10415521" cy="809593"/>
            </a:xfrm>
            <a:grpFill/>
          </p:grpSpPr>
          <p:grpSp>
            <p:nvGrpSpPr>
              <p:cNvPr id="636" name="Groep 635">
                <a:extLst>
                  <a:ext uri="{FF2B5EF4-FFF2-40B4-BE49-F238E27FC236}">
                    <a16:creationId xmlns:a16="http://schemas.microsoft.com/office/drawing/2014/main" id="{410EB943-152E-D727-B953-0D9ED959D491}"/>
                  </a:ext>
                </a:extLst>
              </p:cNvPr>
              <p:cNvGrpSpPr/>
              <p:nvPr/>
            </p:nvGrpSpPr>
            <p:grpSpPr>
              <a:xfrm>
                <a:off x="668396" y="1930399"/>
                <a:ext cx="944504" cy="809593"/>
                <a:chOff x="5696016" y="3086100"/>
                <a:chExt cx="800080" cy="685799"/>
              </a:xfrm>
              <a:grpFill/>
            </p:grpSpPr>
            <p:sp>
              <p:nvSpPr>
                <p:cNvPr id="664" name="Vrije vorm: vorm 663">
                  <a:extLst>
                    <a:ext uri="{FF2B5EF4-FFF2-40B4-BE49-F238E27FC236}">
                      <a16:creationId xmlns:a16="http://schemas.microsoft.com/office/drawing/2014/main" id="{37B68461-4DDE-471C-D608-A575A121691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65" name="Vrije vorm: vorm 664">
                  <a:extLst>
                    <a:ext uri="{FF2B5EF4-FFF2-40B4-BE49-F238E27FC236}">
                      <a16:creationId xmlns:a16="http://schemas.microsoft.com/office/drawing/2014/main" id="{BBF39504-8ABB-A2FE-FC2B-EF378DD39B8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37" name="Groep 636">
                <a:extLst>
                  <a:ext uri="{FF2B5EF4-FFF2-40B4-BE49-F238E27FC236}">
                    <a16:creationId xmlns:a16="http://schemas.microsoft.com/office/drawing/2014/main" id="{CEFD02ED-90C0-240C-5CBC-8DB1F45B5F36}"/>
                  </a:ext>
                </a:extLst>
              </p:cNvPr>
              <p:cNvGrpSpPr/>
              <p:nvPr/>
            </p:nvGrpSpPr>
            <p:grpSpPr>
              <a:xfrm>
                <a:off x="1720731" y="1930399"/>
                <a:ext cx="944504" cy="809593"/>
                <a:chOff x="5696016" y="3086100"/>
                <a:chExt cx="800080" cy="685799"/>
              </a:xfrm>
              <a:grpFill/>
            </p:grpSpPr>
            <p:sp>
              <p:nvSpPr>
                <p:cNvPr id="662" name="Vrije vorm: vorm 661">
                  <a:extLst>
                    <a:ext uri="{FF2B5EF4-FFF2-40B4-BE49-F238E27FC236}">
                      <a16:creationId xmlns:a16="http://schemas.microsoft.com/office/drawing/2014/main" id="{80CF4A96-FBBB-5612-BFF0-9087DAC7C3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63" name="Vrije vorm: vorm 662">
                  <a:extLst>
                    <a:ext uri="{FF2B5EF4-FFF2-40B4-BE49-F238E27FC236}">
                      <a16:creationId xmlns:a16="http://schemas.microsoft.com/office/drawing/2014/main" id="{C720C63F-BDD5-9B75-EBCB-B981D5F9D38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38" name="Groep 637">
                <a:extLst>
                  <a:ext uri="{FF2B5EF4-FFF2-40B4-BE49-F238E27FC236}">
                    <a16:creationId xmlns:a16="http://schemas.microsoft.com/office/drawing/2014/main" id="{BC474610-FB42-7206-47D6-D0036C4DE30D}"/>
                  </a:ext>
                </a:extLst>
              </p:cNvPr>
              <p:cNvGrpSpPr/>
              <p:nvPr/>
            </p:nvGrpSpPr>
            <p:grpSpPr>
              <a:xfrm>
                <a:off x="2773066" y="1930399"/>
                <a:ext cx="944504" cy="809593"/>
                <a:chOff x="5696016" y="3086100"/>
                <a:chExt cx="800080" cy="685799"/>
              </a:xfrm>
              <a:grpFill/>
            </p:grpSpPr>
            <p:sp>
              <p:nvSpPr>
                <p:cNvPr id="660" name="Vrije vorm: vorm 659">
                  <a:extLst>
                    <a:ext uri="{FF2B5EF4-FFF2-40B4-BE49-F238E27FC236}">
                      <a16:creationId xmlns:a16="http://schemas.microsoft.com/office/drawing/2014/main" id="{CFCB822D-EDB9-9BBA-60BE-24C1DBB0DA0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61" name="Vrije vorm: vorm 660">
                  <a:extLst>
                    <a:ext uri="{FF2B5EF4-FFF2-40B4-BE49-F238E27FC236}">
                      <a16:creationId xmlns:a16="http://schemas.microsoft.com/office/drawing/2014/main" id="{244C2A1D-ED26-8AE8-B2B4-7F0F4C90BB9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39" name="Groep 638">
                <a:extLst>
                  <a:ext uri="{FF2B5EF4-FFF2-40B4-BE49-F238E27FC236}">
                    <a16:creationId xmlns:a16="http://schemas.microsoft.com/office/drawing/2014/main" id="{3043EE84-BDCE-099F-B150-FEE8D0E39A2E}"/>
                  </a:ext>
                </a:extLst>
              </p:cNvPr>
              <p:cNvGrpSpPr/>
              <p:nvPr/>
            </p:nvGrpSpPr>
            <p:grpSpPr>
              <a:xfrm>
                <a:off x="3825401" y="1930399"/>
                <a:ext cx="944504" cy="809593"/>
                <a:chOff x="5696016" y="3086100"/>
                <a:chExt cx="800080" cy="685799"/>
              </a:xfrm>
              <a:grpFill/>
            </p:grpSpPr>
            <p:sp>
              <p:nvSpPr>
                <p:cNvPr id="658" name="Vrije vorm: vorm 657">
                  <a:extLst>
                    <a:ext uri="{FF2B5EF4-FFF2-40B4-BE49-F238E27FC236}">
                      <a16:creationId xmlns:a16="http://schemas.microsoft.com/office/drawing/2014/main" id="{1D3943BF-8D8F-71A4-7D24-AC59F463A01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9" name="Vrije vorm: vorm 658">
                  <a:extLst>
                    <a:ext uri="{FF2B5EF4-FFF2-40B4-BE49-F238E27FC236}">
                      <a16:creationId xmlns:a16="http://schemas.microsoft.com/office/drawing/2014/main" id="{B8DC4F23-8FE5-7E6D-31DF-89A4EEAB8B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0" name="Groep 639">
                <a:extLst>
                  <a:ext uri="{FF2B5EF4-FFF2-40B4-BE49-F238E27FC236}">
                    <a16:creationId xmlns:a16="http://schemas.microsoft.com/office/drawing/2014/main" id="{C8A288E9-D564-6E1B-517A-713F4EC99C64}"/>
                  </a:ext>
                </a:extLst>
              </p:cNvPr>
              <p:cNvGrpSpPr/>
              <p:nvPr/>
            </p:nvGrpSpPr>
            <p:grpSpPr>
              <a:xfrm>
                <a:off x="4877736" y="1930399"/>
                <a:ext cx="944504" cy="809593"/>
                <a:chOff x="5696016" y="3086100"/>
                <a:chExt cx="800080" cy="685799"/>
              </a:xfrm>
              <a:grpFill/>
            </p:grpSpPr>
            <p:sp>
              <p:nvSpPr>
                <p:cNvPr id="656" name="Vrije vorm: vorm 655">
                  <a:extLst>
                    <a:ext uri="{FF2B5EF4-FFF2-40B4-BE49-F238E27FC236}">
                      <a16:creationId xmlns:a16="http://schemas.microsoft.com/office/drawing/2014/main" id="{0C2A4186-D411-5B34-BC0A-CF0E954DD2D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7" name="Vrije vorm: vorm 656">
                  <a:extLst>
                    <a:ext uri="{FF2B5EF4-FFF2-40B4-BE49-F238E27FC236}">
                      <a16:creationId xmlns:a16="http://schemas.microsoft.com/office/drawing/2014/main" id="{AD9F2548-A2BD-E271-8555-B966920690D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1" name="Groep 640">
                <a:extLst>
                  <a:ext uri="{FF2B5EF4-FFF2-40B4-BE49-F238E27FC236}">
                    <a16:creationId xmlns:a16="http://schemas.microsoft.com/office/drawing/2014/main" id="{7B42275D-8AB8-6705-58D3-1DE89058964E}"/>
                  </a:ext>
                </a:extLst>
              </p:cNvPr>
              <p:cNvGrpSpPr/>
              <p:nvPr/>
            </p:nvGrpSpPr>
            <p:grpSpPr>
              <a:xfrm>
                <a:off x="5930071" y="1930399"/>
                <a:ext cx="944504" cy="809593"/>
                <a:chOff x="5696016" y="3086100"/>
                <a:chExt cx="800080" cy="685799"/>
              </a:xfrm>
              <a:grpFill/>
            </p:grpSpPr>
            <p:sp>
              <p:nvSpPr>
                <p:cNvPr id="654" name="Vrije vorm: vorm 653">
                  <a:extLst>
                    <a:ext uri="{FF2B5EF4-FFF2-40B4-BE49-F238E27FC236}">
                      <a16:creationId xmlns:a16="http://schemas.microsoft.com/office/drawing/2014/main" id="{A9CE8C47-A9D1-1456-42DA-3FC62A663BE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5" name="Vrije vorm: vorm 654">
                  <a:extLst>
                    <a:ext uri="{FF2B5EF4-FFF2-40B4-BE49-F238E27FC236}">
                      <a16:creationId xmlns:a16="http://schemas.microsoft.com/office/drawing/2014/main" id="{F88E7648-DF94-CAE9-3367-8BFD9A66472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2" name="Groep 641">
                <a:extLst>
                  <a:ext uri="{FF2B5EF4-FFF2-40B4-BE49-F238E27FC236}">
                    <a16:creationId xmlns:a16="http://schemas.microsoft.com/office/drawing/2014/main" id="{D88B99A2-7F26-0D15-B9AF-DF364FD921CC}"/>
                  </a:ext>
                </a:extLst>
              </p:cNvPr>
              <p:cNvGrpSpPr/>
              <p:nvPr/>
            </p:nvGrpSpPr>
            <p:grpSpPr>
              <a:xfrm>
                <a:off x="6982406" y="1930399"/>
                <a:ext cx="944504" cy="809593"/>
                <a:chOff x="5696016" y="3086100"/>
                <a:chExt cx="800080" cy="685799"/>
              </a:xfrm>
              <a:grpFill/>
            </p:grpSpPr>
            <p:sp>
              <p:nvSpPr>
                <p:cNvPr id="652" name="Vrije vorm: vorm 651">
                  <a:extLst>
                    <a:ext uri="{FF2B5EF4-FFF2-40B4-BE49-F238E27FC236}">
                      <a16:creationId xmlns:a16="http://schemas.microsoft.com/office/drawing/2014/main" id="{FF078DD0-B516-9C52-51A2-D28181E84AD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3" name="Vrije vorm: vorm 652">
                  <a:extLst>
                    <a:ext uri="{FF2B5EF4-FFF2-40B4-BE49-F238E27FC236}">
                      <a16:creationId xmlns:a16="http://schemas.microsoft.com/office/drawing/2014/main" id="{B8F77D97-B903-BC9B-3387-36BF75DAA4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3" name="Groep 642">
                <a:extLst>
                  <a:ext uri="{FF2B5EF4-FFF2-40B4-BE49-F238E27FC236}">
                    <a16:creationId xmlns:a16="http://schemas.microsoft.com/office/drawing/2014/main" id="{95466DAA-3E24-920F-E023-6271D69E9B5D}"/>
                  </a:ext>
                </a:extLst>
              </p:cNvPr>
              <p:cNvGrpSpPr/>
              <p:nvPr/>
            </p:nvGrpSpPr>
            <p:grpSpPr>
              <a:xfrm>
                <a:off x="8034741" y="1930399"/>
                <a:ext cx="944504" cy="809593"/>
                <a:chOff x="5696016" y="3086100"/>
                <a:chExt cx="800080" cy="685799"/>
              </a:xfrm>
              <a:grpFill/>
            </p:grpSpPr>
            <p:sp>
              <p:nvSpPr>
                <p:cNvPr id="650" name="Vrije vorm: vorm 649">
                  <a:extLst>
                    <a:ext uri="{FF2B5EF4-FFF2-40B4-BE49-F238E27FC236}">
                      <a16:creationId xmlns:a16="http://schemas.microsoft.com/office/drawing/2014/main" id="{2C91E2D1-EA31-11A0-2056-28392F67F2D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1" name="Vrije vorm: vorm 650">
                  <a:extLst>
                    <a:ext uri="{FF2B5EF4-FFF2-40B4-BE49-F238E27FC236}">
                      <a16:creationId xmlns:a16="http://schemas.microsoft.com/office/drawing/2014/main" id="{969F8916-AA99-AFEB-D753-89AE4C6ACB1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4" name="Groep 643">
                <a:extLst>
                  <a:ext uri="{FF2B5EF4-FFF2-40B4-BE49-F238E27FC236}">
                    <a16:creationId xmlns:a16="http://schemas.microsoft.com/office/drawing/2014/main" id="{8E1AE883-C7E7-A109-F809-5C95B3838FF8}"/>
                  </a:ext>
                </a:extLst>
              </p:cNvPr>
              <p:cNvGrpSpPr/>
              <p:nvPr/>
            </p:nvGrpSpPr>
            <p:grpSpPr>
              <a:xfrm>
                <a:off x="9087076" y="1930399"/>
                <a:ext cx="944504" cy="809593"/>
                <a:chOff x="5696016" y="3086100"/>
                <a:chExt cx="800080" cy="685799"/>
              </a:xfrm>
              <a:grpFill/>
            </p:grpSpPr>
            <p:sp>
              <p:nvSpPr>
                <p:cNvPr id="648" name="Vrije vorm: vorm 647">
                  <a:extLst>
                    <a:ext uri="{FF2B5EF4-FFF2-40B4-BE49-F238E27FC236}">
                      <a16:creationId xmlns:a16="http://schemas.microsoft.com/office/drawing/2014/main" id="{1B0A40D5-1A25-6E80-131A-36A898FF862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49" name="Vrije vorm: vorm 648">
                  <a:extLst>
                    <a:ext uri="{FF2B5EF4-FFF2-40B4-BE49-F238E27FC236}">
                      <a16:creationId xmlns:a16="http://schemas.microsoft.com/office/drawing/2014/main" id="{9DABC55B-1938-70AA-D007-941B1868F85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5" name="Groep 644">
                <a:extLst>
                  <a:ext uri="{FF2B5EF4-FFF2-40B4-BE49-F238E27FC236}">
                    <a16:creationId xmlns:a16="http://schemas.microsoft.com/office/drawing/2014/main" id="{625E7683-4789-7A1F-34BD-550CD5B60B8A}"/>
                  </a:ext>
                </a:extLst>
              </p:cNvPr>
              <p:cNvGrpSpPr/>
              <p:nvPr/>
            </p:nvGrpSpPr>
            <p:grpSpPr>
              <a:xfrm>
                <a:off x="10139413" y="1930399"/>
                <a:ext cx="944504" cy="809593"/>
                <a:chOff x="5696016" y="3086100"/>
                <a:chExt cx="800080" cy="685799"/>
              </a:xfrm>
              <a:grpFill/>
            </p:grpSpPr>
            <p:sp>
              <p:nvSpPr>
                <p:cNvPr id="646" name="Vrije vorm: vorm 645">
                  <a:extLst>
                    <a:ext uri="{FF2B5EF4-FFF2-40B4-BE49-F238E27FC236}">
                      <a16:creationId xmlns:a16="http://schemas.microsoft.com/office/drawing/2014/main" id="{BE6BFB12-8166-FAB5-CE74-BE6C234328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47" name="Vrije vorm: vorm 646">
                  <a:extLst>
                    <a:ext uri="{FF2B5EF4-FFF2-40B4-BE49-F238E27FC236}">
                      <a16:creationId xmlns:a16="http://schemas.microsoft.com/office/drawing/2014/main" id="{574B63DE-4638-3A1F-369E-983AAB156F2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0" name="Groep 449">
              <a:extLst>
                <a:ext uri="{FF2B5EF4-FFF2-40B4-BE49-F238E27FC236}">
                  <a16:creationId xmlns:a16="http://schemas.microsoft.com/office/drawing/2014/main" id="{EB4107DB-37AF-7DC0-612E-C61F7D1596CA}"/>
                </a:ext>
              </a:extLst>
            </p:cNvPr>
            <p:cNvGrpSpPr/>
            <p:nvPr/>
          </p:nvGrpSpPr>
          <p:grpSpPr>
            <a:xfrm>
              <a:off x="649432" y="754734"/>
              <a:ext cx="2409536" cy="187292"/>
              <a:chOff x="668396" y="1930399"/>
              <a:chExt cx="10415521" cy="809593"/>
            </a:xfrm>
            <a:grpFill/>
          </p:grpSpPr>
          <p:grpSp>
            <p:nvGrpSpPr>
              <p:cNvPr id="606" name="Groep 605">
                <a:extLst>
                  <a:ext uri="{FF2B5EF4-FFF2-40B4-BE49-F238E27FC236}">
                    <a16:creationId xmlns:a16="http://schemas.microsoft.com/office/drawing/2014/main" id="{DD64A062-DDD3-3B3D-EE7E-ACB1103EFABC}"/>
                  </a:ext>
                </a:extLst>
              </p:cNvPr>
              <p:cNvGrpSpPr/>
              <p:nvPr/>
            </p:nvGrpSpPr>
            <p:grpSpPr>
              <a:xfrm>
                <a:off x="668396" y="1930399"/>
                <a:ext cx="944504" cy="809593"/>
                <a:chOff x="5696016" y="3086100"/>
                <a:chExt cx="800080" cy="685799"/>
              </a:xfrm>
              <a:grpFill/>
            </p:grpSpPr>
            <p:sp>
              <p:nvSpPr>
                <p:cNvPr id="634" name="Vrije vorm: vorm 633">
                  <a:extLst>
                    <a:ext uri="{FF2B5EF4-FFF2-40B4-BE49-F238E27FC236}">
                      <a16:creationId xmlns:a16="http://schemas.microsoft.com/office/drawing/2014/main" id="{1701CFC3-A6BC-0163-A81C-2C91102048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5" name="Vrije vorm: vorm 634">
                  <a:extLst>
                    <a:ext uri="{FF2B5EF4-FFF2-40B4-BE49-F238E27FC236}">
                      <a16:creationId xmlns:a16="http://schemas.microsoft.com/office/drawing/2014/main" id="{529C6B44-C239-7F1B-581E-8A092BF3DD7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07" name="Groep 606">
                <a:extLst>
                  <a:ext uri="{FF2B5EF4-FFF2-40B4-BE49-F238E27FC236}">
                    <a16:creationId xmlns:a16="http://schemas.microsoft.com/office/drawing/2014/main" id="{E9E1561D-3352-1F01-4B66-481FCF645621}"/>
                  </a:ext>
                </a:extLst>
              </p:cNvPr>
              <p:cNvGrpSpPr/>
              <p:nvPr/>
            </p:nvGrpSpPr>
            <p:grpSpPr>
              <a:xfrm>
                <a:off x="1720731" y="1930399"/>
                <a:ext cx="944504" cy="809593"/>
                <a:chOff x="5696016" y="3086100"/>
                <a:chExt cx="800080" cy="685799"/>
              </a:xfrm>
              <a:grpFill/>
            </p:grpSpPr>
            <p:sp>
              <p:nvSpPr>
                <p:cNvPr id="632" name="Vrije vorm: vorm 631">
                  <a:extLst>
                    <a:ext uri="{FF2B5EF4-FFF2-40B4-BE49-F238E27FC236}">
                      <a16:creationId xmlns:a16="http://schemas.microsoft.com/office/drawing/2014/main" id="{29E66892-DFF1-8F2E-8EE0-EE97B0CEBC0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3" name="Vrije vorm: vorm 632">
                  <a:extLst>
                    <a:ext uri="{FF2B5EF4-FFF2-40B4-BE49-F238E27FC236}">
                      <a16:creationId xmlns:a16="http://schemas.microsoft.com/office/drawing/2014/main" id="{C9AA3DEB-2FE8-0DF1-D47B-B84B8013995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08" name="Groep 607">
                <a:extLst>
                  <a:ext uri="{FF2B5EF4-FFF2-40B4-BE49-F238E27FC236}">
                    <a16:creationId xmlns:a16="http://schemas.microsoft.com/office/drawing/2014/main" id="{E0DCE62D-BE17-62B6-91ED-AEE37731CE19}"/>
                  </a:ext>
                </a:extLst>
              </p:cNvPr>
              <p:cNvGrpSpPr/>
              <p:nvPr/>
            </p:nvGrpSpPr>
            <p:grpSpPr>
              <a:xfrm>
                <a:off x="2773066" y="1930399"/>
                <a:ext cx="944504" cy="809593"/>
                <a:chOff x="5696016" y="3086100"/>
                <a:chExt cx="800080" cy="685799"/>
              </a:xfrm>
              <a:grpFill/>
            </p:grpSpPr>
            <p:sp>
              <p:nvSpPr>
                <p:cNvPr id="630" name="Vrije vorm: vorm 629">
                  <a:extLst>
                    <a:ext uri="{FF2B5EF4-FFF2-40B4-BE49-F238E27FC236}">
                      <a16:creationId xmlns:a16="http://schemas.microsoft.com/office/drawing/2014/main" id="{134AD050-1634-D3AA-BA6D-A2BCCB10E74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1" name="Vrije vorm: vorm 630">
                  <a:extLst>
                    <a:ext uri="{FF2B5EF4-FFF2-40B4-BE49-F238E27FC236}">
                      <a16:creationId xmlns:a16="http://schemas.microsoft.com/office/drawing/2014/main" id="{1EBD77EB-4A53-C225-A6DB-30036BDCF81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09" name="Groep 608">
                <a:extLst>
                  <a:ext uri="{FF2B5EF4-FFF2-40B4-BE49-F238E27FC236}">
                    <a16:creationId xmlns:a16="http://schemas.microsoft.com/office/drawing/2014/main" id="{17342C4F-05F1-6CEA-817B-C05437C28370}"/>
                  </a:ext>
                </a:extLst>
              </p:cNvPr>
              <p:cNvGrpSpPr/>
              <p:nvPr/>
            </p:nvGrpSpPr>
            <p:grpSpPr>
              <a:xfrm>
                <a:off x="3825401" y="1930399"/>
                <a:ext cx="944504" cy="809593"/>
                <a:chOff x="5696016" y="3086100"/>
                <a:chExt cx="800080" cy="685799"/>
              </a:xfrm>
              <a:grpFill/>
            </p:grpSpPr>
            <p:sp>
              <p:nvSpPr>
                <p:cNvPr id="628" name="Vrije vorm: vorm 627">
                  <a:extLst>
                    <a:ext uri="{FF2B5EF4-FFF2-40B4-BE49-F238E27FC236}">
                      <a16:creationId xmlns:a16="http://schemas.microsoft.com/office/drawing/2014/main" id="{D1FB5726-6E78-EB6B-5D74-7D4A9B1B16E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9" name="Vrije vorm: vorm 628">
                  <a:extLst>
                    <a:ext uri="{FF2B5EF4-FFF2-40B4-BE49-F238E27FC236}">
                      <a16:creationId xmlns:a16="http://schemas.microsoft.com/office/drawing/2014/main" id="{FA7D7A6A-647F-B8C7-ABFA-8C5AA6DB23F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0" name="Groep 609">
                <a:extLst>
                  <a:ext uri="{FF2B5EF4-FFF2-40B4-BE49-F238E27FC236}">
                    <a16:creationId xmlns:a16="http://schemas.microsoft.com/office/drawing/2014/main" id="{68755F4A-5F9D-6D79-4534-1506734294A0}"/>
                  </a:ext>
                </a:extLst>
              </p:cNvPr>
              <p:cNvGrpSpPr/>
              <p:nvPr/>
            </p:nvGrpSpPr>
            <p:grpSpPr>
              <a:xfrm>
                <a:off x="4877736" y="1930399"/>
                <a:ext cx="944504" cy="809593"/>
                <a:chOff x="5696016" y="3086100"/>
                <a:chExt cx="800080" cy="685799"/>
              </a:xfrm>
              <a:grpFill/>
            </p:grpSpPr>
            <p:sp>
              <p:nvSpPr>
                <p:cNvPr id="626" name="Vrije vorm: vorm 625">
                  <a:extLst>
                    <a:ext uri="{FF2B5EF4-FFF2-40B4-BE49-F238E27FC236}">
                      <a16:creationId xmlns:a16="http://schemas.microsoft.com/office/drawing/2014/main" id="{4A3F7068-4532-F96D-5919-389A8079A4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7" name="Vrije vorm: vorm 626">
                  <a:extLst>
                    <a:ext uri="{FF2B5EF4-FFF2-40B4-BE49-F238E27FC236}">
                      <a16:creationId xmlns:a16="http://schemas.microsoft.com/office/drawing/2014/main" id="{ADB1E53A-D2B8-E780-6254-15E6C7AC6FE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1" name="Groep 610">
                <a:extLst>
                  <a:ext uri="{FF2B5EF4-FFF2-40B4-BE49-F238E27FC236}">
                    <a16:creationId xmlns:a16="http://schemas.microsoft.com/office/drawing/2014/main" id="{8F73F468-9FB9-E02E-3341-B40148D4BD7E}"/>
                  </a:ext>
                </a:extLst>
              </p:cNvPr>
              <p:cNvGrpSpPr/>
              <p:nvPr/>
            </p:nvGrpSpPr>
            <p:grpSpPr>
              <a:xfrm>
                <a:off x="5930071" y="1930399"/>
                <a:ext cx="944504" cy="809593"/>
                <a:chOff x="5696016" y="3086100"/>
                <a:chExt cx="800080" cy="685799"/>
              </a:xfrm>
              <a:grpFill/>
            </p:grpSpPr>
            <p:sp>
              <p:nvSpPr>
                <p:cNvPr id="624" name="Vrije vorm: vorm 623">
                  <a:extLst>
                    <a:ext uri="{FF2B5EF4-FFF2-40B4-BE49-F238E27FC236}">
                      <a16:creationId xmlns:a16="http://schemas.microsoft.com/office/drawing/2014/main" id="{BE566790-12C4-8B8E-9337-C958F3A5DF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5" name="Vrije vorm: vorm 624">
                  <a:extLst>
                    <a:ext uri="{FF2B5EF4-FFF2-40B4-BE49-F238E27FC236}">
                      <a16:creationId xmlns:a16="http://schemas.microsoft.com/office/drawing/2014/main" id="{5164C23C-C0FA-AAF2-FF04-63B3A5AB143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2" name="Groep 611">
                <a:extLst>
                  <a:ext uri="{FF2B5EF4-FFF2-40B4-BE49-F238E27FC236}">
                    <a16:creationId xmlns:a16="http://schemas.microsoft.com/office/drawing/2014/main" id="{C3D3146E-2929-E96B-EDEE-B5BF1CDFB6FA}"/>
                  </a:ext>
                </a:extLst>
              </p:cNvPr>
              <p:cNvGrpSpPr/>
              <p:nvPr/>
            </p:nvGrpSpPr>
            <p:grpSpPr>
              <a:xfrm>
                <a:off x="6982406" y="1930399"/>
                <a:ext cx="944504" cy="809593"/>
                <a:chOff x="5696016" y="3086100"/>
                <a:chExt cx="800080" cy="685799"/>
              </a:xfrm>
              <a:grpFill/>
            </p:grpSpPr>
            <p:sp>
              <p:nvSpPr>
                <p:cNvPr id="622" name="Vrije vorm: vorm 621">
                  <a:extLst>
                    <a:ext uri="{FF2B5EF4-FFF2-40B4-BE49-F238E27FC236}">
                      <a16:creationId xmlns:a16="http://schemas.microsoft.com/office/drawing/2014/main" id="{04BCCEA1-EA02-9CEE-5C87-E7080233F1A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3" name="Vrije vorm: vorm 622">
                  <a:extLst>
                    <a:ext uri="{FF2B5EF4-FFF2-40B4-BE49-F238E27FC236}">
                      <a16:creationId xmlns:a16="http://schemas.microsoft.com/office/drawing/2014/main" id="{D463C570-035F-714C-9AFF-D6054BC9825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3" name="Groep 612">
                <a:extLst>
                  <a:ext uri="{FF2B5EF4-FFF2-40B4-BE49-F238E27FC236}">
                    <a16:creationId xmlns:a16="http://schemas.microsoft.com/office/drawing/2014/main" id="{21A93DBD-FA3A-6022-D417-88B9D7B024DD}"/>
                  </a:ext>
                </a:extLst>
              </p:cNvPr>
              <p:cNvGrpSpPr/>
              <p:nvPr/>
            </p:nvGrpSpPr>
            <p:grpSpPr>
              <a:xfrm>
                <a:off x="8034741" y="1930399"/>
                <a:ext cx="944504" cy="809593"/>
                <a:chOff x="5696016" y="3086100"/>
                <a:chExt cx="800080" cy="685799"/>
              </a:xfrm>
              <a:grpFill/>
            </p:grpSpPr>
            <p:sp>
              <p:nvSpPr>
                <p:cNvPr id="620" name="Vrije vorm: vorm 619">
                  <a:extLst>
                    <a:ext uri="{FF2B5EF4-FFF2-40B4-BE49-F238E27FC236}">
                      <a16:creationId xmlns:a16="http://schemas.microsoft.com/office/drawing/2014/main" id="{968BA3FD-AE40-93D8-43F0-6E6C650605F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1" name="Vrije vorm: vorm 620">
                  <a:extLst>
                    <a:ext uri="{FF2B5EF4-FFF2-40B4-BE49-F238E27FC236}">
                      <a16:creationId xmlns:a16="http://schemas.microsoft.com/office/drawing/2014/main" id="{846BAF1D-424A-2929-E086-0B64F557A5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4" name="Groep 613">
                <a:extLst>
                  <a:ext uri="{FF2B5EF4-FFF2-40B4-BE49-F238E27FC236}">
                    <a16:creationId xmlns:a16="http://schemas.microsoft.com/office/drawing/2014/main" id="{1702F343-15D3-0122-15C5-9729A085295B}"/>
                  </a:ext>
                </a:extLst>
              </p:cNvPr>
              <p:cNvGrpSpPr/>
              <p:nvPr/>
            </p:nvGrpSpPr>
            <p:grpSpPr>
              <a:xfrm>
                <a:off x="9087076" y="1930399"/>
                <a:ext cx="944504" cy="809593"/>
                <a:chOff x="5696016" y="3086100"/>
                <a:chExt cx="800080" cy="685799"/>
              </a:xfrm>
              <a:grpFill/>
            </p:grpSpPr>
            <p:sp>
              <p:nvSpPr>
                <p:cNvPr id="618" name="Vrije vorm: vorm 617">
                  <a:extLst>
                    <a:ext uri="{FF2B5EF4-FFF2-40B4-BE49-F238E27FC236}">
                      <a16:creationId xmlns:a16="http://schemas.microsoft.com/office/drawing/2014/main" id="{651C8429-495E-3396-E749-5BD2CEC2CBC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19" name="Vrije vorm: vorm 618">
                  <a:extLst>
                    <a:ext uri="{FF2B5EF4-FFF2-40B4-BE49-F238E27FC236}">
                      <a16:creationId xmlns:a16="http://schemas.microsoft.com/office/drawing/2014/main" id="{67C92CA9-5907-8826-3425-885E3641313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5" name="Groep 614">
                <a:extLst>
                  <a:ext uri="{FF2B5EF4-FFF2-40B4-BE49-F238E27FC236}">
                    <a16:creationId xmlns:a16="http://schemas.microsoft.com/office/drawing/2014/main" id="{05C163C7-D4BE-F6FC-9C42-7EF0DEF7D992}"/>
                  </a:ext>
                </a:extLst>
              </p:cNvPr>
              <p:cNvGrpSpPr/>
              <p:nvPr/>
            </p:nvGrpSpPr>
            <p:grpSpPr>
              <a:xfrm>
                <a:off x="10139413" y="1930399"/>
                <a:ext cx="944504" cy="809593"/>
                <a:chOff x="5696016" y="3086100"/>
                <a:chExt cx="800080" cy="685799"/>
              </a:xfrm>
              <a:grpFill/>
            </p:grpSpPr>
            <p:sp>
              <p:nvSpPr>
                <p:cNvPr id="616" name="Vrije vorm: vorm 615">
                  <a:extLst>
                    <a:ext uri="{FF2B5EF4-FFF2-40B4-BE49-F238E27FC236}">
                      <a16:creationId xmlns:a16="http://schemas.microsoft.com/office/drawing/2014/main" id="{B80EF93E-A0D0-07FE-669C-8265B4A50F0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17" name="Vrije vorm: vorm 616">
                  <a:extLst>
                    <a:ext uri="{FF2B5EF4-FFF2-40B4-BE49-F238E27FC236}">
                      <a16:creationId xmlns:a16="http://schemas.microsoft.com/office/drawing/2014/main" id="{6A705B32-5C34-1B98-6748-C40C09F9308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1" name="Groep 450">
              <a:extLst>
                <a:ext uri="{FF2B5EF4-FFF2-40B4-BE49-F238E27FC236}">
                  <a16:creationId xmlns:a16="http://schemas.microsoft.com/office/drawing/2014/main" id="{1C644C6D-3A6C-60A0-58BB-E192D40E4A22}"/>
                </a:ext>
              </a:extLst>
            </p:cNvPr>
            <p:cNvGrpSpPr/>
            <p:nvPr/>
          </p:nvGrpSpPr>
          <p:grpSpPr>
            <a:xfrm>
              <a:off x="649432" y="988768"/>
              <a:ext cx="2409536" cy="187292"/>
              <a:chOff x="668396" y="1930399"/>
              <a:chExt cx="10415521" cy="809593"/>
            </a:xfrm>
            <a:grpFill/>
          </p:grpSpPr>
          <p:grpSp>
            <p:nvGrpSpPr>
              <p:cNvPr id="576" name="Groep 575">
                <a:extLst>
                  <a:ext uri="{FF2B5EF4-FFF2-40B4-BE49-F238E27FC236}">
                    <a16:creationId xmlns:a16="http://schemas.microsoft.com/office/drawing/2014/main" id="{A16BEFAA-A9CF-2E03-6CAF-06454223DF4C}"/>
                  </a:ext>
                </a:extLst>
              </p:cNvPr>
              <p:cNvGrpSpPr/>
              <p:nvPr/>
            </p:nvGrpSpPr>
            <p:grpSpPr>
              <a:xfrm>
                <a:off x="668396" y="1930399"/>
                <a:ext cx="944504" cy="809593"/>
                <a:chOff x="5696016" y="3086100"/>
                <a:chExt cx="800080" cy="685799"/>
              </a:xfrm>
              <a:grpFill/>
            </p:grpSpPr>
            <p:sp>
              <p:nvSpPr>
                <p:cNvPr id="604" name="Vrije vorm: vorm 603">
                  <a:extLst>
                    <a:ext uri="{FF2B5EF4-FFF2-40B4-BE49-F238E27FC236}">
                      <a16:creationId xmlns:a16="http://schemas.microsoft.com/office/drawing/2014/main" id="{94A18B99-C01C-D22F-C4FA-A29B606C177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05" name="Vrije vorm: vorm 604">
                  <a:extLst>
                    <a:ext uri="{FF2B5EF4-FFF2-40B4-BE49-F238E27FC236}">
                      <a16:creationId xmlns:a16="http://schemas.microsoft.com/office/drawing/2014/main" id="{7B96F16A-6E4F-18EE-5516-F780AAFCB6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77" name="Groep 576">
                <a:extLst>
                  <a:ext uri="{FF2B5EF4-FFF2-40B4-BE49-F238E27FC236}">
                    <a16:creationId xmlns:a16="http://schemas.microsoft.com/office/drawing/2014/main" id="{0CF2116F-79B6-DA6D-43D5-EB5CE55C04CA}"/>
                  </a:ext>
                </a:extLst>
              </p:cNvPr>
              <p:cNvGrpSpPr/>
              <p:nvPr/>
            </p:nvGrpSpPr>
            <p:grpSpPr>
              <a:xfrm>
                <a:off x="1720731" y="1930399"/>
                <a:ext cx="944504" cy="809593"/>
                <a:chOff x="5696016" y="3086100"/>
                <a:chExt cx="800080" cy="685799"/>
              </a:xfrm>
              <a:grpFill/>
            </p:grpSpPr>
            <p:sp>
              <p:nvSpPr>
                <p:cNvPr id="602" name="Vrije vorm: vorm 601">
                  <a:extLst>
                    <a:ext uri="{FF2B5EF4-FFF2-40B4-BE49-F238E27FC236}">
                      <a16:creationId xmlns:a16="http://schemas.microsoft.com/office/drawing/2014/main" id="{48229BAB-7649-BF18-52AC-98563A22232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03" name="Vrije vorm: vorm 602">
                  <a:extLst>
                    <a:ext uri="{FF2B5EF4-FFF2-40B4-BE49-F238E27FC236}">
                      <a16:creationId xmlns:a16="http://schemas.microsoft.com/office/drawing/2014/main" id="{5C0CDE23-1C23-39C1-C422-F5260047FA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78" name="Groep 577">
                <a:extLst>
                  <a:ext uri="{FF2B5EF4-FFF2-40B4-BE49-F238E27FC236}">
                    <a16:creationId xmlns:a16="http://schemas.microsoft.com/office/drawing/2014/main" id="{A37C0D6C-57F0-B71F-20E0-63436DC06452}"/>
                  </a:ext>
                </a:extLst>
              </p:cNvPr>
              <p:cNvGrpSpPr/>
              <p:nvPr/>
            </p:nvGrpSpPr>
            <p:grpSpPr>
              <a:xfrm>
                <a:off x="2773066" y="1930399"/>
                <a:ext cx="944504" cy="809593"/>
                <a:chOff x="5696016" y="3086100"/>
                <a:chExt cx="800080" cy="685799"/>
              </a:xfrm>
              <a:grpFill/>
            </p:grpSpPr>
            <p:sp>
              <p:nvSpPr>
                <p:cNvPr id="600" name="Vrije vorm: vorm 599">
                  <a:extLst>
                    <a:ext uri="{FF2B5EF4-FFF2-40B4-BE49-F238E27FC236}">
                      <a16:creationId xmlns:a16="http://schemas.microsoft.com/office/drawing/2014/main" id="{DDE271EB-029D-ABC1-E8BE-293D121B829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01" name="Vrije vorm: vorm 600">
                  <a:extLst>
                    <a:ext uri="{FF2B5EF4-FFF2-40B4-BE49-F238E27FC236}">
                      <a16:creationId xmlns:a16="http://schemas.microsoft.com/office/drawing/2014/main" id="{4B546286-C6BE-96F0-7E95-5E842C35B3B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79" name="Groep 578">
                <a:extLst>
                  <a:ext uri="{FF2B5EF4-FFF2-40B4-BE49-F238E27FC236}">
                    <a16:creationId xmlns:a16="http://schemas.microsoft.com/office/drawing/2014/main" id="{91BE8C36-61C7-C9CD-5D1A-977958FD049B}"/>
                  </a:ext>
                </a:extLst>
              </p:cNvPr>
              <p:cNvGrpSpPr/>
              <p:nvPr/>
            </p:nvGrpSpPr>
            <p:grpSpPr>
              <a:xfrm>
                <a:off x="3825401" y="1930399"/>
                <a:ext cx="944504" cy="809593"/>
                <a:chOff x="5696016" y="3086100"/>
                <a:chExt cx="800080" cy="685799"/>
              </a:xfrm>
              <a:grpFill/>
            </p:grpSpPr>
            <p:sp>
              <p:nvSpPr>
                <p:cNvPr id="598" name="Vrije vorm: vorm 597">
                  <a:extLst>
                    <a:ext uri="{FF2B5EF4-FFF2-40B4-BE49-F238E27FC236}">
                      <a16:creationId xmlns:a16="http://schemas.microsoft.com/office/drawing/2014/main" id="{B2F9AFF2-F522-3D97-CD63-844466982A1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9" name="Vrije vorm: vorm 598">
                  <a:extLst>
                    <a:ext uri="{FF2B5EF4-FFF2-40B4-BE49-F238E27FC236}">
                      <a16:creationId xmlns:a16="http://schemas.microsoft.com/office/drawing/2014/main" id="{761A4F1E-13F9-E821-8E4F-CCF919DB1EC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0" name="Groep 579">
                <a:extLst>
                  <a:ext uri="{FF2B5EF4-FFF2-40B4-BE49-F238E27FC236}">
                    <a16:creationId xmlns:a16="http://schemas.microsoft.com/office/drawing/2014/main" id="{BB59E038-E4F7-C4E0-C54C-2A8C72E76DF6}"/>
                  </a:ext>
                </a:extLst>
              </p:cNvPr>
              <p:cNvGrpSpPr/>
              <p:nvPr/>
            </p:nvGrpSpPr>
            <p:grpSpPr>
              <a:xfrm>
                <a:off x="4877736" y="1930399"/>
                <a:ext cx="944504" cy="809593"/>
                <a:chOff x="5696016" y="3086100"/>
                <a:chExt cx="800080" cy="685799"/>
              </a:xfrm>
              <a:grpFill/>
            </p:grpSpPr>
            <p:sp>
              <p:nvSpPr>
                <p:cNvPr id="596" name="Vrije vorm: vorm 595">
                  <a:extLst>
                    <a:ext uri="{FF2B5EF4-FFF2-40B4-BE49-F238E27FC236}">
                      <a16:creationId xmlns:a16="http://schemas.microsoft.com/office/drawing/2014/main" id="{9281D3B3-997D-B73E-BE93-73E6B66FA0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7" name="Vrije vorm: vorm 596">
                  <a:extLst>
                    <a:ext uri="{FF2B5EF4-FFF2-40B4-BE49-F238E27FC236}">
                      <a16:creationId xmlns:a16="http://schemas.microsoft.com/office/drawing/2014/main" id="{85ABD669-791B-DC4B-DE5E-B34F55F9A3D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1" name="Groep 580">
                <a:extLst>
                  <a:ext uri="{FF2B5EF4-FFF2-40B4-BE49-F238E27FC236}">
                    <a16:creationId xmlns:a16="http://schemas.microsoft.com/office/drawing/2014/main" id="{FF7EA07F-2284-26E2-9680-6A336AEB39AF}"/>
                  </a:ext>
                </a:extLst>
              </p:cNvPr>
              <p:cNvGrpSpPr/>
              <p:nvPr/>
            </p:nvGrpSpPr>
            <p:grpSpPr>
              <a:xfrm>
                <a:off x="5930071" y="1930399"/>
                <a:ext cx="944504" cy="809593"/>
                <a:chOff x="5696016" y="3086100"/>
                <a:chExt cx="800080" cy="685799"/>
              </a:xfrm>
              <a:grpFill/>
            </p:grpSpPr>
            <p:sp>
              <p:nvSpPr>
                <p:cNvPr id="594" name="Vrije vorm: vorm 593">
                  <a:extLst>
                    <a:ext uri="{FF2B5EF4-FFF2-40B4-BE49-F238E27FC236}">
                      <a16:creationId xmlns:a16="http://schemas.microsoft.com/office/drawing/2014/main" id="{CED3F214-078F-71DF-0998-F944DD2086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5" name="Vrije vorm: vorm 594">
                  <a:extLst>
                    <a:ext uri="{FF2B5EF4-FFF2-40B4-BE49-F238E27FC236}">
                      <a16:creationId xmlns:a16="http://schemas.microsoft.com/office/drawing/2014/main" id="{38F7A86C-0766-D04D-3A40-DF8EBC2645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2" name="Groep 581">
                <a:extLst>
                  <a:ext uri="{FF2B5EF4-FFF2-40B4-BE49-F238E27FC236}">
                    <a16:creationId xmlns:a16="http://schemas.microsoft.com/office/drawing/2014/main" id="{5879A702-88C4-C361-B940-6D3103D3BB72}"/>
                  </a:ext>
                </a:extLst>
              </p:cNvPr>
              <p:cNvGrpSpPr/>
              <p:nvPr/>
            </p:nvGrpSpPr>
            <p:grpSpPr>
              <a:xfrm>
                <a:off x="6982406" y="1930399"/>
                <a:ext cx="944504" cy="809593"/>
                <a:chOff x="5696016" y="3086100"/>
                <a:chExt cx="800080" cy="685799"/>
              </a:xfrm>
              <a:grpFill/>
            </p:grpSpPr>
            <p:sp>
              <p:nvSpPr>
                <p:cNvPr id="592" name="Vrije vorm: vorm 591">
                  <a:extLst>
                    <a:ext uri="{FF2B5EF4-FFF2-40B4-BE49-F238E27FC236}">
                      <a16:creationId xmlns:a16="http://schemas.microsoft.com/office/drawing/2014/main" id="{D65928E6-E350-2213-CC42-508D54C8209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3" name="Vrije vorm: vorm 592">
                  <a:extLst>
                    <a:ext uri="{FF2B5EF4-FFF2-40B4-BE49-F238E27FC236}">
                      <a16:creationId xmlns:a16="http://schemas.microsoft.com/office/drawing/2014/main" id="{4F451611-EBBD-DAFC-138F-26CBCDA153A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3" name="Groep 582">
                <a:extLst>
                  <a:ext uri="{FF2B5EF4-FFF2-40B4-BE49-F238E27FC236}">
                    <a16:creationId xmlns:a16="http://schemas.microsoft.com/office/drawing/2014/main" id="{91F9F1C6-5F83-841F-F3DD-83051D7F6A4E}"/>
                  </a:ext>
                </a:extLst>
              </p:cNvPr>
              <p:cNvGrpSpPr/>
              <p:nvPr/>
            </p:nvGrpSpPr>
            <p:grpSpPr>
              <a:xfrm>
                <a:off x="8034741" y="1930399"/>
                <a:ext cx="944504" cy="809593"/>
                <a:chOff x="5696016" y="3086100"/>
                <a:chExt cx="800080" cy="685799"/>
              </a:xfrm>
              <a:grpFill/>
            </p:grpSpPr>
            <p:sp>
              <p:nvSpPr>
                <p:cNvPr id="590" name="Vrije vorm: vorm 589">
                  <a:extLst>
                    <a:ext uri="{FF2B5EF4-FFF2-40B4-BE49-F238E27FC236}">
                      <a16:creationId xmlns:a16="http://schemas.microsoft.com/office/drawing/2014/main" id="{914DDC0B-2359-2E8A-843A-3CE2C0FDF62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1" name="Vrije vorm: vorm 590">
                  <a:extLst>
                    <a:ext uri="{FF2B5EF4-FFF2-40B4-BE49-F238E27FC236}">
                      <a16:creationId xmlns:a16="http://schemas.microsoft.com/office/drawing/2014/main" id="{6C147CAA-AE71-1FE2-3765-BF8D120BF51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4" name="Groep 583">
                <a:extLst>
                  <a:ext uri="{FF2B5EF4-FFF2-40B4-BE49-F238E27FC236}">
                    <a16:creationId xmlns:a16="http://schemas.microsoft.com/office/drawing/2014/main" id="{280FB925-500E-7D88-C528-A6D311BDB649}"/>
                  </a:ext>
                </a:extLst>
              </p:cNvPr>
              <p:cNvGrpSpPr/>
              <p:nvPr/>
            </p:nvGrpSpPr>
            <p:grpSpPr>
              <a:xfrm>
                <a:off x="9087076" y="1930399"/>
                <a:ext cx="944504" cy="809593"/>
                <a:chOff x="5696016" y="3086100"/>
                <a:chExt cx="800080" cy="685799"/>
              </a:xfrm>
              <a:grpFill/>
            </p:grpSpPr>
            <p:sp>
              <p:nvSpPr>
                <p:cNvPr id="588" name="Vrije vorm: vorm 587">
                  <a:extLst>
                    <a:ext uri="{FF2B5EF4-FFF2-40B4-BE49-F238E27FC236}">
                      <a16:creationId xmlns:a16="http://schemas.microsoft.com/office/drawing/2014/main" id="{EE904CF9-4683-B0DF-6894-4C1059FD1B4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89" name="Vrije vorm: vorm 588">
                  <a:extLst>
                    <a:ext uri="{FF2B5EF4-FFF2-40B4-BE49-F238E27FC236}">
                      <a16:creationId xmlns:a16="http://schemas.microsoft.com/office/drawing/2014/main" id="{BB62DD7E-5A41-D43C-108C-4591E17EBB3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5" name="Groep 584">
                <a:extLst>
                  <a:ext uri="{FF2B5EF4-FFF2-40B4-BE49-F238E27FC236}">
                    <a16:creationId xmlns:a16="http://schemas.microsoft.com/office/drawing/2014/main" id="{3AEA9528-DA39-956A-9299-F0C9B0D17BC3}"/>
                  </a:ext>
                </a:extLst>
              </p:cNvPr>
              <p:cNvGrpSpPr/>
              <p:nvPr/>
            </p:nvGrpSpPr>
            <p:grpSpPr>
              <a:xfrm>
                <a:off x="10139413" y="1930399"/>
                <a:ext cx="944504" cy="809593"/>
                <a:chOff x="5696016" y="3086100"/>
                <a:chExt cx="800080" cy="685799"/>
              </a:xfrm>
              <a:grpFill/>
            </p:grpSpPr>
            <p:sp>
              <p:nvSpPr>
                <p:cNvPr id="586" name="Vrije vorm: vorm 585">
                  <a:extLst>
                    <a:ext uri="{FF2B5EF4-FFF2-40B4-BE49-F238E27FC236}">
                      <a16:creationId xmlns:a16="http://schemas.microsoft.com/office/drawing/2014/main" id="{4687A862-8B4A-0461-491E-409681B67A8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87" name="Vrije vorm: vorm 586">
                  <a:extLst>
                    <a:ext uri="{FF2B5EF4-FFF2-40B4-BE49-F238E27FC236}">
                      <a16:creationId xmlns:a16="http://schemas.microsoft.com/office/drawing/2014/main" id="{446C79B4-FAA6-0279-6213-1F9082896B4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2" name="Groep 451">
              <a:extLst>
                <a:ext uri="{FF2B5EF4-FFF2-40B4-BE49-F238E27FC236}">
                  <a16:creationId xmlns:a16="http://schemas.microsoft.com/office/drawing/2014/main" id="{1B7A519A-DC00-091A-CE87-70A53FAD4CEF}"/>
                </a:ext>
              </a:extLst>
            </p:cNvPr>
            <p:cNvGrpSpPr/>
            <p:nvPr/>
          </p:nvGrpSpPr>
          <p:grpSpPr>
            <a:xfrm>
              <a:off x="649432" y="1222801"/>
              <a:ext cx="2409536" cy="187292"/>
              <a:chOff x="668396" y="1930399"/>
              <a:chExt cx="10415521" cy="809593"/>
            </a:xfrm>
            <a:grpFill/>
          </p:grpSpPr>
          <p:grpSp>
            <p:nvGrpSpPr>
              <p:cNvPr id="546" name="Groep 545">
                <a:extLst>
                  <a:ext uri="{FF2B5EF4-FFF2-40B4-BE49-F238E27FC236}">
                    <a16:creationId xmlns:a16="http://schemas.microsoft.com/office/drawing/2014/main" id="{AB69015D-F7F0-24AB-2EDD-9487CC8C192E}"/>
                  </a:ext>
                </a:extLst>
              </p:cNvPr>
              <p:cNvGrpSpPr/>
              <p:nvPr/>
            </p:nvGrpSpPr>
            <p:grpSpPr>
              <a:xfrm>
                <a:off x="668396" y="1930399"/>
                <a:ext cx="944504" cy="809593"/>
                <a:chOff x="5696016" y="3086100"/>
                <a:chExt cx="800080" cy="685799"/>
              </a:xfrm>
              <a:grpFill/>
            </p:grpSpPr>
            <p:sp>
              <p:nvSpPr>
                <p:cNvPr id="574" name="Vrije vorm: vorm 573">
                  <a:extLst>
                    <a:ext uri="{FF2B5EF4-FFF2-40B4-BE49-F238E27FC236}">
                      <a16:creationId xmlns:a16="http://schemas.microsoft.com/office/drawing/2014/main" id="{09DB1345-9235-86BB-D187-595393F444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5" name="Vrije vorm: vorm 574">
                  <a:extLst>
                    <a:ext uri="{FF2B5EF4-FFF2-40B4-BE49-F238E27FC236}">
                      <a16:creationId xmlns:a16="http://schemas.microsoft.com/office/drawing/2014/main" id="{72F6D235-F363-8DC1-742F-474D7A29210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7" name="Groep 546">
                <a:extLst>
                  <a:ext uri="{FF2B5EF4-FFF2-40B4-BE49-F238E27FC236}">
                    <a16:creationId xmlns:a16="http://schemas.microsoft.com/office/drawing/2014/main" id="{00457EC6-70BF-F901-B503-20C75A38F5A5}"/>
                  </a:ext>
                </a:extLst>
              </p:cNvPr>
              <p:cNvGrpSpPr/>
              <p:nvPr/>
            </p:nvGrpSpPr>
            <p:grpSpPr>
              <a:xfrm>
                <a:off x="1720731" y="1930399"/>
                <a:ext cx="944504" cy="809593"/>
                <a:chOff x="5696016" y="3086100"/>
                <a:chExt cx="800080" cy="685799"/>
              </a:xfrm>
              <a:grpFill/>
            </p:grpSpPr>
            <p:sp>
              <p:nvSpPr>
                <p:cNvPr id="572" name="Vrije vorm: vorm 571">
                  <a:extLst>
                    <a:ext uri="{FF2B5EF4-FFF2-40B4-BE49-F238E27FC236}">
                      <a16:creationId xmlns:a16="http://schemas.microsoft.com/office/drawing/2014/main" id="{95D08425-6B5E-14FA-7BBB-B0ED4F12683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3" name="Vrije vorm: vorm 572">
                  <a:extLst>
                    <a:ext uri="{FF2B5EF4-FFF2-40B4-BE49-F238E27FC236}">
                      <a16:creationId xmlns:a16="http://schemas.microsoft.com/office/drawing/2014/main" id="{2DB46FF7-EDEB-E0B9-9AA5-3EC9D6C1A54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8" name="Groep 547">
                <a:extLst>
                  <a:ext uri="{FF2B5EF4-FFF2-40B4-BE49-F238E27FC236}">
                    <a16:creationId xmlns:a16="http://schemas.microsoft.com/office/drawing/2014/main" id="{B5919476-98F9-7BF6-1241-B446F5588BC8}"/>
                  </a:ext>
                </a:extLst>
              </p:cNvPr>
              <p:cNvGrpSpPr/>
              <p:nvPr/>
            </p:nvGrpSpPr>
            <p:grpSpPr>
              <a:xfrm>
                <a:off x="2773066" y="1930399"/>
                <a:ext cx="944504" cy="809593"/>
                <a:chOff x="5696016" y="3086100"/>
                <a:chExt cx="800080" cy="685799"/>
              </a:xfrm>
              <a:grpFill/>
            </p:grpSpPr>
            <p:sp>
              <p:nvSpPr>
                <p:cNvPr id="570" name="Vrije vorm: vorm 569">
                  <a:extLst>
                    <a:ext uri="{FF2B5EF4-FFF2-40B4-BE49-F238E27FC236}">
                      <a16:creationId xmlns:a16="http://schemas.microsoft.com/office/drawing/2014/main" id="{5980BBB6-8AB0-FAB6-7D87-21CC80F579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1" name="Vrije vorm: vorm 570">
                  <a:extLst>
                    <a:ext uri="{FF2B5EF4-FFF2-40B4-BE49-F238E27FC236}">
                      <a16:creationId xmlns:a16="http://schemas.microsoft.com/office/drawing/2014/main" id="{0988EBC1-809A-4B5C-2AA9-8B85D580167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9" name="Groep 548">
                <a:extLst>
                  <a:ext uri="{FF2B5EF4-FFF2-40B4-BE49-F238E27FC236}">
                    <a16:creationId xmlns:a16="http://schemas.microsoft.com/office/drawing/2014/main" id="{D8407EC9-E40D-849F-CA9D-839CD8DC5F04}"/>
                  </a:ext>
                </a:extLst>
              </p:cNvPr>
              <p:cNvGrpSpPr/>
              <p:nvPr/>
            </p:nvGrpSpPr>
            <p:grpSpPr>
              <a:xfrm>
                <a:off x="3825401" y="1930399"/>
                <a:ext cx="944504" cy="809593"/>
                <a:chOff x="5696016" y="3086100"/>
                <a:chExt cx="800080" cy="685799"/>
              </a:xfrm>
              <a:grpFill/>
            </p:grpSpPr>
            <p:sp>
              <p:nvSpPr>
                <p:cNvPr id="568" name="Vrije vorm: vorm 567">
                  <a:extLst>
                    <a:ext uri="{FF2B5EF4-FFF2-40B4-BE49-F238E27FC236}">
                      <a16:creationId xmlns:a16="http://schemas.microsoft.com/office/drawing/2014/main" id="{E244D178-F6EF-DFA8-1A3F-19DCBF4C29F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9" name="Vrije vorm: vorm 568">
                  <a:extLst>
                    <a:ext uri="{FF2B5EF4-FFF2-40B4-BE49-F238E27FC236}">
                      <a16:creationId xmlns:a16="http://schemas.microsoft.com/office/drawing/2014/main" id="{2A9B7AB4-FC14-5C78-77D1-306DD820FF4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0" name="Groep 549">
                <a:extLst>
                  <a:ext uri="{FF2B5EF4-FFF2-40B4-BE49-F238E27FC236}">
                    <a16:creationId xmlns:a16="http://schemas.microsoft.com/office/drawing/2014/main" id="{AB9733AC-5455-0271-9F5E-549FBDA5EFB5}"/>
                  </a:ext>
                </a:extLst>
              </p:cNvPr>
              <p:cNvGrpSpPr/>
              <p:nvPr/>
            </p:nvGrpSpPr>
            <p:grpSpPr>
              <a:xfrm>
                <a:off x="4877736" y="1930399"/>
                <a:ext cx="944504" cy="809593"/>
                <a:chOff x="5696016" y="3086100"/>
                <a:chExt cx="800080" cy="685799"/>
              </a:xfrm>
              <a:grpFill/>
            </p:grpSpPr>
            <p:sp>
              <p:nvSpPr>
                <p:cNvPr id="566" name="Vrije vorm: vorm 565">
                  <a:extLst>
                    <a:ext uri="{FF2B5EF4-FFF2-40B4-BE49-F238E27FC236}">
                      <a16:creationId xmlns:a16="http://schemas.microsoft.com/office/drawing/2014/main" id="{E6CF18EF-ED89-CCD6-B7CD-79943BD09FF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7" name="Vrije vorm: vorm 566">
                  <a:extLst>
                    <a:ext uri="{FF2B5EF4-FFF2-40B4-BE49-F238E27FC236}">
                      <a16:creationId xmlns:a16="http://schemas.microsoft.com/office/drawing/2014/main" id="{96125EBA-6796-B18B-91F7-359779E8167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1" name="Groep 550">
                <a:extLst>
                  <a:ext uri="{FF2B5EF4-FFF2-40B4-BE49-F238E27FC236}">
                    <a16:creationId xmlns:a16="http://schemas.microsoft.com/office/drawing/2014/main" id="{8BB6AB3B-9C36-B2C2-E67A-45E11C7951D7}"/>
                  </a:ext>
                </a:extLst>
              </p:cNvPr>
              <p:cNvGrpSpPr/>
              <p:nvPr/>
            </p:nvGrpSpPr>
            <p:grpSpPr>
              <a:xfrm>
                <a:off x="5930071" y="1930399"/>
                <a:ext cx="944504" cy="809593"/>
                <a:chOff x="5696016" y="3086100"/>
                <a:chExt cx="800080" cy="685799"/>
              </a:xfrm>
              <a:grpFill/>
            </p:grpSpPr>
            <p:sp>
              <p:nvSpPr>
                <p:cNvPr id="564" name="Vrije vorm: vorm 563">
                  <a:extLst>
                    <a:ext uri="{FF2B5EF4-FFF2-40B4-BE49-F238E27FC236}">
                      <a16:creationId xmlns:a16="http://schemas.microsoft.com/office/drawing/2014/main" id="{3157B00C-E39C-CA54-FBFE-C8EFE0F3CFB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5" name="Vrije vorm: vorm 564">
                  <a:extLst>
                    <a:ext uri="{FF2B5EF4-FFF2-40B4-BE49-F238E27FC236}">
                      <a16:creationId xmlns:a16="http://schemas.microsoft.com/office/drawing/2014/main" id="{07ADB56E-333D-C0E2-674C-FBF586A4FE2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2" name="Groep 551">
                <a:extLst>
                  <a:ext uri="{FF2B5EF4-FFF2-40B4-BE49-F238E27FC236}">
                    <a16:creationId xmlns:a16="http://schemas.microsoft.com/office/drawing/2014/main" id="{61AE7C7E-9557-4810-66BC-BB3405D82D72}"/>
                  </a:ext>
                </a:extLst>
              </p:cNvPr>
              <p:cNvGrpSpPr/>
              <p:nvPr/>
            </p:nvGrpSpPr>
            <p:grpSpPr>
              <a:xfrm>
                <a:off x="6982406" y="1930399"/>
                <a:ext cx="944504" cy="809593"/>
                <a:chOff x="5696016" y="3086100"/>
                <a:chExt cx="800080" cy="685799"/>
              </a:xfrm>
              <a:grpFill/>
            </p:grpSpPr>
            <p:sp>
              <p:nvSpPr>
                <p:cNvPr id="562" name="Vrije vorm: vorm 561">
                  <a:extLst>
                    <a:ext uri="{FF2B5EF4-FFF2-40B4-BE49-F238E27FC236}">
                      <a16:creationId xmlns:a16="http://schemas.microsoft.com/office/drawing/2014/main" id="{39F52A07-194E-30F8-A8C2-BAA0FC3703A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3" name="Vrije vorm: vorm 562">
                  <a:extLst>
                    <a:ext uri="{FF2B5EF4-FFF2-40B4-BE49-F238E27FC236}">
                      <a16:creationId xmlns:a16="http://schemas.microsoft.com/office/drawing/2014/main" id="{40199304-ED85-5B86-E80D-0ECC9E9D39C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3" name="Groep 552">
                <a:extLst>
                  <a:ext uri="{FF2B5EF4-FFF2-40B4-BE49-F238E27FC236}">
                    <a16:creationId xmlns:a16="http://schemas.microsoft.com/office/drawing/2014/main" id="{3D114BBD-0940-DECA-9C39-9AA455A9EDEE}"/>
                  </a:ext>
                </a:extLst>
              </p:cNvPr>
              <p:cNvGrpSpPr/>
              <p:nvPr/>
            </p:nvGrpSpPr>
            <p:grpSpPr>
              <a:xfrm>
                <a:off x="8034741" y="1930399"/>
                <a:ext cx="944504" cy="809593"/>
                <a:chOff x="5696016" y="3086100"/>
                <a:chExt cx="800080" cy="685799"/>
              </a:xfrm>
              <a:grpFill/>
            </p:grpSpPr>
            <p:sp>
              <p:nvSpPr>
                <p:cNvPr id="560" name="Vrije vorm: vorm 559">
                  <a:extLst>
                    <a:ext uri="{FF2B5EF4-FFF2-40B4-BE49-F238E27FC236}">
                      <a16:creationId xmlns:a16="http://schemas.microsoft.com/office/drawing/2014/main" id="{51FA168B-75D4-8CBF-FB2E-25EF0359A06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1" name="Vrije vorm: vorm 560">
                  <a:extLst>
                    <a:ext uri="{FF2B5EF4-FFF2-40B4-BE49-F238E27FC236}">
                      <a16:creationId xmlns:a16="http://schemas.microsoft.com/office/drawing/2014/main" id="{BCD41EC5-9DD4-0855-4DA4-1DE0AAF66A0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4" name="Groep 553">
                <a:extLst>
                  <a:ext uri="{FF2B5EF4-FFF2-40B4-BE49-F238E27FC236}">
                    <a16:creationId xmlns:a16="http://schemas.microsoft.com/office/drawing/2014/main" id="{63CF2465-8EB4-F474-E697-CF68E51CA7D0}"/>
                  </a:ext>
                </a:extLst>
              </p:cNvPr>
              <p:cNvGrpSpPr/>
              <p:nvPr/>
            </p:nvGrpSpPr>
            <p:grpSpPr>
              <a:xfrm>
                <a:off x="9087076" y="1930399"/>
                <a:ext cx="944504" cy="809593"/>
                <a:chOff x="5696016" y="3086100"/>
                <a:chExt cx="800080" cy="685799"/>
              </a:xfrm>
              <a:grpFill/>
            </p:grpSpPr>
            <p:sp>
              <p:nvSpPr>
                <p:cNvPr id="558" name="Vrije vorm: vorm 557">
                  <a:extLst>
                    <a:ext uri="{FF2B5EF4-FFF2-40B4-BE49-F238E27FC236}">
                      <a16:creationId xmlns:a16="http://schemas.microsoft.com/office/drawing/2014/main" id="{28B0711B-F435-A210-CF8D-7345782B6AD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59" name="Vrije vorm: vorm 558">
                  <a:extLst>
                    <a:ext uri="{FF2B5EF4-FFF2-40B4-BE49-F238E27FC236}">
                      <a16:creationId xmlns:a16="http://schemas.microsoft.com/office/drawing/2014/main" id="{DC9582CF-3971-66AE-F607-FA2F5975EDA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5" name="Groep 554">
                <a:extLst>
                  <a:ext uri="{FF2B5EF4-FFF2-40B4-BE49-F238E27FC236}">
                    <a16:creationId xmlns:a16="http://schemas.microsoft.com/office/drawing/2014/main" id="{33B56ED5-0903-82F7-5B80-654944C99B37}"/>
                  </a:ext>
                </a:extLst>
              </p:cNvPr>
              <p:cNvGrpSpPr/>
              <p:nvPr/>
            </p:nvGrpSpPr>
            <p:grpSpPr>
              <a:xfrm>
                <a:off x="10139413" y="1930399"/>
                <a:ext cx="944504" cy="809593"/>
                <a:chOff x="5696016" y="3086100"/>
                <a:chExt cx="800080" cy="685799"/>
              </a:xfrm>
              <a:grpFill/>
            </p:grpSpPr>
            <p:sp>
              <p:nvSpPr>
                <p:cNvPr id="556" name="Vrije vorm: vorm 555">
                  <a:extLst>
                    <a:ext uri="{FF2B5EF4-FFF2-40B4-BE49-F238E27FC236}">
                      <a16:creationId xmlns:a16="http://schemas.microsoft.com/office/drawing/2014/main" id="{0DC4938E-0D23-9A7F-154C-5F59C085B2F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57" name="Vrije vorm: vorm 556">
                  <a:extLst>
                    <a:ext uri="{FF2B5EF4-FFF2-40B4-BE49-F238E27FC236}">
                      <a16:creationId xmlns:a16="http://schemas.microsoft.com/office/drawing/2014/main" id="{97C59306-64FA-9D8E-6BF0-1818AEF3F9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3" name="Groep 452">
              <a:extLst>
                <a:ext uri="{FF2B5EF4-FFF2-40B4-BE49-F238E27FC236}">
                  <a16:creationId xmlns:a16="http://schemas.microsoft.com/office/drawing/2014/main" id="{439CAC69-E877-0367-4CBC-AECE19368AD8}"/>
                </a:ext>
              </a:extLst>
            </p:cNvPr>
            <p:cNvGrpSpPr/>
            <p:nvPr/>
          </p:nvGrpSpPr>
          <p:grpSpPr>
            <a:xfrm>
              <a:off x="649432" y="1456834"/>
              <a:ext cx="2409536" cy="187292"/>
              <a:chOff x="668396" y="1930399"/>
              <a:chExt cx="10415521" cy="809593"/>
            </a:xfrm>
            <a:grpFill/>
          </p:grpSpPr>
          <p:grpSp>
            <p:nvGrpSpPr>
              <p:cNvPr id="516" name="Groep 515">
                <a:extLst>
                  <a:ext uri="{FF2B5EF4-FFF2-40B4-BE49-F238E27FC236}">
                    <a16:creationId xmlns:a16="http://schemas.microsoft.com/office/drawing/2014/main" id="{161DEB4B-4730-F9A3-5189-EFED210C1A75}"/>
                  </a:ext>
                </a:extLst>
              </p:cNvPr>
              <p:cNvGrpSpPr/>
              <p:nvPr/>
            </p:nvGrpSpPr>
            <p:grpSpPr>
              <a:xfrm>
                <a:off x="668396" y="1930399"/>
                <a:ext cx="944504" cy="809593"/>
                <a:chOff x="5696016" y="3086100"/>
                <a:chExt cx="800080" cy="685799"/>
              </a:xfrm>
              <a:grpFill/>
            </p:grpSpPr>
            <p:sp>
              <p:nvSpPr>
                <p:cNvPr id="544" name="Vrije vorm: vorm 543">
                  <a:extLst>
                    <a:ext uri="{FF2B5EF4-FFF2-40B4-BE49-F238E27FC236}">
                      <a16:creationId xmlns:a16="http://schemas.microsoft.com/office/drawing/2014/main" id="{99E4556F-8E41-44ED-BF95-EB80FD4DB1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45" name="Vrije vorm: vorm 544">
                  <a:extLst>
                    <a:ext uri="{FF2B5EF4-FFF2-40B4-BE49-F238E27FC236}">
                      <a16:creationId xmlns:a16="http://schemas.microsoft.com/office/drawing/2014/main" id="{9EC68A2F-B463-41A3-C7C2-8DFA4BD64F2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7" name="Groep 516">
                <a:extLst>
                  <a:ext uri="{FF2B5EF4-FFF2-40B4-BE49-F238E27FC236}">
                    <a16:creationId xmlns:a16="http://schemas.microsoft.com/office/drawing/2014/main" id="{D1F2DDAC-F39B-4296-957F-EF561BE14D16}"/>
                  </a:ext>
                </a:extLst>
              </p:cNvPr>
              <p:cNvGrpSpPr/>
              <p:nvPr/>
            </p:nvGrpSpPr>
            <p:grpSpPr>
              <a:xfrm>
                <a:off x="1720731" y="1930399"/>
                <a:ext cx="944504" cy="809593"/>
                <a:chOff x="5696016" y="3086100"/>
                <a:chExt cx="800080" cy="685799"/>
              </a:xfrm>
              <a:grpFill/>
            </p:grpSpPr>
            <p:sp>
              <p:nvSpPr>
                <p:cNvPr id="542" name="Vrije vorm: vorm 541">
                  <a:extLst>
                    <a:ext uri="{FF2B5EF4-FFF2-40B4-BE49-F238E27FC236}">
                      <a16:creationId xmlns:a16="http://schemas.microsoft.com/office/drawing/2014/main" id="{CAAD14DC-5454-446A-F1E9-1A2F591B2F5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43" name="Vrije vorm: vorm 542">
                  <a:extLst>
                    <a:ext uri="{FF2B5EF4-FFF2-40B4-BE49-F238E27FC236}">
                      <a16:creationId xmlns:a16="http://schemas.microsoft.com/office/drawing/2014/main" id="{2B01A1E1-41DC-40F1-DF9D-C8388FC97C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8" name="Groep 517">
                <a:extLst>
                  <a:ext uri="{FF2B5EF4-FFF2-40B4-BE49-F238E27FC236}">
                    <a16:creationId xmlns:a16="http://schemas.microsoft.com/office/drawing/2014/main" id="{CA5918A6-BEFF-C6AD-97BA-9BA811737D3E}"/>
                  </a:ext>
                </a:extLst>
              </p:cNvPr>
              <p:cNvGrpSpPr/>
              <p:nvPr/>
            </p:nvGrpSpPr>
            <p:grpSpPr>
              <a:xfrm>
                <a:off x="2773066" y="1930399"/>
                <a:ext cx="944504" cy="809593"/>
                <a:chOff x="5696016" y="3086100"/>
                <a:chExt cx="800080" cy="685799"/>
              </a:xfrm>
              <a:grpFill/>
            </p:grpSpPr>
            <p:sp>
              <p:nvSpPr>
                <p:cNvPr id="540" name="Vrije vorm: vorm 539">
                  <a:extLst>
                    <a:ext uri="{FF2B5EF4-FFF2-40B4-BE49-F238E27FC236}">
                      <a16:creationId xmlns:a16="http://schemas.microsoft.com/office/drawing/2014/main" id="{3496CA28-6DA7-9918-6EF5-82D330675C2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41" name="Vrije vorm: vorm 540">
                  <a:extLst>
                    <a:ext uri="{FF2B5EF4-FFF2-40B4-BE49-F238E27FC236}">
                      <a16:creationId xmlns:a16="http://schemas.microsoft.com/office/drawing/2014/main" id="{11464013-273C-EFA2-1ABE-88937719A97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9" name="Groep 518">
                <a:extLst>
                  <a:ext uri="{FF2B5EF4-FFF2-40B4-BE49-F238E27FC236}">
                    <a16:creationId xmlns:a16="http://schemas.microsoft.com/office/drawing/2014/main" id="{9CDE0FC4-6710-50DA-7B36-E52191702A4A}"/>
                  </a:ext>
                </a:extLst>
              </p:cNvPr>
              <p:cNvGrpSpPr/>
              <p:nvPr/>
            </p:nvGrpSpPr>
            <p:grpSpPr>
              <a:xfrm>
                <a:off x="3825401" y="1930399"/>
                <a:ext cx="944504" cy="809593"/>
                <a:chOff x="5696016" y="3086100"/>
                <a:chExt cx="800080" cy="685799"/>
              </a:xfrm>
              <a:grpFill/>
            </p:grpSpPr>
            <p:sp>
              <p:nvSpPr>
                <p:cNvPr id="538" name="Vrije vorm: vorm 537">
                  <a:extLst>
                    <a:ext uri="{FF2B5EF4-FFF2-40B4-BE49-F238E27FC236}">
                      <a16:creationId xmlns:a16="http://schemas.microsoft.com/office/drawing/2014/main" id="{D4D4EA7F-1762-0EFD-8CA9-4AB98FD7C1C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9" name="Vrije vorm: vorm 538">
                  <a:extLst>
                    <a:ext uri="{FF2B5EF4-FFF2-40B4-BE49-F238E27FC236}">
                      <a16:creationId xmlns:a16="http://schemas.microsoft.com/office/drawing/2014/main" id="{C9FB412B-F4C4-5CB3-F74B-BCE7932CED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0" name="Groep 519">
                <a:extLst>
                  <a:ext uri="{FF2B5EF4-FFF2-40B4-BE49-F238E27FC236}">
                    <a16:creationId xmlns:a16="http://schemas.microsoft.com/office/drawing/2014/main" id="{AD8959AD-E23D-676A-0B7C-FB16ED61BA64}"/>
                  </a:ext>
                </a:extLst>
              </p:cNvPr>
              <p:cNvGrpSpPr/>
              <p:nvPr/>
            </p:nvGrpSpPr>
            <p:grpSpPr>
              <a:xfrm>
                <a:off x="4877736" y="1930399"/>
                <a:ext cx="944504" cy="809593"/>
                <a:chOff x="5696016" y="3086100"/>
                <a:chExt cx="800080" cy="685799"/>
              </a:xfrm>
              <a:grpFill/>
            </p:grpSpPr>
            <p:sp>
              <p:nvSpPr>
                <p:cNvPr id="536" name="Vrije vorm: vorm 535">
                  <a:extLst>
                    <a:ext uri="{FF2B5EF4-FFF2-40B4-BE49-F238E27FC236}">
                      <a16:creationId xmlns:a16="http://schemas.microsoft.com/office/drawing/2014/main" id="{7A606C33-A8DF-7AD0-85CB-BEB67E18A6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7" name="Vrije vorm: vorm 536">
                  <a:extLst>
                    <a:ext uri="{FF2B5EF4-FFF2-40B4-BE49-F238E27FC236}">
                      <a16:creationId xmlns:a16="http://schemas.microsoft.com/office/drawing/2014/main" id="{62315355-DD59-1576-BF2B-C2C6927BF21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1" name="Groep 520">
                <a:extLst>
                  <a:ext uri="{FF2B5EF4-FFF2-40B4-BE49-F238E27FC236}">
                    <a16:creationId xmlns:a16="http://schemas.microsoft.com/office/drawing/2014/main" id="{4B3B2D77-5E67-7585-176E-116971C4E793}"/>
                  </a:ext>
                </a:extLst>
              </p:cNvPr>
              <p:cNvGrpSpPr/>
              <p:nvPr/>
            </p:nvGrpSpPr>
            <p:grpSpPr>
              <a:xfrm>
                <a:off x="5930071" y="1930399"/>
                <a:ext cx="944504" cy="809593"/>
                <a:chOff x="5696016" y="3086100"/>
                <a:chExt cx="800080" cy="685799"/>
              </a:xfrm>
              <a:grpFill/>
            </p:grpSpPr>
            <p:sp>
              <p:nvSpPr>
                <p:cNvPr id="534" name="Vrije vorm: vorm 533">
                  <a:extLst>
                    <a:ext uri="{FF2B5EF4-FFF2-40B4-BE49-F238E27FC236}">
                      <a16:creationId xmlns:a16="http://schemas.microsoft.com/office/drawing/2014/main" id="{157B4030-DD8C-0CB4-A4F1-D1DD4616AE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5" name="Vrije vorm: vorm 534">
                  <a:extLst>
                    <a:ext uri="{FF2B5EF4-FFF2-40B4-BE49-F238E27FC236}">
                      <a16:creationId xmlns:a16="http://schemas.microsoft.com/office/drawing/2014/main" id="{05EBC5A3-28FB-F05F-5E7D-CF713C9172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2" name="Groep 521">
                <a:extLst>
                  <a:ext uri="{FF2B5EF4-FFF2-40B4-BE49-F238E27FC236}">
                    <a16:creationId xmlns:a16="http://schemas.microsoft.com/office/drawing/2014/main" id="{8C35D1B5-4BF8-75C0-CF3F-49FF43505AB9}"/>
                  </a:ext>
                </a:extLst>
              </p:cNvPr>
              <p:cNvGrpSpPr/>
              <p:nvPr/>
            </p:nvGrpSpPr>
            <p:grpSpPr>
              <a:xfrm>
                <a:off x="6982406" y="1930399"/>
                <a:ext cx="944504" cy="809593"/>
                <a:chOff x="5696016" y="3086100"/>
                <a:chExt cx="800080" cy="685799"/>
              </a:xfrm>
              <a:grpFill/>
            </p:grpSpPr>
            <p:sp>
              <p:nvSpPr>
                <p:cNvPr id="532" name="Vrije vorm: vorm 531">
                  <a:extLst>
                    <a:ext uri="{FF2B5EF4-FFF2-40B4-BE49-F238E27FC236}">
                      <a16:creationId xmlns:a16="http://schemas.microsoft.com/office/drawing/2014/main" id="{1E7B8FCC-6A12-B303-7E21-2785E9A31D8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3" name="Vrije vorm: vorm 532">
                  <a:extLst>
                    <a:ext uri="{FF2B5EF4-FFF2-40B4-BE49-F238E27FC236}">
                      <a16:creationId xmlns:a16="http://schemas.microsoft.com/office/drawing/2014/main" id="{B56B0BF1-8709-53D4-4CBB-0C5E45FB1F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3" name="Groep 522">
                <a:extLst>
                  <a:ext uri="{FF2B5EF4-FFF2-40B4-BE49-F238E27FC236}">
                    <a16:creationId xmlns:a16="http://schemas.microsoft.com/office/drawing/2014/main" id="{ED2056B9-680C-6B53-B3E5-C515561D375D}"/>
                  </a:ext>
                </a:extLst>
              </p:cNvPr>
              <p:cNvGrpSpPr/>
              <p:nvPr/>
            </p:nvGrpSpPr>
            <p:grpSpPr>
              <a:xfrm>
                <a:off x="8034741" y="1930399"/>
                <a:ext cx="944504" cy="809593"/>
                <a:chOff x="5696016" y="3086100"/>
                <a:chExt cx="800080" cy="685799"/>
              </a:xfrm>
              <a:grpFill/>
            </p:grpSpPr>
            <p:sp>
              <p:nvSpPr>
                <p:cNvPr id="530" name="Vrije vorm: vorm 529">
                  <a:extLst>
                    <a:ext uri="{FF2B5EF4-FFF2-40B4-BE49-F238E27FC236}">
                      <a16:creationId xmlns:a16="http://schemas.microsoft.com/office/drawing/2014/main" id="{77C3BB3B-30DF-39FC-1130-1DF691DC361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1" name="Vrije vorm: vorm 530">
                  <a:extLst>
                    <a:ext uri="{FF2B5EF4-FFF2-40B4-BE49-F238E27FC236}">
                      <a16:creationId xmlns:a16="http://schemas.microsoft.com/office/drawing/2014/main" id="{628BBFEB-3CDF-9C88-81F6-80CF2D3216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4" name="Groep 523">
                <a:extLst>
                  <a:ext uri="{FF2B5EF4-FFF2-40B4-BE49-F238E27FC236}">
                    <a16:creationId xmlns:a16="http://schemas.microsoft.com/office/drawing/2014/main" id="{E68A1ADF-F5BD-C0AF-2B31-8740BD830A68}"/>
                  </a:ext>
                </a:extLst>
              </p:cNvPr>
              <p:cNvGrpSpPr/>
              <p:nvPr/>
            </p:nvGrpSpPr>
            <p:grpSpPr>
              <a:xfrm>
                <a:off x="9087076" y="1930399"/>
                <a:ext cx="944504" cy="809593"/>
                <a:chOff x="5696016" y="3086100"/>
                <a:chExt cx="800080" cy="685799"/>
              </a:xfrm>
              <a:grpFill/>
            </p:grpSpPr>
            <p:sp>
              <p:nvSpPr>
                <p:cNvPr id="528" name="Vrije vorm: vorm 527">
                  <a:extLst>
                    <a:ext uri="{FF2B5EF4-FFF2-40B4-BE49-F238E27FC236}">
                      <a16:creationId xmlns:a16="http://schemas.microsoft.com/office/drawing/2014/main" id="{7BD0A3CC-6854-B0EE-3B35-EE6D9CABD5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29" name="Vrije vorm: vorm 528">
                  <a:extLst>
                    <a:ext uri="{FF2B5EF4-FFF2-40B4-BE49-F238E27FC236}">
                      <a16:creationId xmlns:a16="http://schemas.microsoft.com/office/drawing/2014/main" id="{A654CBC6-9520-C4BC-2A02-5BEBA0471E8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5" name="Groep 524">
                <a:extLst>
                  <a:ext uri="{FF2B5EF4-FFF2-40B4-BE49-F238E27FC236}">
                    <a16:creationId xmlns:a16="http://schemas.microsoft.com/office/drawing/2014/main" id="{87009481-FF7F-2295-43DA-7E7CAEF8DB7C}"/>
                  </a:ext>
                </a:extLst>
              </p:cNvPr>
              <p:cNvGrpSpPr/>
              <p:nvPr/>
            </p:nvGrpSpPr>
            <p:grpSpPr>
              <a:xfrm>
                <a:off x="10139413" y="1930399"/>
                <a:ext cx="944504" cy="809593"/>
                <a:chOff x="5696016" y="3086100"/>
                <a:chExt cx="800080" cy="685799"/>
              </a:xfrm>
              <a:grpFill/>
            </p:grpSpPr>
            <p:sp>
              <p:nvSpPr>
                <p:cNvPr id="526" name="Vrije vorm: vorm 525">
                  <a:extLst>
                    <a:ext uri="{FF2B5EF4-FFF2-40B4-BE49-F238E27FC236}">
                      <a16:creationId xmlns:a16="http://schemas.microsoft.com/office/drawing/2014/main" id="{895872C7-EC6D-9980-2959-6815B62096B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27" name="Vrije vorm: vorm 526">
                  <a:extLst>
                    <a:ext uri="{FF2B5EF4-FFF2-40B4-BE49-F238E27FC236}">
                      <a16:creationId xmlns:a16="http://schemas.microsoft.com/office/drawing/2014/main" id="{42061DD3-5593-8F53-F46A-F58D42706A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4" name="Groep 453">
              <a:extLst>
                <a:ext uri="{FF2B5EF4-FFF2-40B4-BE49-F238E27FC236}">
                  <a16:creationId xmlns:a16="http://schemas.microsoft.com/office/drawing/2014/main" id="{8C47B3EE-4836-EE2B-2373-4FFF85B2E0C0}"/>
                </a:ext>
              </a:extLst>
            </p:cNvPr>
            <p:cNvGrpSpPr/>
            <p:nvPr/>
          </p:nvGrpSpPr>
          <p:grpSpPr>
            <a:xfrm>
              <a:off x="649432" y="1690867"/>
              <a:ext cx="2409536" cy="187292"/>
              <a:chOff x="668396" y="1930399"/>
              <a:chExt cx="10415521" cy="809593"/>
            </a:xfrm>
            <a:grpFill/>
          </p:grpSpPr>
          <p:grpSp>
            <p:nvGrpSpPr>
              <p:cNvPr id="486" name="Groep 485">
                <a:extLst>
                  <a:ext uri="{FF2B5EF4-FFF2-40B4-BE49-F238E27FC236}">
                    <a16:creationId xmlns:a16="http://schemas.microsoft.com/office/drawing/2014/main" id="{F168BCC2-6213-8541-2F87-0CDE7444D153}"/>
                  </a:ext>
                </a:extLst>
              </p:cNvPr>
              <p:cNvGrpSpPr/>
              <p:nvPr/>
            </p:nvGrpSpPr>
            <p:grpSpPr>
              <a:xfrm>
                <a:off x="668396" y="1930399"/>
                <a:ext cx="944504" cy="809593"/>
                <a:chOff x="5696016" y="3086100"/>
                <a:chExt cx="800080" cy="685799"/>
              </a:xfrm>
              <a:grpFill/>
            </p:grpSpPr>
            <p:sp>
              <p:nvSpPr>
                <p:cNvPr id="514" name="Vrije vorm: vorm 513">
                  <a:extLst>
                    <a:ext uri="{FF2B5EF4-FFF2-40B4-BE49-F238E27FC236}">
                      <a16:creationId xmlns:a16="http://schemas.microsoft.com/office/drawing/2014/main" id="{BBDA06FE-1650-9181-A791-03982FAF7C3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15" name="Vrije vorm: vorm 514">
                  <a:extLst>
                    <a:ext uri="{FF2B5EF4-FFF2-40B4-BE49-F238E27FC236}">
                      <a16:creationId xmlns:a16="http://schemas.microsoft.com/office/drawing/2014/main" id="{954772FC-817F-F4A1-A3E7-C778D32831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7" name="Groep 486">
                <a:extLst>
                  <a:ext uri="{FF2B5EF4-FFF2-40B4-BE49-F238E27FC236}">
                    <a16:creationId xmlns:a16="http://schemas.microsoft.com/office/drawing/2014/main" id="{1D823E56-9133-8761-26F9-8F7D576C4747}"/>
                  </a:ext>
                </a:extLst>
              </p:cNvPr>
              <p:cNvGrpSpPr/>
              <p:nvPr/>
            </p:nvGrpSpPr>
            <p:grpSpPr>
              <a:xfrm>
                <a:off x="1720731" y="1930399"/>
                <a:ext cx="944504" cy="809593"/>
                <a:chOff x="5696016" y="3086100"/>
                <a:chExt cx="800080" cy="685799"/>
              </a:xfrm>
              <a:grpFill/>
            </p:grpSpPr>
            <p:sp>
              <p:nvSpPr>
                <p:cNvPr id="512" name="Vrije vorm: vorm 511">
                  <a:extLst>
                    <a:ext uri="{FF2B5EF4-FFF2-40B4-BE49-F238E27FC236}">
                      <a16:creationId xmlns:a16="http://schemas.microsoft.com/office/drawing/2014/main" id="{BC31064F-EC0D-CE5E-F514-86327BC711D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13" name="Vrije vorm: vorm 512">
                  <a:extLst>
                    <a:ext uri="{FF2B5EF4-FFF2-40B4-BE49-F238E27FC236}">
                      <a16:creationId xmlns:a16="http://schemas.microsoft.com/office/drawing/2014/main" id="{98E0A4D2-2123-99DB-A10B-D064F6F6A74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8" name="Groep 487">
                <a:extLst>
                  <a:ext uri="{FF2B5EF4-FFF2-40B4-BE49-F238E27FC236}">
                    <a16:creationId xmlns:a16="http://schemas.microsoft.com/office/drawing/2014/main" id="{EA28A4F4-F518-7C8E-8BD5-E9710AE22711}"/>
                  </a:ext>
                </a:extLst>
              </p:cNvPr>
              <p:cNvGrpSpPr/>
              <p:nvPr/>
            </p:nvGrpSpPr>
            <p:grpSpPr>
              <a:xfrm>
                <a:off x="2773066" y="1930399"/>
                <a:ext cx="944504" cy="809593"/>
                <a:chOff x="5696016" y="3086100"/>
                <a:chExt cx="800080" cy="685799"/>
              </a:xfrm>
              <a:grpFill/>
            </p:grpSpPr>
            <p:sp>
              <p:nvSpPr>
                <p:cNvPr id="510" name="Vrije vorm: vorm 509">
                  <a:extLst>
                    <a:ext uri="{FF2B5EF4-FFF2-40B4-BE49-F238E27FC236}">
                      <a16:creationId xmlns:a16="http://schemas.microsoft.com/office/drawing/2014/main" id="{236BBA6D-B59A-19EA-B12A-6C18A59C968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11" name="Vrije vorm: vorm 510">
                  <a:extLst>
                    <a:ext uri="{FF2B5EF4-FFF2-40B4-BE49-F238E27FC236}">
                      <a16:creationId xmlns:a16="http://schemas.microsoft.com/office/drawing/2014/main" id="{95B2E505-6742-584F-A107-7615BE7486A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9" name="Groep 488">
                <a:extLst>
                  <a:ext uri="{FF2B5EF4-FFF2-40B4-BE49-F238E27FC236}">
                    <a16:creationId xmlns:a16="http://schemas.microsoft.com/office/drawing/2014/main" id="{D06D43F4-C6A4-A120-9E3D-7BE026FA9E37}"/>
                  </a:ext>
                </a:extLst>
              </p:cNvPr>
              <p:cNvGrpSpPr/>
              <p:nvPr/>
            </p:nvGrpSpPr>
            <p:grpSpPr>
              <a:xfrm>
                <a:off x="3825401" y="1930399"/>
                <a:ext cx="944504" cy="809593"/>
                <a:chOff x="5696016" y="3086100"/>
                <a:chExt cx="800080" cy="685799"/>
              </a:xfrm>
              <a:grpFill/>
            </p:grpSpPr>
            <p:sp>
              <p:nvSpPr>
                <p:cNvPr id="508" name="Vrije vorm: vorm 507">
                  <a:extLst>
                    <a:ext uri="{FF2B5EF4-FFF2-40B4-BE49-F238E27FC236}">
                      <a16:creationId xmlns:a16="http://schemas.microsoft.com/office/drawing/2014/main" id="{6DBBA0F2-67C1-06D8-FD2F-B3F83FA6030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9" name="Vrije vorm: vorm 508">
                  <a:extLst>
                    <a:ext uri="{FF2B5EF4-FFF2-40B4-BE49-F238E27FC236}">
                      <a16:creationId xmlns:a16="http://schemas.microsoft.com/office/drawing/2014/main" id="{B5FF989A-44D4-7E11-7CF1-194E08F9739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0" name="Groep 489">
                <a:extLst>
                  <a:ext uri="{FF2B5EF4-FFF2-40B4-BE49-F238E27FC236}">
                    <a16:creationId xmlns:a16="http://schemas.microsoft.com/office/drawing/2014/main" id="{2E964211-3360-6F3F-D463-6F8F016A01F7}"/>
                  </a:ext>
                </a:extLst>
              </p:cNvPr>
              <p:cNvGrpSpPr/>
              <p:nvPr/>
            </p:nvGrpSpPr>
            <p:grpSpPr>
              <a:xfrm>
                <a:off x="4877736" y="1930399"/>
                <a:ext cx="944504" cy="809593"/>
                <a:chOff x="5696016" y="3086100"/>
                <a:chExt cx="800080" cy="685799"/>
              </a:xfrm>
              <a:grpFill/>
            </p:grpSpPr>
            <p:sp>
              <p:nvSpPr>
                <p:cNvPr id="506" name="Vrije vorm: vorm 505">
                  <a:extLst>
                    <a:ext uri="{FF2B5EF4-FFF2-40B4-BE49-F238E27FC236}">
                      <a16:creationId xmlns:a16="http://schemas.microsoft.com/office/drawing/2014/main" id="{1C2FF5BF-41D4-3527-11F4-6F4F855B76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7" name="Vrije vorm: vorm 506">
                  <a:extLst>
                    <a:ext uri="{FF2B5EF4-FFF2-40B4-BE49-F238E27FC236}">
                      <a16:creationId xmlns:a16="http://schemas.microsoft.com/office/drawing/2014/main" id="{06BAFC5F-42BB-5113-B0A1-7BB423A1E78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1" name="Groep 490">
                <a:extLst>
                  <a:ext uri="{FF2B5EF4-FFF2-40B4-BE49-F238E27FC236}">
                    <a16:creationId xmlns:a16="http://schemas.microsoft.com/office/drawing/2014/main" id="{3413A4AF-6A98-9C9F-C759-7D50A3CF1A2A}"/>
                  </a:ext>
                </a:extLst>
              </p:cNvPr>
              <p:cNvGrpSpPr/>
              <p:nvPr/>
            </p:nvGrpSpPr>
            <p:grpSpPr>
              <a:xfrm>
                <a:off x="5930071" y="1930399"/>
                <a:ext cx="944504" cy="809593"/>
                <a:chOff x="5696016" y="3086100"/>
                <a:chExt cx="800080" cy="685799"/>
              </a:xfrm>
              <a:grpFill/>
            </p:grpSpPr>
            <p:sp>
              <p:nvSpPr>
                <p:cNvPr id="504" name="Vrije vorm: vorm 503">
                  <a:extLst>
                    <a:ext uri="{FF2B5EF4-FFF2-40B4-BE49-F238E27FC236}">
                      <a16:creationId xmlns:a16="http://schemas.microsoft.com/office/drawing/2014/main" id="{B93643F2-E25B-446A-40D8-A011C8D1696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5" name="Vrije vorm: vorm 504">
                  <a:extLst>
                    <a:ext uri="{FF2B5EF4-FFF2-40B4-BE49-F238E27FC236}">
                      <a16:creationId xmlns:a16="http://schemas.microsoft.com/office/drawing/2014/main" id="{1DEC8DD8-B270-3054-716F-6884DEAF1A1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2" name="Groep 491">
                <a:extLst>
                  <a:ext uri="{FF2B5EF4-FFF2-40B4-BE49-F238E27FC236}">
                    <a16:creationId xmlns:a16="http://schemas.microsoft.com/office/drawing/2014/main" id="{933230D5-2149-A863-D689-CD75B8D78BC0}"/>
                  </a:ext>
                </a:extLst>
              </p:cNvPr>
              <p:cNvGrpSpPr/>
              <p:nvPr/>
            </p:nvGrpSpPr>
            <p:grpSpPr>
              <a:xfrm>
                <a:off x="6982406" y="1930399"/>
                <a:ext cx="944504" cy="809593"/>
                <a:chOff x="5696016" y="3086100"/>
                <a:chExt cx="800080" cy="685799"/>
              </a:xfrm>
              <a:grpFill/>
            </p:grpSpPr>
            <p:sp>
              <p:nvSpPr>
                <p:cNvPr id="502" name="Vrije vorm: vorm 501">
                  <a:extLst>
                    <a:ext uri="{FF2B5EF4-FFF2-40B4-BE49-F238E27FC236}">
                      <a16:creationId xmlns:a16="http://schemas.microsoft.com/office/drawing/2014/main" id="{04C86749-BF45-3BA0-B180-189A0E17D4F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3" name="Vrije vorm: vorm 502">
                  <a:extLst>
                    <a:ext uri="{FF2B5EF4-FFF2-40B4-BE49-F238E27FC236}">
                      <a16:creationId xmlns:a16="http://schemas.microsoft.com/office/drawing/2014/main" id="{E5BC7D72-6105-76FC-65D6-BF707BB7CB6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3" name="Groep 492">
                <a:extLst>
                  <a:ext uri="{FF2B5EF4-FFF2-40B4-BE49-F238E27FC236}">
                    <a16:creationId xmlns:a16="http://schemas.microsoft.com/office/drawing/2014/main" id="{E7DC862A-8A20-1C10-7DBA-25EF0FD710C4}"/>
                  </a:ext>
                </a:extLst>
              </p:cNvPr>
              <p:cNvGrpSpPr/>
              <p:nvPr/>
            </p:nvGrpSpPr>
            <p:grpSpPr>
              <a:xfrm>
                <a:off x="8034741" y="1930399"/>
                <a:ext cx="944504" cy="809593"/>
                <a:chOff x="5696016" y="3086100"/>
                <a:chExt cx="800080" cy="685799"/>
              </a:xfrm>
              <a:grpFill/>
            </p:grpSpPr>
            <p:sp>
              <p:nvSpPr>
                <p:cNvPr id="500" name="Vrije vorm: vorm 499">
                  <a:extLst>
                    <a:ext uri="{FF2B5EF4-FFF2-40B4-BE49-F238E27FC236}">
                      <a16:creationId xmlns:a16="http://schemas.microsoft.com/office/drawing/2014/main" id="{C5BCC3FD-CF1D-4055-2ECE-91A220B6361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1" name="Vrije vorm: vorm 500">
                  <a:extLst>
                    <a:ext uri="{FF2B5EF4-FFF2-40B4-BE49-F238E27FC236}">
                      <a16:creationId xmlns:a16="http://schemas.microsoft.com/office/drawing/2014/main" id="{C9D1C3E7-CED2-6ED6-BBCE-A922FA1A0B6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4" name="Groep 493">
                <a:extLst>
                  <a:ext uri="{FF2B5EF4-FFF2-40B4-BE49-F238E27FC236}">
                    <a16:creationId xmlns:a16="http://schemas.microsoft.com/office/drawing/2014/main" id="{B90E22DC-2A1C-B055-B35C-41A5FDB3985E}"/>
                  </a:ext>
                </a:extLst>
              </p:cNvPr>
              <p:cNvGrpSpPr/>
              <p:nvPr/>
            </p:nvGrpSpPr>
            <p:grpSpPr>
              <a:xfrm>
                <a:off x="9087076" y="1930399"/>
                <a:ext cx="944504" cy="809593"/>
                <a:chOff x="5696016" y="3086100"/>
                <a:chExt cx="800080" cy="685799"/>
              </a:xfrm>
              <a:grpFill/>
            </p:grpSpPr>
            <p:sp>
              <p:nvSpPr>
                <p:cNvPr id="498" name="Vrije vorm: vorm 497">
                  <a:extLst>
                    <a:ext uri="{FF2B5EF4-FFF2-40B4-BE49-F238E27FC236}">
                      <a16:creationId xmlns:a16="http://schemas.microsoft.com/office/drawing/2014/main" id="{C902AD2C-EEDC-3333-696E-2BF9A7462D2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99" name="Vrije vorm: vorm 498">
                  <a:extLst>
                    <a:ext uri="{FF2B5EF4-FFF2-40B4-BE49-F238E27FC236}">
                      <a16:creationId xmlns:a16="http://schemas.microsoft.com/office/drawing/2014/main" id="{C95A41BB-6432-AC78-FAD4-B3B4D5EFF95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5" name="Groep 494">
                <a:extLst>
                  <a:ext uri="{FF2B5EF4-FFF2-40B4-BE49-F238E27FC236}">
                    <a16:creationId xmlns:a16="http://schemas.microsoft.com/office/drawing/2014/main" id="{8A909F79-CC3A-EAF0-1BA7-F59D63483E6C}"/>
                  </a:ext>
                </a:extLst>
              </p:cNvPr>
              <p:cNvGrpSpPr/>
              <p:nvPr/>
            </p:nvGrpSpPr>
            <p:grpSpPr>
              <a:xfrm>
                <a:off x="10139413" y="1930399"/>
                <a:ext cx="944504" cy="809593"/>
                <a:chOff x="5696016" y="3086100"/>
                <a:chExt cx="800080" cy="685799"/>
              </a:xfrm>
              <a:grpFill/>
            </p:grpSpPr>
            <p:sp>
              <p:nvSpPr>
                <p:cNvPr id="496" name="Vrije vorm: vorm 495">
                  <a:extLst>
                    <a:ext uri="{FF2B5EF4-FFF2-40B4-BE49-F238E27FC236}">
                      <a16:creationId xmlns:a16="http://schemas.microsoft.com/office/drawing/2014/main" id="{8C759AD3-1A77-B5F7-E5AB-E3A2A34B763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97" name="Vrije vorm: vorm 496">
                  <a:extLst>
                    <a:ext uri="{FF2B5EF4-FFF2-40B4-BE49-F238E27FC236}">
                      <a16:creationId xmlns:a16="http://schemas.microsoft.com/office/drawing/2014/main" id="{E1898430-458B-3DAE-C023-64C8C1465C5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5" name="Groep 454">
              <a:extLst>
                <a:ext uri="{FF2B5EF4-FFF2-40B4-BE49-F238E27FC236}">
                  <a16:creationId xmlns:a16="http://schemas.microsoft.com/office/drawing/2014/main" id="{4C793FA6-06B8-0179-E821-719E31BA20AD}"/>
                </a:ext>
              </a:extLst>
            </p:cNvPr>
            <p:cNvGrpSpPr/>
            <p:nvPr/>
          </p:nvGrpSpPr>
          <p:grpSpPr>
            <a:xfrm>
              <a:off x="649432" y="1924901"/>
              <a:ext cx="2409536" cy="187292"/>
              <a:chOff x="668396" y="1930399"/>
              <a:chExt cx="10415521" cy="809593"/>
            </a:xfrm>
            <a:grpFill/>
          </p:grpSpPr>
          <p:grpSp>
            <p:nvGrpSpPr>
              <p:cNvPr id="456" name="Groep 455">
                <a:extLst>
                  <a:ext uri="{FF2B5EF4-FFF2-40B4-BE49-F238E27FC236}">
                    <a16:creationId xmlns:a16="http://schemas.microsoft.com/office/drawing/2014/main" id="{4C0CE76B-2133-9B30-B67D-927F23E0B178}"/>
                  </a:ext>
                </a:extLst>
              </p:cNvPr>
              <p:cNvGrpSpPr/>
              <p:nvPr/>
            </p:nvGrpSpPr>
            <p:grpSpPr>
              <a:xfrm>
                <a:off x="668396" y="1930399"/>
                <a:ext cx="944504" cy="809593"/>
                <a:chOff x="5696016" y="3086100"/>
                <a:chExt cx="800080" cy="685799"/>
              </a:xfrm>
              <a:grpFill/>
            </p:grpSpPr>
            <p:sp>
              <p:nvSpPr>
                <p:cNvPr id="484" name="Vrije vorm: vorm 483">
                  <a:extLst>
                    <a:ext uri="{FF2B5EF4-FFF2-40B4-BE49-F238E27FC236}">
                      <a16:creationId xmlns:a16="http://schemas.microsoft.com/office/drawing/2014/main" id="{54BCDFA6-047E-1CB1-D1F4-CB6BCEA87AC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85" name="Vrije vorm: vorm 484">
                  <a:extLst>
                    <a:ext uri="{FF2B5EF4-FFF2-40B4-BE49-F238E27FC236}">
                      <a16:creationId xmlns:a16="http://schemas.microsoft.com/office/drawing/2014/main" id="{1FFC1E6E-738E-E541-52D1-58CABD70D98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57" name="Groep 456">
                <a:extLst>
                  <a:ext uri="{FF2B5EF4-FFF2-40B4-BE49-F238E27FC236}">
                    <a16:creationId xmlns:a16="http://schemas.microsoft.com/office/drawing/2014/main" id="{DF592BFC-F484-AAA9-E32F-86B351AF99A0}"/>
                  </a:ext>
                </a:extLst>
              </p:cNvPr>
              <p:cNvGrpSpPr/>
              <p:nvPr/>
            </p:nvGrpSpPr>
            <p:grpSpPr>
              <a:xfrm>
                <a:off x="1720731" y="1930399"/>
                <a:ext cx="944504" cy="809593"/>
                <a:chOff x="5696016" y="3086100"/>
                <a:chExt cx="800080" cy="685799"/>
              </a:xfrm>
              <a:grpFill/>
            </p:grpSpPr>
            <p:sp>
              <p:nvSpPr>
                <p:cNvPr id="482" name="Vrije vorm: vorm 481">
                  <a:extLst>
                    <a:ext uri="{FF2B5EF4-FFF2-40B4-BE49-F238E27FC236}">
                      <a16:creationId xmlns:a16="http://schemas.microsoft.com/office/drawing/2014/main" id="{6527A9FD-315B-C585-347A-2B98F5869BA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83" name="Vrije vorm: vorm 482">
                  <a:extLst>
                    <a:ext uri="{FF2B5EF4-FFF2-40B4-BE49-F238E27FC236}">
                      <a16:creationId xmlns:a16="http://schemas.microsoft.com/office/drawing/2014/main" id="{AB541478-233A-2276-EC6C-9AD951A52DD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58" name="Groep 457">
                <a:extLst>
                  <a:ext uri="{FF2B5EF4-FFF2-40B4-BE49-F238E27FC236}">
                    <a16:creationId xmlns:a16="http://schemas.microsoft.com/office/drawing/2014/main" id="{BC2CF5AF-AE57-A1E5-8818-76DD4BDE360C}"/>
                  </a:ext>
                </a:extLst>
              </p:cNvPr>
              <p:cNvGrpSpPr/>
              <p:nvPr/>
            </p:nvGrpSpPr>
            <p:grpSpPr>
              <a:xfrm>
                <a:off x="2773066" y="1930399"/>
                <a:ext cx="944504" cy="809593"/>
                <a:chOff x="5696016" y="3086100"/>
                <a:chExt cx="800080" cy="685799"/>
              </a:xfrm>
              <a:grpFill/>
            </p:grpSpPr>
            <p:sp>
              <p:nvSpPr>
                <p:cNvPr id="480" name="Vrije vorm: vorm 479">
                  <a:extLst>
                    <a:ext uri="{FF2B5EF4-FFF2-40B4-BE49-F238E27FC236}">
                      <a16:creationId xmlns:a16="http://schemas.microsoft.com/office/drawing/2014/main" id="{79787F9C-8D47-D749-08A4-42C8F3F4833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81" name="Vrije vorm: vorm 480">
                  <a:extLst>
                    <a:ext uri="{FF2B5EF4-FFF2-40B4-BE49-F238E27FC236}">
                      <a16:creationId xmlns:a16="http://schemas.microsoft.com/office/drawing/2014/main" id="{74E0E935-2315-0185-14F1-448181FF6C8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59" name="Groep 458">
                <a:extLst>
                  <a:ext uri="{FF2B5EF4-FFF2-40B4-BE49-F238E27FC236}">
                    <a16:creationId xmlns:a16="http://schemas.microsoft.com/office/drawing/2014/main" id="{85A3FE83-AC5C-01CB-AEB6-73D7AA435CDE}"/>
                  </a:ext>
                </a:extLst>
              </p:cNvPr>
              <p:cNvGrpSpPr/>
              <p:nvPr/>
            </p:nvGrpSpPr>
            <p:grpSpPr>
              <a:xfrm>
                <a:off x="3825401" y="1930399"/>
                <a:ext cx="944504" cy="809593"/>
                <a:chOff x="5696016" y="3086100"/>
                <a:chExt cx="800080" cy="685799"/>
              </a:xfrm>
              <a:grpFill/>
            </p:grpSpPr>
            <p:sp>
              <p:nvSpPr>
                <p:cNvPr id="478" name="Vrije vorm: vorm 477">
                  <a:extLst>
                    <a:ext uri="{FF2B5EF4-FFF2-40B4-BE49-F238E27FC236}">
                      <a16:creationId xmlns:a16="http://schemas.microsoft.com/office/drawing/2014/main" id="{3AE70C21-B8EB-D677-A325-8A8874E072D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9" name="Vrije vorm: vorm 478">
                  <a:extLst>
                    <a:ext uri="{FF2B5EF4-FFF2-40B4-BE49-F238E27FC236}">
                      <a16:creationId xmlns:a16="http://schemas.microsoft.com/office/drawing/2014/main" id="{BA297349-99D7-82B4-7BD7-D3C73EBC9E5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0" name="Groep 459">
                <a:extLst>
                  <a:ext uri="{FF2B5EF4-FFF2-40B4-BE49-F238E27FC236}">
                    <a16:creationId xmlns:a16="http://schemas.microsoft.com/office/drawing/2014/main" id="{57605349-9302-674C-101A-B7498DA992C8}"/>
                  </a:ext>
                </a:extLst>
              </p:cNvPr>
              <p:cNvGrpSpPr/>
              <p:nvPr/>
            </p:nvGrpSpPr>
            <p:grpSpPr>
              <a:xfrm>
                <a:off x="4877736" y="1930399"/>
                <a:ext cx="944504" cy="809593"/>
                <a:chOff x="5696016" y="3086100"/>
                <a:chExt cx="800080" cy="685799"/>
              </a:xfrm>
              <a:grpFill/>
            </p:grpSpPr>
            <p:sp>
              <p:nvSpPr>
                <p:cNvPr id="476" name="Vrije vorm: vorm 475">
                  <a:extLst>
                    <a:ext uri="{FF2B5EF4-FFF2-40B4-BE49-F238E27FC236}">
                      <a16:creationId xmlns:a16="http://schemas.microsoft.com/office/drawing/2014/main" id="{A2084892-E77F-F1D3-BAB0-AA773C127CD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7" name="Vrije vorm: vorm 476">
                  <a:extLst>
                    <a:ext uri="{FF2B5EF4-FFF2-40B4-BE49-F238E27FC236}">
                      <a16:creationId xmlns:a16="http://schemas.microsoft.com/office/drawing/2014/main" id="{0F1645C5-2A7A-488F-71B3-67AB9387B0F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1" name="Groep 460">
                <a:extLst>
                  <a:ext uri="{FF2B5EF4-FFF2-40B4-BE49-F238E27FC236}">
                    <a16:creationId xmlns:a16="http://schemas.microsoft.com/office/drawing/2014/main" id="{6C863287-7A54-67EA-1E11-3BAE9263DDA1}"/>
                  </a:ext>
                </a:extLst>
              </p:cNvPr>
              <p:cNvGrpSpPr/>
              <p:nvPr/>
            </p:nvGrpSpPr>
            <p:grpSpPr>
              <a:xfrm>
                <a:off x="5930071" y="1930399"/>
                <a:ext cx="944504" cy="809593"/>
                <a:chOff x="5696016" y="3086100"/>
                <a:chExt cx="800080" cy="685799"/>
              </a:xfrm>
              <a:grpFill/>
            </p:grpSpPr>
            <p:sp>
              <p:nvSpPr>
                <p:cNvPr id="474" name="Vrije vorm: vorm 473">
                  <a:extLst>
                    <a:ext uri="{FF2B5EF4-FFF2-40B4-BE49-F238E27FC236}">
                      <a16:creationId xmlns:a16="http://schemas.microsoft.com/office/drawing/2014/main" id="{5B79494A-7013-1311-53D8-30CE5BCA32C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5" name="Vrije vorm: vorm 474">
                  <a:extLst>
                    <a:ext uri="{FF2B5EF4-FFF2-40B4-BE49-F238E27FC236}">
                      <a16:creationId xmlns:a16="http://schemas.microsoft.com/office/drawing/2014/main" id="{C5152D7D-03A2-66AE-C121-FB60EC4350A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2" name="Groep 461">
                <a:extLst>
                  <a:ext uri="{FF2B5EF4-FFF2-40B4-BE49-F238E27FC236}">
                    <a16:creationId xmlns:a16="http://schemas.microsoft.com/office/drawing/2014/main" id="{EF5041DC-1EE5-1D72-277D-AE10A0213CED}"/>
                  </a:ext>
                </a:extLst>
              </p:cNvPr>
              <p:cNvGrpSpPr/>
              <p:nvPr/>
            </p:nvGrpSpPr>
            <p:grpSpPr>
              <a:xfrm>
                <a:off x="6982406" y="1930399"/>
                <a:ext cx="944504" cy="809593"/>
                <a:chOff x="5696016" y="3086100"/>
                <a:chExt cx="800080" cy="685799"/>
              </a:xfrm>
              <a:grpFill/>
            </p:grpSpPr>
            <p:sp>
              <p:nvSpPr>
                <p:cNvPr id="472" name="Vrije vorm: vorm 471">
                  <a:extLst>
                    <a:ext uri="{FF2B5EF4-FFF2-40B4-BE49-F238E27FC236}">
                      <a16:creationId xmlns:a16="http://schemas.microsoft.com/office/drawing/2014/main" id="{43B1DF2C-B59E-D32A-A5D9-DD96366F27B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3" name="Vrije vorm: vorm 472">
                  <a:extLst>
                    <a:ext uri="{FF2B5EF4-FFF2-40B4-BE49-F238E27FC236}">
                      <a16:creationId xmlns:a16="http://schemas.microsoft.com/office/drawing/2014/main" id="{E9B234AE-7021-EB53-475E-6DA2AE83378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3" name="Groep 462">
                <a:extLst>
                  <a:ext uri="{FF2B5EF4-FFF2-40B4-BE49-F238E27FC236}">
                    <a16:creationId xmlns:a16="http://schemas.microsoft.com/office/drawing/2014/main" id="{98F77E18-7D5D-376F-898F-27EBBB4F16A9}"/>
                  </a:ext>
                </a:extLst>
              </p:cNvPr>
              <p:cNvGrpSpPr/>
              <p:nvPr/>
            </p:nvGrpSpPr>
            <p:grpSpPr>
              <a:xfrm>
                <a:off x="8034741" y="1930399"/>
                <a:ext cx="944504" cy="809593"/>
                <a:chOff x="5696016" y="3086100"/>
                <a:chExt cx="800080" cy="685799"/>
              </a:xfrm>
              <a:grpFill/>
            </p:grpSpPr>
            <p:sp>
              <p:nvSpPr>
                <p:cNvPr id="470" name="Vrije vorm: vorm 469">
                  <a:extLst>
                    <a:ext uri="{FF2B5EF4-FFF2-40B4-BE49-F238E27FC236}">
                      <a16:creationId xmlns:a16="http://schemas.microsoft.com/office/drawing/2014/main" id="{67E894A4-EF5D-EDA4-F9DC-4CAE09626DC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1" name="Vrije vorm: vorm 470">
                  <a:extLst>
                    <a:ext uri="{FF2B5EF4-FFF2-40B4-BE49-F238E27FC236}">
                      <a16:creationId xmlns:a16="http://schemas.microsoft.com/office/drawing/2014/main" id="{C6A65556-23E4-1C4A-E7D1-AFCA161346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4" name="Groep 463">
                <a:extLst>
                  <a:ext uri="{FF2B5EF4-FFF2-40B4-BE49-F238E27FC236}">
                    <a16:creationId xmlns:a16="http://schemas.microsoft.com/office/drawing/2014/main" id="{9AF42F57-8157-75C3-211E-C2EA96161CA9}"/>
                  </a:ext>
                </a:extLst>
              </p:cNvPr>
              <p:cNvGrpSpPr/>
              <p:nvPr/>
            </p:nvGrpSpPr>
            <p:grpSpPr>
              <a:xfrm>
                <a:off x="9087076" y="1930399"/>
                <a:ext cx="944504" cy="809593"/>
                <a:chOff x="5696016" y="3086100"/>
                <a:chExt cx="800080" cy="685799"/>
              </a:xfrm>
              <a:grpFill/>
            </p:grpSpPr>
            <p:sp>
              <p:nvSpPr>
                <p:cNvPr id="468" name="Vrije vorm: vorm 467">
                  <a:extLst>
                    <a:ext uri="{FF2B5EF4-FFF2-40B4-BE49-F238E27FC236}">
                      <a16:creationId xmlns:a16="http://schemas.microsoft.com/office/drawing/2014/main" id="{BD377B62-1BE8-2AE6-F281-A40A6BEE467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69" name="Vrije vorm: vorm 468">
                  <a:extLst>
                    <a:ext uri="{FF2B5EF4-FFF2-40B4-BE49-F238E27FC236}">
                      <a16:creationId xmlns:a16="http://schemas.microsoft.com/office/drawing/2014/main" id="{4309F63C-18D1-7FE1-6C82-D78C80D80CF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5" name="Groep 464">
                <a:extLst>
                  <a:ext uri="{FF2B5EF4-FFF2-40B4-BE49-F238E27FC236}">
                    <a16:creationId xmlns:a16="http://schemas.microsoft.com/office/drawing/2014/main" id="{B3F9B5A5-2614-1107-16C2-ED45F1591B3B}"/>
                  </a:ext>
                </a:extLst>
              </p:cNvPr>
              <p:cNvGrpSpPr/>
              <p:nvPr/>
            </p:nvGrpSpPr>
            <p:grpSpPr>
              <a:xfrm>
                <a:off x="10139413" y="1930399"/>
                <a:ext cx="944504" cy="809593"/>
                <a:chOff x="5696016" y="3086100"/>
                <a:chExt cx="800080" cy="685799"/>
              </a:xfrm>
              <a:grpFill/>
            </p:grpSpPr>
            <p:sp>
              <p:nvSpPr>
                <p:cNvPr id="466" name="Vrije vorm: vorm 465">
                  <a:extLst>
                    <a:ext uri="{FF2B5EF4-FFF2-40B4-BE49-F238E27FC236}">
                      <a16:creationId xmlns:a16="http://schemas.microsoft.com/office/drawing/2014/main" id="{91B3F3F2-B229-3FE1-8F66-3D334C6EA6C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67" name="Vrije vorm: vorm 466">
                  <a:extLst>
                    <a:ext uri="{FF2B5EF4-FFF2-40B4-BE49-F238E27FC236}">
                      <a16:creationId xmlns:a16="http://schemas.microsoft.com/office/drawing/2014/main" id="{47D5687E-9D1E-2FF9-0190-FB602A46665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666" name="Groep 665">
            <a:extLst>
              <a:ext uri="{FF2B5EF4-FFF2-40B4-BE49-F238E27FC236}">
                <a16:creationId xmlns:a16="http://schemas.microsoft.com/office/drawing/2014/main" id="{80FE213C-BB36-9E05-D242-B65A3C89BAB6}"/>
              </a:ext>
            </a:extLst>
          </p:cNvPr>
          <p:cNvGrpSpPr/>
          <p:nvPr/>
        </p:nvGrpSpPr>
        <p:grpSpPr>
          <a:xfrm>
            <a:off x="5907616" y="3806875"/>
            <a:ext cx="2590164" cy="1710798"/>
            <a:chOff x="649432" y="520700"/>
            <a:chExt cx="2409536" cy="1591493"/>
          </a:xfrm>
          <a:solidFill>
            <a:schemeClr val="accent2"/>
          </a:solidFill>
        </p:grpSpPr>
        <p:grpSp>
          <p:nvGrpSpPr>
            <p:cNvPr id="667" name="Groep 666">
              <a:extLst>
                <a:ext uri="{FF2B5EF4-FFF2-40B4-BE49-F238E27FC236}">
                  <a16:creationId xmlns:a16="http://schemas.microsoft.com/office/drawing/2014/main" id="{E71E111D-D62D-3E92-8E95-C2D8592B2EEF}"/>
                </a:ext>
              </a:extLst>
            </p:cNvPr>
            <p:cNvGrpSpPr/>
            <p:nvPr/>
          </p:nvGrpSpPr>
          <p:grpSpPr>
            <a:xfrm>
              <a:off x="649432" y="520700"/>
              <a:ext cx="2409536" cy="187292"/>
              <a:chOff x="668396" y="1930399"/>
              <a:chExt cx="10415521" cy="809593"/>
            </a:xfrm>
            <a:grpFill/>
          </p:grpSpPr>
          <p:grpSp>
            <p:nvGrpSpPr>
              <p:cNvPr id="854" name="Groep 853">
                <a:extLst>
                  <a:ext uri="{FF2B5EF4-FFF2-40B4-BE49-F238E27FC236}">
                    <a16:creationId xmlns:a16="http://schemas.microsoft.com/office/drawing/2014/main" id="{B9D507DC-C1FF-B7C0-2533-AAC6F6E4D883}"/>
                  </a:ext>
                </a:extLst>
              </p:cNvPr>
              <p:cNvGrpSpPr/>
              <p:nvPr/>
            </p:nvGrpSpPr>
            <p:grpSpPr>
              <a:xfrm>
                <a:off x="668396" y="1930399"/>
                <a:ext cx="944504" cy="809593"/>
                <a:chOff x="5696016" y="3086100"/>
                <a:chExt cx="800080" cy="685799"/>
              </a:xfrm>
              <a:grpFill/>
            </p:grpSpPr>
            <p:sp>
              <p:nvSpPr>
                <p:cNvPr id="882" name="Vrije vorm: vorm 881">
                  <a:extLst>
                    <a:ext uri="{FF2B5EF4-FFF2-40B4-BE49-F238E27FC236}">
                      <a16:creationId xmlns:a16="http://schemas.microsoft.com/office/drawing/2014/main" id="{BC3D15BB-916F-7DD7-D973-EE92162725E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83" name="Vrije vorm: vorm 882">
                  <a:extLst>
                    <a:ext uri="{FF2B5EF4-FFF2-40B4-BE49-F238E27FC236}">
                      <a16:creationId xmlns:a16="http://schemas.microsoft.com/office/drawing/2014/main" id="{AEBF17D7-5DC6-4BD8-5D31-67F62E53282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5" name="Groep 854">
                <a:extLst>
                  <a:ext uri="{FF2B5EF4-FFF2-40B4-BE49-F238E27FC236}">
                    <a16:creationId xmlns:a16="http://schemas.microsoft.com/office/drawing/2014/main" id="{276C7C04-FD2D-9C6A-C890-735F2798445A}"/>
                  </a:ext>
                </a:extLst>
              </p:cNvPr>
              <p:cNvGrpSpPr/>
              <p:nvPr/>
            </p:nvGrpSpPr>
            <p:grpSpPr>
              <a:xfrm>
                <a:off x="1720731" y="1930399"/>
                <a:ext cx="944504" cy="809593"/>
                <a:chOff x="5696016" y="3086100"/>
                <a:chExt cx="800080" cy="685799"/>
              </a:xfrm>
              <a:grpFill/>
            </p:grpSpPr>
            <p:sp>
              <p:nvSpPr>
                <p:cNvPr id="880" name="Vrije vorm: vorm 879">
                  <a:extLst>
                    <a:ext uri="{FF2B5EF4-FFF2-40B4-BE49-F238E27FC236}">
                      <a16:creationId xmlns:a16="http://schemas.microsoft.com/office/drawing/2014/main" id="{163CBF07-D02C-9AD2-06C0-E366D937A47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81" name="Vrije vorm: vorm 880">
                  <a:extLst>
                    <a:ext uri="{FF2B5EF4-FFF2-40B4-BE49-F238E27FC236}">
                      <a16:creationId xmlns:a16="http://schemas.microsoft.com/office/drawing/2014/main" id="{8633EACB-9D3F-B350-9B5F-B19B41D824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6" name="Groep 855">
                <a:extLst>
                  <a:ext uri="{FF2B5EF4-FFF2-40B4-BE49-F238E27FC236}">
                    <a16:creationId xmlns:a16="http://schemas.microsoft.com/office/drawing/2014/main" id="{34A6E393-0181-EB66-9933-3DA90FC6916F}"/>
                  </a:ext>
                </a:extLst>
              </p:cNvPr>
              <p:cNvGrpSpPr/>
              <p:nvPr/>
            </p:nvGrpSpPr>
            <p:grpSpPr>
              <a:xfrm>
                <a:off x="2773066" y="1930399"/>
                <a:ext cx="944504" cy="809593"/>
                <a:chOff x="5696016" y="3086100"/>
                <a:chExt cx="800080" cy="685799"/>
              </a:xfrm>
              <a:grpFill/>
            </p:grpSpPr>
            <p:sp>
              <p:nvSpPr>
                <p:cNvPr id="878" name="Vrije vorm: vorm 877">
                  <a:extLst>
                    <a:ext uri="{FF2B5EF4-FFF2-40B4-BE49-F238E27FC236}">
                      <a16:creationId xmlns:a16="http://schemas.microsoft.com/office/drawing/2014/main" id="{BF162018-B34C-C23F-6E79-5CC0F350A58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9" name="Vrije vorm: vorm 878">
                  <a:extLst>
                    <a:ext uri="{FF2B5EF4-FFF2-40B4-BE49-F238E27FC236}">
                      <a16:creationId xmlns:a16="http://schemas.microsoft.com/office/drawing/2014/main" id="{94DB0DF7-6015-58B7-0C17-1B275BA7076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7" name="Groep 856">
                <a:extLst>
                  <a:ext uri="{FF2B5EF4-FFF2-40B4-BE49-F238E27FC236}">
                    <a16:creationId xmlns:a16="http://schemas.microsoft.com/office/drawing/2014/main" id="{E01DD653-8A6D-A57A-C8FE-678D5F3EB63D}"/>
                  </a:ext>
                </a:extLst>
              </p:cNvPr>
              <p:cNvGrpSpPr/>
              <p:nvPr/>
            </p:nvGrpSpPr>
            <p:grpSpPr>
              <a:xfrm>
                <a:off x="3825401" y="1930399"/>
                <a:ext cx="944504" cy="809593"/>
                <a:chOff x="5696016" y="3086100"/>
                <a:chExt cx="800080" cy="685799"/>
              </a:xfrm>
              <a:grpFill/>
            </p:grpSpPr>
            <p:sp>
              <p:nvSpPr>
                <p:cNvPr id="876" name="Vrije vorm: vorm 875">
                  <a:extLst>
                    <a:ext uri="{FF2B5EF4-FFF2-40B4-BE49-F238E27FC236}">
                      <a16:creationId xmlns:a16="http://schemas.microsoft.com/office/drawing/2014/main" id="{A041B7A1-A6B6-465B-F4DF-9F9809D5DE6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7" name="Vrije vorm: vorm 876">
                  <a:extLst>
                    <a:ext uri="{FF2B5EF4-FFF2-40B4-BE49-F238E27FC236}">
                      <a16:creationId xmlns:a16="http://schemas.microsoft.com/office/drawing/2014/main" id="{DA2E04A0-A232-F967-EE21-284B1E0D5EC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8" name="Groep 857">
                <a:extLst>
                  <a:ext uri="{FF2B5EF4-FFF2-40B4-BE49-F238E27FC236}">
                    <a16:creationId xmlns:a16="http://schemas.microsoft.com/office/drawing/2014/main" id="{8555C5FC-B480-1E73-32CB-1A339D1185D0}"/>
                  </a:ext>
                </a:extLst>
              </p:cNvPr>
              <p:cNvGrpSpPr/>
              <p:nvPr/>
            </p:nvGrpSpPr>
            <p:grpSpPr>
              <a:xfrm>
                <a:off x="4877736" y="1930399"/>
                <a:ext cx="944504" cy="809593"/>
                <a:chOff x="5696016" y="3086100"/>
                <a:chExt cx="800080" cy="685799"/>
              </a:xfrm>
              <a:grpFill/>
            </p:grpSpPr>
            <p:sp>
              <p:nvSpPr>
                <p:cNvPr id="874" name="Vrije vorm: vorm 873">
                  <a:extLst>
                    <a:ext uri="{FF2B5EF4-FFF2-40B4-BE49-F238E27FC236}">
                      <a16:creationId xmlns:a16="http://schemas.microsoft.com/office/drawing/2014/main" id="{468A9F36-5504-EBD7-4E98-60A93A7349C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5" name="Vrije vorm: vorm 874">
                  <a:extLst>
                    <a:ext uri="{FF2B5EF4-FFF2-40B4-BE49-F238E27FC236}">
                      <a16:creationId xmlns:a16="http://schemas.microsoft.com/office/drawing/2014/main" id="{6993CD9B-C7D4-54E0-CF2F-4A6478E7712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9" name="Groep 858">
                <a:extLst>
                  <a:ext uri="{FF2B5EF4-FFF2-40B4-BE49-F238E27FC236}">
                    <a16:creationId xmlns:a16="http://schemas.microsoft.com/office/drawing/2014/main" id="{B562E025-A5F4-5DB0-A2D4-473E1AF8469C}"/>
                  </a:ext>
                </a:extLst>
              </p:cNvPr>
              <p:cNvGrpSpPr/>
              <p:nvPr/>
            </p:nvGrpSpPr>
            <p:grpSpPr>
              <a:xfrm>
                <a:off x="5930071" y="1930399"/>
                <a:ext cx="944504" cy="809593"/>
                <a:chOff x="5696016" y="3086100"/>
                <a:chExt cx="800080" cy="685799"/>
              </a:xfrm>
              <a:grpFill/>
            </p:grpSpPr>
            <p:sp>
              <p:nvSpPr>
                <p:cNvPr id="872" name="Vrije vorm: vorm 871">
                  <a:extLst>
                    <a:ext uri="{FF2B5EF4-FFF2-40B4-BE49-F238E27FC236}">
                      <a16:creationId xmlns:a16="http://schemas.microsoft.com/office/drawing/2014/main" id="{E3F2CF9C-0D4E-4E42-9C58-7F5CFD39380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3" name="Vrije vorm: vorm 872">
                  <a:extLst>
                    <a:ext uri="{FF2B5EF4-FFF2-40B4-BE49-F238E27FC236}">
                      <a16:creationId xmlns:a16="http://schemas.microsoft.com/office/drawing/2014/main" id="{F4E17F8A-F227-3A2C-B511-A0B713AEE9F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0" name="Groep 859">
                <a:extLst>
                  <a:ext uri="{FF2B5EF4-FFF2-40B4-BE49-F238E27FC236}">
                    <a16:creationId xmlns:a16="http://schemas.microsoft.com/office/drawing/2014/main" id="{3AF80959-7952-7D6A-DA49-BE656D69F94F}"/>
                  </a:ext>
                </a:extLst>
              </p:cNvPr>
              <p:cNvGrpSpPr/>
              <p:nvPr/>
            </p:nvGrpSpPr>
            <p:grpSpPr>
              <a:xfrm>
                <a:off x="6982406" y="1930399"/>
                <a:ext cx="944504" cy="809593"/>
                <a:chOff x="5696016" y="3086100"/>
                <a:chExt cx="800080" cy="685799"/>
              </a:xfrm>
              <a:grpFill/>
            </p:grpSpPr>
            <p:sp>
              <p:nvSpPr>
                <p:cNvPr id="870" name="Vrije vorm: vorm 869">
                  <a:extLst>
                    <a:ext uri="{FF2B5EF4-FFF2-40B4-BE49-F238E27FC236}">
                      <a16:creationId xmlns:a16="http://schemas.microsoft.com/office/drawing/2014/main" id="{7204B1B8-270F-A3D0-EDE5-F8DBE525BA4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1" name="Vrije vorm: vorm 870">
                  <a:extLst>
                    <a:ext uri="{FF2B5EF4-FFF2-40B4-BE49-F238E27FC236}">
                      <a16:creationId xmlns:a16="http://schemas.microsoft.com/office/drawing/2014/main" id="{AC9EA420-F3AE-16ED-3581-5948AC98AA1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1" name="Groep 860">
                <a:extLst>
                  <a:ext uri="{FF2B5EF4-FFF2-40B4-BE49-F238E27FC236}">
                    <a16:creationId xmlns:a16="http://schemas.microsoft.com/office/drawing/2014/main" id="{C1C3157A-4E72-AC6C-8B2A-79B6FF2D4971}"/>
                  </a:ext>
                </a:extLst>
              </p:cNvPr>
              <p:cNvGrpSpPr/>
              <p:nvPr/>
            </p:nvGrpSpPr>
            <p:grpSpPr>
              <a:xfrm>
                <a:off x="8034741" y="1930399"/>
                <a:ext cx="944504" cy="809593"/>
                <a:chOff x="5696016" y="3086100"/>
                <a:chExt cx="800080" cy="685799"/>
              </a:xfrm>
              <a:grpFill/>
            </p:grpSpPr>
            <p:sp>
              <p:nvSpPr>
                <p:cNvPr id="868" name="Vrije vorm: vorm 867">
                  <a:extLst>
                    <a:ext uri="{FF2B5EF4-FFF2-40B4-BE49-F238E27FC236}">
                      <a16:creationId xmlns:a16="http://schemas.microsoft.com/office/drawing/2014/main" id="{F1E68E5A-D5AE-965C-6A48-EBD4336611D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69" name="Vrije vorm: vorm 868">
                  <a:extLst>
                    <a:ext uri="{FF2B5EF4-FFF2-40B4-BE49-F238E27FC236}">
                      <a16:creationId xmlns:a16="http://schemas.microsoft.com/office/drawing/2014/main" id="{1AB1B290-12C0-8B54-CEA2-CEC82EF7912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2" name="Groep 861">
                <a:extLst>
                  <a:ext uri="{FF2B5EF4-FFF2-40B4-BE49-F238E27FC236}">
                    <a16:creationId xmlns:a16="http://schemas.microsoft.com/office/drawing/2014/main" id="{2AEDBA28-D1BD-4A08-99C9-0B716A58F647}"/>
                  </a:ext>
                </a:extLst>
              </p:cNvPr>
              <p:cNvGrpSpPr/>
              <p:nvPr/>
            </p:nvGrpSpPr>
            <p:grpSpPr>
              <a:xfrm>
                <a:off x="9087076" y="1930399"/>
                <a:ext cx="944504" cy="809593"/>
                <a:chOff x="5696016" y="3086100"/>
                <a:chExt cx="800080" cy="685799"/>
              </a:xfrm>
              <a:grpFill/>
            </p:grpSpPr>
            <p:sp>
              <p:nvSpPr>
                <p:cNvPr id="866" name="Vrije vorm: vorm 865">
                  <a:extLst>
                    <a:ext uri="{FF2B5EF4-FFF2-40B4-BE49-F238E27FC236}">
                      <a16:creationId xmlns:a16="http://schemas.microsoft.com/office/drawing/2014/main" id="{6E4AA130-6163-2DC6-A68B-BC9B3BC457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67" name="Vrije vorm: vorm 866">
                  <a:extLst>
                    <a:ext uri="{FF2B5EF4-FFF2-40B4-BE49-F238E27FC236}">
                      <a16:creationId xmlns:a16="http://schemas.microsoft.com/office/drawing/2014/main" id="{1DA88AD8-5051-DB5B-B706-0EEE3949339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3" name="Groep 862">
                <a:extLst>
                  <a:ext uri="{FF2B5EF4-FFF2-40B4-BE49-F238E27FC236}">
                    <a16:creationId xmlns:a16="http://schemas.microsoft.com/office/drawing/2014/main" id="{4D2FA375-8706-8BCD-CA3C-5C870DD1150E}"/>
                  </a:ext>
                </a:extLst>
              </p:cNvPr>
              <p:cNvGrpSpPr/>
              <p:nvPr/>
            </p:nvGrpSpPr>
            <p:grpSpPr>
              <a:xfrm>
                <a:off x="10139413" y="1930399"/>
                <a:ext cx="944504" cy="809593"/>
                <a:chOff x="5696016" y="3086100"/>
                <a:chExt cx="800080" cy="685799"/>
              </a:xfrm>
              <a:grpFill/>
            </p:grpSpPr>
            <p:sp>
              <p:nvSpPr>
                <p:cNvPr id="864" name="Vrije vorm: vorm 863">
                  <a:extLst>
                    <a:ext uri="{FF2B5EF4-FFF2-40B4-BE49-F238E27FC236}">
                      <a16:creationId xmlns:a16="http://schemas.microsoft.com/office/drawing/2014/main" id="{ABEB7C87-8CBF-B5CC-1B48-BE2D5D53FE5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65" name="Vrije vorm: vorm 864">
                  <a:extLst>
                    <a:ext uri="{FF2B5EF4-FFF2-40B4-BE49-F238E27FC236}">
                      <a16:creationId xmlns:a16="http://schemas.microsoft.com/office/drawing/2014/main" id="{80A742AF-88B0-3D14-0873-2B680FF6E07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68" name="Groep 667">
              <a:extLst>
                <a:ext uri="{FF2B5EF4-FFF2-40B4-BE49-F238E27FC236}">
                  <a16:creationId xmlns:a16="http://schemas.microsoft.com/office/drawing/2014/main" id="{0198F6EB-A1F5-D950-A6A4-50C0B5611EF4}"/>
                </a:ext>
              </a:extLst>
            </p:cNvPr>
            <p:cNvGrpSpPr/>
            <p:nvPr/>
          </p:nvGrpSpPr>
          <p:grpSpPr>
            <a:xfrm>
              <a:off x="649432" y="754734"/>
              <a:ext cx="2409536" cy="187292"/>
              <a:chOff x="668396" y="1930399"/>
              <a:chExt cx="10415521" cy="809593"/>
            </a:xfrm>
            <a:grpFill/>
          </p:grpSpPr>
          <p:grpSp>
            <p:nvGrpSpPr>
              <p:cNvPr id="824" name="Groep 823">
                <a:extLst>
                  <a:ext uri="{FF2B5EF4-FFF2-40B4-BE49-F238E27FC236}">
                    <a16:creationId xmlns:a16="http://schemas.microsoft.com/office/drawing/2014/main" id="{8A4F29D2-74DA-E804-DFC1-8B2410D9A375}"/>
                  </a:ext>
                </a:extLst>
              </p:cNvPr>
              <p:cNvGrpSpPr/>
              <p:nvPr/>
            </p:nvGrpSpPr>
            <p:grpSpPr>
              <a:xfrm>
                <a:off x="668396" y="1930399"/>
                <a:ext cx="944504" cy="809593"/>
                <a:chOff x="5696016" y="3086100"/>
                <a:chExt cx="800080" cy="685799"/>
              </a:xfrm>
              <a:grpFill/>
            </p:grpSpPr>
            <p:sp>
              <p:nvSpPr>
                <p:cNvPr id="852" name="Vrije vorm: vorm 851">
                  <a:extLst>
                    <a:ext uri="{FF2B5EF4-FFF2-40B4-BE49-F238E27FC236}">
                      <a16:creationId xmlns:a16="http://schemas.microsoft.com/office/drawing/2014/main" id="{269842AE-C722-7BE3-E556-3C8BFA805FB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53" name="Vrije vorm: vorm 852">
                  <a:extLst>
                    <a:ext uri="{FF2B5EF4-FFF2-40B4-BE49-F238E27FC236}">
                      <a16:creationId xmlns:a16="http://schemas.microsoft.com/office/drawing/2014/main" id="{1A2F07C6-19A9-7941-0911-88F962EFD44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5" name="Groep 824">
                <a:extLst>
                  <a:ext uri="{FF2B5EF4-FFF2-40B4-BE49-F238E27FC236}">
                    <a16:creationId xmlns:a16="http://schemas.microsoft.com/office/drawing/2014/main" id="{A07F768C-8479-7889-ECFB-CEDB01077D0C}"/>
                  </a:ext>
                </a:extLst>
              </p:cNvPr>
              <p:cNvGrpSpPr/>
              <p:nvPr/>
            </p:nvGrpSpPr>
            <p:grpSpPr>
              <a:xfrm>
                <a:off x="1720731" y="1930399"/>
                <a:ext cx="944504" cy="809593"/>
                <a:chOff x="5696016" y="3086100"/>
                <a:chExt cx="800080" cy="685799"/>
              </a:xfrm>
              <a:grpFill/>
            </p:grpSpPr>
            <p:sp>
              <p:nvSpPr>
                <p:cNvPr id="850" name="Vrije vorm: vorm 849">
                  <a:extLst>
                    <a:ext uri="{FF2B5EF4-FFF2-40B4-BE49-F238E27FC236}">
                      <a16:creationId xmlns:a16="http://schemas.microsoft.com/office/drawing/2014/main" id="{83EA4053-435A-8579-C2EA-62F5269033F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51" name="Vrije vorm: vorm 850">
                  <a:extLst>
                    <a:ext uri="{FF2B5EF4-FFF2-40B4-BE49-F238E27FC236}">
                      <a16:creationId xmlns:a16="http://schemas.microsoft.com/office/drawing/2014/main" id="{73590354-737D-7481-F802-45B5F194C1D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6" name="Groep 825">
                <a:extLst>
                  <a:ext uri="{FF2B5EF4-FFF2-40B4-BE49-F238E27FC236}">
                    <a16:creationId xmlns:a16="http://schemas.microsoft.com/office/drawing/2014/main" id="{6469DD60-6143-53E6-162C-2F94B304833C}"/>
                  </a:ext>
                </a:extLst>
              </p:cNvPr>
              <p:cNvGrpSpPr/>
              <p:nvPr/>
            </p:nvGrpSpPr>
            <p:grpSpPr>
              <a:xfrm>
                <a:off x="2773066" y="1930399"/>
                <a:ext cx="944504" cy="809593"/>
                <a:chOff x="5696016" y="3086100"/>
                <a:chExt cx="800080" cy="685799"/>
              </a:xfrm>
              <a:grpFill/>
            </p:grpSpPr>
            <p:sp>
              <p:nvSpPr>
                <p:cNvPr id="848" name="Vrije vorm: vorm 847">
                  <a:extLst>
                    <a:ext uri="{FF2B5EF4-FFF2-40B4-BE49-F238E27FC236}">
                      <a16:creationId xmlns:a16="http://schemas.microsoft.com/office/drawing/2014/main" id="{1C8FC06E-0E7F-3921-970D-1D397EA9DD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9" name="Vrije vorm: vorm 848">
                  <a:extLst>
                    <a:ext uri="{FF2B5EF4-FFF2-40B4-BE49-F238E27FC236}">
                      <a16:creationId xmlns:a16="http://schemas.microsoft.com/office/drawing/2014/main" id="{0A94B12D-AA1A-5EB3-0A09-9E425B940C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7" name="Groep 826">
                <a:extLst>
                  <a:ext uri="{FF2B5EF4-FFF2-40B4-BE49-F238E27FC236}">
                    <a16:creationId xmlns:a16="http://schemas.microsoft.com/office/drawing/2014/main" id="{826A14B6-0872-D0BA-2A1B-8131FE75103E}"/>
                  </a:ext>
                </a:extLst>
              </p:cNvPr>
              <p:cNvGrpSpPr/>
              <p:nvPr/>
            </p:nvGrpSpPr>
            <p:grpSpPr>
              <a:xfrm>
                <a:off x="3825401" y="1930399"/>
                <a:ext cx="944504" cy="809593"/>
                <a:chOff x="5696016" y="3086100"/>
                <a:chExt cx="800080" cy="685799"/>
              </a:xfrm>
              <a:grpFill/>
            </p:grpSpPr>
            <p:sp>
              <p:nvSpPr>
                <p:cNvPr id="846" name="Vrije vorm: vorm 845">
                  <a:extLst>
                    <a:ext uri="{FF2B5EF4-FFF2-40B4-BE49-F238E27FC236}">
                      <a16:creationId xmlns:a16="http://schemas.microsoft.com/office/drawing/2014/main" id="{4448E4D9-B5D4-0128-2096-A5765C5C6DA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7" name="Vrije vorm: vorm 846">
                  <a:extLst>
                    <a:ext uri="{FF2B5EF4-FFF2-40B4-BE49-F238E27FC236}">
                      <a16:creationId xmlns:a16="http://schemas.microsoft.com/office/drawing/2014/main" id="{A950097F-CF5D-1348-7E8F-661E08ABEB7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8" name="Groep 827">
                <a:extLst>
                  <a:ext uri="{FF2B5EF4-FFF2-40B4-BE49-F238E27FC236}">
                    <a16:creationId xmlns:a16="http://schemas.microsoft.com/office/drawing/2014/main" id="{DDBC9F47-0EB5-1678-2D50-42B2D8FB1871}"/>
                  </a:ext>
                </a:extLst>
              </p:cNvPr>
              <p:cNvGrpSpPr/>
              <p:nvPr/>
            </p:nvGrpSpPr>
            <p:grpSpPr>
              <a:xfrm>
                <a:off x="4877736" y="1930399"/>
                <a:ext cx="944504" cy="809593"/>
                <a:chOff x="5696016" y="3086100"/>
                <a:chExt cx="800080" cy="685799"/>
              </a:xfrm>
              <a:grpFill/>
            </p:grpSpPr>
            <p:sp>
              <p:nvSpPr>
                <p:cNvPr id="844" name="Vrije vorm: vorm 843">
                  <a:extLst>
                    <a:ext uri="{FF2B5EF4-FFF2-40B4-BE49-F238E27FC236}">
                      <a16:creationId xmlns:a16="http://schemas.microsoft.com/office/drawing/2014/main" id="{D2105FC7-B026-1638-33C9-E5950EEAD43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5" name="Vrije vorm: vorm 844">
                  <a:extLst>
                    <a:ext uri="{FF2B5EF4-FFF2-40B4-BE49-F238E27FC236}">
                      <a16:creationId xmlns:a16="http://schemas.microsoft.com/office/drawing/2014/main" id="{BE04FB75-F703-21FC-A46B-424228E833A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9" name="Groep 828">
                <a:extLst>
                  <a:ext uri="{FF2B5EF4-FFF2-40B4-BE49-F238E27FC236}">
                    <a16:creationId xmlns:a16="http://schemas.microsoft.com/office/drawing/2014/main" id="{8F862BB2-D25D-8370-EA84-8F3DE5D540E8}"/>
                  </a:ext>
                </a:extLst>
              </p:cNvPr>
              <p:cNvGrpSpPr/>
              <p:nvPr/>
            </p:nvGrpSpPr>
            <p:grpSpPr>
              <a:xfrm>
                <a:off x="5930071" y="1930399"/>
                <a:ext cx="944504" cy="809593"/>
                <a:chOff x="5696016" y="3086100"/>
                <a:chExt cx="800080" cy="685799"/>
              </a:xfrm>
              <a:grpFill/>
            </p:grpSpPr>
            <p:sp>
              <p:nvSpPr>
                <p:cNvPr id="842" name="Vrije vorm: vorm 841">
                  <a:extLst>
                    <a:ext uri="{FF2B5EF4-FFF2-40B4-BE49-F238E27FC236}">
                      <a16:creationId xmlns:a16="http://schemas.microsoft.com/office/drawing/2014/main" id="{171250F6-DE32-57F1-3BED-A9D66E8DDF8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3" name="Vrije vorm: vorm 842">
                  <a:extLst>
                    <a:ext uri="{FF2B5EF4-FFF2-40B4-BE49-F238E27FC236}">
                      <a16:creationId xmlns:a16="http://schemas.microsoft.com/office/drawing/2014/main" id="{9A2F0606-49A1-854D-C605-E619F5C2FAC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0" name="Groep 829">
                <a:extLst>
                  <a:ext uri="{FF2B5EF4-FFF2-40B4-BE49-F238E27FC236}">
                    <a16:creationId xmlns:a16="http://schemas.microsoft.com/office/drawing/2014/main" id="{0F31492A-A248-2926-71C6-1E9514D65C5B}"/>
                  </a:ext>
                </a:extLst>
              </p:cNvPr>
              <p:cNvGrpSpPr/>
              <p:nvPr/>
            </p:nvGrpSpPr>
            <p:grpSpPr>
              <a:xfrm>
                <a:off x="6982406" y="1930399"/>
                <a:ext cx="944504" cy="809593"/>
                <a:chOff x="5696016" y="3086100"/>
                <a:chExt cx="800080" cy="685799"/>
              </a:xfrm>
              <a:grpFill/>
            </p:grpSpPr>
            <p:sp>
              <p:nvSpPr>
                <p:cNvPr id="840" name="Vrije vorm: vorm 839">
                  <a:extLst>
                    <a:ext uri="{FF2B5EF4-FFF2-40B4-BE49-F238E27FC236}">
                      <a16:creationId xmlns:a16="http://schemas.microsoft.com/office/drawing/2014/main" id="{3D5ABF65-CEC2-E71E-0882-8AF03A9C2E7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1" name="Vrije vorm: vorm 840">
                  <a:extLst>
                    <a:ext uri="{FF2B5EF4-FFF2-40B4-BE49-F238E27FC236}">
                      <a16:creationId xmlns:a16="http://schemas.microsoft.com/office/drawing/2014/main" id="{4566B4E9-27F7-EE33-E7F3-02AA9D08DA3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1" name="Groep 830">
                <a:extLst>
                  <a:ext uri="{FF2B5EF4-FFF2-40B4-BE49-F238E27FC236}">
                    <a16:creationId xmlns:a16="http://schemas.microsoft.com/office/drawing/2014/main" id="{27008E28-E813-03A4-6415-E22C06999C34}"/>
                  </a:ext>
                </a:extLst>
              </p:cNvPr>
              <p:cNvGrpSpPr/>
              <p:nvPr/>
            </p:nvGrpSpPr>
            <p:grpSpPr>
              <a:xfrm>
                <a:off x="8034741" y="1930399"/>
                <a:ext cx="944504" cy="809593"/>
                <a:chOff x="5696016" y="3086100"/>
                <a:chExt cx="800080" cy="685799"/>
              </a:xfrm>
              <a:grpFill/>
            </p:grpSpPr>
            <p:sp>
              <p:nvSpPr>
                <p:cNvPr id="838" name="Vrije vorm: vorm 837">
                  <a:extLst>
                    <a:ext uri="{FF2B5EF4-FFF2-40B4-BE49-F238E27FC236}">
                      <a16:creationId xmlns:a16="http://schemas.microsoft.com/office/drawing/2014/main" id="{F18D2AE5-D22D-7DF5-6502-2889F6A41B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39" name="Vrije vorm: vorm 838">
                  <a:extLst>
                    <a:ext uri="{FF2B5EF4-FFF2-40B4-BE49-F238E27FC236}">
                      <a16:creationId xmlns:a16="http://schemas.microsoft.com/office/drawing/2014/main" id="{357F3E52-4F75-D04C-E0F2-0CB07A8FF97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2" name="Groep 831">
                <a:extLst>
                  <a:ext uri="{FF2B5EF4-FFF2-40B4-BE49-F238E27FC236}">
                    <a16:creationId xmlns:a16="http://schemas.microsoft.com/office/drawing/2014/main" id="{29BAB5DB-D260-2D34-023D-D96C50941B7F}"/>
                  </a:ext>
                </a:extLst>
              </p:cNvPr>
              <p:cNvGrpSpPr/>
              <p:nvPr/>
            </p:nvGrpSpPr>
            <p:grpSpPr>
              <a:xfrm>
                <a:off x="9087076" y="1930399"/>
                <a:ext cx="944504" cy="809593"/>
                <a:chOff x="5696016" y="3086100"/>
                <a:chExt cx="800080" cy="685799"/>
              </a:xfrm>
              <a:grpFill/>
            </p:grpSpPr>
            <p:sp>
              <p:nvSpPr>
                <p:cNvPr id="836" name="Vrije vorm: vorm 835">
                  <a:extLst>
                    <a:ext uri="{FF2B5EF4-FFF2-40B4-BE49-F238E27FC236}">
                      <a16:creationId xmlns:a16="http://schemas.microsoft.com/office/drawing/2014/main" id="{36DE1A24-1572-0CD1-4C18-7B5B809D578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37" name="Vrije vorm: vorm 836">
                  <a:extLst>
                    <a:ext uri="{FF2B5EF4-FFF2-40B4-BE49-F238E27FC236}">
                      <a16:creationId xmlns:a16="http://schemas.microsoft.com/office/drawing/2014/main" id="{BBF3FF4F-09C7-3CFC-8A10-DB21A827B05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3" name="Groep 832">
                <a:extLst>
                  <a:ext uri="{FF2B5EF4-FFF2-40B4-BE49-F238E27FC236}">
                    <a16:creationId xmlns:a16="http://schemas.microsoft.com/office/drawing/2014/main" id="{5A90AABE-3B89-505E-EBDE-8A580BB59985}"/>
                  </a:ext>
                </a:extLst>
              </p:cNvPr>
              <p:cNvGrpSpPr/>
              <p:nvPr/>
            </p:nvGrpSpPr>
            <p:grpSpPr>
              <a:xfrm>
                <a:off x="10139413" y="1930399"/>
                <a:ext cx="944504" cy="809593"/>
                <a:chOff x="5696016" y="3086100"/>
                <a:chExt cx="800080" cy="685799"/>
              </a:xfrm>
              <a:grpFill/>
            </p:grpSpPr>
            <p:sp>
              <p:nvSpPr>
                <p:cNvPr id="834" name="Vrije vorm: vorm 833">
                  <a:extLst>
                    <a:ext uri="{FF2B5EF4-FFF2-40B4-BE49-F238E27FC236}">
                      <a16:creationId xmlns:a16="http://schemas.microsoft.com/office/drawing/2014/main" id="{E1B1DBB8-161D-5AA2-1DAD-3DAFE76B813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35" name="Vrije vorm: vorm 834">
                  <a:extLst>
                    <a:ext uri="{FF2B5EF4-FFF2-40B4-BE49-F238E27FC236}">
                      <a16:creationId xmlns:a16="http://schemas.microsoft.com/office/drawing/2014/main" id="{B0998319-F4AC-5D41-4CB8-C53203E19E4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69" name="Groep 668">
              <a:extLst>
                <a:ext uri="{FF2B5EF4-FFF2-40B4-BE49-F238E27FC236}">
                  <a16:creationId xmlns:a16="http://schemas.microsoft.com/office/drawing/2014/main" id="{B676279D-0520-F173-B8F2-22D899652913}"/>
                </a:ext>
              </a:extLst>
            </p:cNvPr>
            <p:cNvGrpSpPr/>
            <p:nvPr/>
          </p:nvGrpSpPr>
          <p:grpSpPr>
            <a:xfrm>
              <a:off x="649432" y="988768"/>
              <a:ext cx="2409536" cy="187292"/>
              <a:chOff x="668396" y="1930399"/>
              <a:chExt cx="10415521" cy="809593"/>
            </a:xfrm>
            <a:grpFill/>
          </p:grpSpPr>
          <p:grpSp>
            <p:nvGrpSpPr>
              <p:cNvPr id="794" name="Groep 793">
                <a:extLst>
                  <a:ext uri="{FF2B5EF4-FFF2-40B4-BE49-F238E27FC236}">
                    <a16:creationId xmlns:a16="http://schemas.microsoft.com/office/drawing/2014/main" id="{DBC76041-52AD-8AAB-0CB7-EA8DD60CBE8C}"/>
                  </a:ext>
                </a:extLst>
              </p:cNvPr>
              <p:cNvGrpSpPr/>
              <p:nvPr/>
            </p:nvGrpSpPr>
            <p:grpSpPr>
              <a:xfrm>
                <a:off x="668396" y="1930399"/>
                <a:ext cx="944504" cy="809593"/>
                <a:chOff x="5696016" y="3086100"/>
                <a:chExt cx="800080" cy="685799"/>
              </a:xfrm>
              <a:grpFill/>
            </p:grpSpPr>
            <p:sp>
              <p:nvSpPr>
                <p:cNvPr id="822" name="Vrije vorm: vorm 821">
                  <a:extLst>
                    <a:ext uri="{FF2B5EF4-FFF2-40B4-BE49-F238E27FC236}">
                      <a16:creationId xmlns:a16="http://schemas.microsoft.com/office/drawing/2014/main" id="{E2E5737E-901A-0936-1BBD-94BF45AA54C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23" name="Vrije vorm: vorm 822">
                  <a:extLst>
                    <a:ext uri="{FF2B5EF4-FFF2-40B4-BE49-F238E27FC236}">
                      <a16:creationId xmlns:a16="http://schemas.microsoft.com/office/drawing/2014/main" id="{6BD6634E-CC11-572E-FB7A-8E8C99CF29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5" name="Groep 794">
                <a:extLst>
                  <a:ext uri="{FF2B5EF4-FFF2-40B4-BE49-F238E27FC236}">
                    <a16:creationId xmlns:a16="http://schemas.microsoft.com/office/drawing/2014/main" id="{07C401A2-C77C-2216-447D-DA6CD758995F}"/>
                  </a:ext>
                </a:extLst>
              </p:cNvPr>
              <p:cNvGrpSpPr/>
              <p:nvPr/>
            </p:nvGrpSpPr>
            <p:grpSpPr>
              <a:xfrm>
                <a:off x="1720731" y="1930399"/>
                <a:ext cx="944504" cy="809593"/>
                <a:chOff x="5696016" y="3086100"/>
                <a:chExt cx="800080" cy="685799"/>
              </a:xfrm>
              <a:grpFill/>
            </p:grpSpPr>
            <p:sp>
              <p:nvSpPr>
                <p:cNvPr id="820" name="Vrije vorm: vorm 819">
                  <a:extLst>
                    <a:ext uri="{FF2B5EF4-FFF2-40B4-BE49-F238E27FC236}">
                      <a16:creationId xmlns:a16="http://schemas.microsoft.com/office/drawing/2014/main" id="{1A2B91AB-59B0-C65C-FD61-D790A157F7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21" name="Vrije vorm: vorm 820">
                  <a:extLst>
                    <a:ext uri="{FF2B5EF4-FFF2-40B4-BE49-F238E27FC236}">
                      <a16:creationId xmlns:a16="http://schemas.microsoft.com/office/drawing/2014/main" id="{49AB1285-3BF8-C1D3-0140-3A3EEC46BBA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6" name="Groep 795">
                <a:extLst>
                  <a:ext uri="{FF2B5EF4-FFF2-40B4-BE49-F238E27FC236}">
                    <a16:creationId xmlns:a16="http://schemas.microsoft.com/office/drawing/2014/main" id="{C7906F59-9556-8634-4D76-D114F9EAB341}"/>
                  </a:ext>
                </a:extLst>
              </p:cNvPr>
              <p:cNvGrpSpPr/>
              <p:nvPr/>
            </p:nvGrpSpPr>
            <p:grpSpPr>
              <a:xfrm>
                <a:off x="2773066" y="1930399"/>
                <a:ext cx="944504" cy="809593"/>
                <a:chOff x="5696016" y="3086100"/>
                <a:chExt cx="800080" cy="685799"/>
              </a:xfrm>
              <a:grpFill/>
            </p:grpSpPr>
            <p:sp>
              <p:nvSpPr>
                <p:cNvPr id="818" name="Vrije vorm: vorm 817">
                  <a:extLst>
                    <a:ext uri="{FF2B5EF4-FFF2-40B4-BE49-F238E27FC236}">
                      <a16:creationId xmlns:a16="http://schemas.microsoft.com/office/drawing/2014/main" id="{C74116A6-3D96-E990-7D31-6FE1D506BD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9" name="Vrije vorm: vorm 818">
                  <a:extLst>
                    <a:ext uri="{FF2B5EF4-FFF2-40B4-BE49-F238E27FC236}">
                      <a16:creationId xmlns:a16="http://schemas.microsoft.com/office/drawing/2014/main" id="{1EEFD2CD-66FB-50CB-2AF9-AFAD93719EB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7" name="Groep 796">
                <a:extLst>
                  <a:ext uri="{FF2B5EF4-FFF2-40B4-BE49-F238E27FC236}">
                    <a16:creationId xmlns:a16="http://schemas.microsoft.com/office/drawing/2014/main" id="{7FD39C5A-FD56-AA6E-2D27-6B5FB3911A81}"/>
                  </a:ext>
                </a:extLst>
              </p:cNvPr>
              <p:cNvGrpSpPr/>
              <p:nvPr/>
            </p:nvGrpSpPr>
            <p:grpSpPr>
              <a:xfrm>
                <a:off x="3825401" y="1930399"/>
                <a:ext cx="944504" cy="809593"/>
                <a:chOff x="5696016" y="3086100"/>
                <a:chExt cx="800080" cy="685799"/>
              </a:xfrm>
              <a:grpFill/>
            </p:grpSpPr>
            <p:sp>
              <p:nvSpPr>
                <p:cNvPr id="816" name="Vrije vorm: vorm 815">
                  <a:extLst>
                    <a:ext uri="{FF2B5EF4-FFF2-40B4-BE49-F238E27FC236}">
                      <a16:creationId xmlns:a16="http://schemas.microsoft.com/office/drawing/2014/main" id="{36B72F30-266D-7C40-D59D-13EED0ED972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7" name="Vrije vorm: vorm 816">
                  <a:extLst>
                    <a:ext uri="{FF2B5EF4-FFF2-40B4-BE49-F238E27FC236}">
                      <a16:creationId xmlns:a16="http://schemas.microsoft.com/office/drawing/2014/main" id="{A0F96EC2-DB53-E3E8-AC3C-FD3EC326C14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8" name="Groep 797">
                <a:extLst>
                  <a:ext uri="{FF2B5EF4-FFF2-40B4-BE49-F238E27FC236}">
                    <a16:creationId xmlns:a16="http://schemas.microsoft.com/office/drawing/2014/main" id="{3D7FFFAB-BF8D-3C6F-9B8B-244DEB62DB21}"/>
                  </a:ext>
                </a:extLst>
              </p:cNvPr>
              <p:cNvGrpSpPr/>
              <p:nvPr/>
            </p:nvGrpSpPr>
            <p:grpSpPr>
              <a:xfrm>
                <a:off x="4877736" y="1930399"/>
                <a:ext cx="944504" cy="809593"/>
                <a:chOff x="5696016" y="3086100"/>
                <a:chExt cx="800080" cy="685799"/>
              </a:xfrm>
              <a:grpFill/>
            </p:grpSpPr>
            <p:sp>
              <p:nvSpPr>
                <p:cNvPr id="814" name="Vrije vorm: vorm 813">
                  <a:extLst>
                    <a:ext uri="{FF2B5EF4-FFF2-40B4-BE49-F238E27FC236}">
                      <a16:creationId xmlns:a16="http://schemas.microsoft.com/office/drawing/2014/main" id="{13BD73FA-9289-FD4E-4541-9245E1C60D7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5" name="Vrije vorm: vorm 814">
                  <a:extLst>
                    <a:ext uri="{FF2B5EF4-FFF2-40B4-BE49-F238E27FC236}">
                      <a16:creationId xmlns:a16="http://schemas.microsoft.com/office/drawing/2014/main" id="{92C74818-6DD6-6CB7-42BC-A10D7244839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9" name="Groep 798">
                <a:extLst>
                  <a:ext uri="{FF2B5EF4-FFF2-40B4-BE49-F238E27FC236}">
                    <a16:creationId xmlns:a16="http://schemas.microsoft.com/office/drawing/2014/main" id="{F2389DA7-4CF5-BA02-165A-355EA2ABE02A}"/>
                  </a:ext>
                </a:extLst>
              </p:cNvPr>
              <p:cNvGrpSpPr/>
              <p:nvPr/>
            </p:nvGrpSpPr>
            <p:grpSpPr>
              <a:xfrm>
                <a:off x="5930071" y="1930399"/>
                <a:ext cx="944504" cy="809593"/>
                <a:chOff x="5696016" y="3086100"/>
                <a:chExt cx="800080" cy="685799"/>
              </a:xfrm>
              <a:grpFill/>
            </p:grpSpPr>
            <p:sp>
              <p:nvSpPr>
                <p:cNvPr id="812" name="Vrije vorm: vorm 811">
                  <a:extLst>
                    <a:ext uri="{FF2B5EF4-FFF2-40B4-BE49-F238E27FC236}">
                      <a16:creationId xmlns:a16="http://schemas.microsoft.com/office/drawing/2014/main" id="{95A1F477-1367-94EF-FE47-5B898094914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3" name="Vrije vorm: vorm 812">
                  <a:extLst>
                    <a:ext uri="{FF2B5EF4-FFF2-40B4-BE49-F238E27FC236}">
                      <a16:creationId xmlns:a16="http://schemas.microsoft.com/office/drawing/2014/main" id="{C6A26597-A843-36A6-FED3-06CAE41160F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0" name="Groep 799">
                <a:extLst>
                  <a:ext uri="{FF2B5EF4-FFF2-40B4-BE49-F238E27FC236}">
                    <a16:creationId xmlns:a16="http://schemas.microsoft.com/office/drawing/2014/main" id="{FA75F429-F950-5F72-1A7A-6A399AF8C557}"/>
                  </a:ext>
                </a:extLst>
              </p:cNvPr>
              <p:cNvGrpSpPr/>
              <p:nvPr/>
            </p:nvGrpSpPr>
            <p:grpSpPr>
              <a:xfrm>
                <a:off x="6982406" y="1930399"/>
                <a:ext cx="944504" cy="809593"/>
                <a:chOff x="5696016" y="3086100"/>
                <a:chExt cx="800080" cy="685799"/>
              </a:xfrm>
              <a:grpFill/>
            </p:grpSpPr>
            <p:sp>
              <p:nvSpPr>
                <p:cNvPr id="810" name="Vrije vorm: vorm 809">
                  <a:extLst>
                    <a:ext uri="{FF2B5EF4-FFF2-40B4-BE49-F238E27FC236}">
                      <a16:creationId xmlns:a16="http://schemas.microsoft.com/office/drawing/2014/main" id="{D4B32B25-931A-6981-5EDE-B7468136031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1" name="Vrije vorm: vorm 810">
                  <a:extLst>
                    <a:ext uri="{FF2B5EF4-FFF2-40B4-BE49-F238E27FC236}">
                      <a16:creationId xmlns:a16="http://schemas.microsoft.com/office/drawing/2014/main" id="{AAC5CA5E-51B3-726F-DBAF-B4D116EBD45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1" name="Groep 800">
                <a:extLst>
                  <a:ext uri="{FF2B5EF4-FFF2-40B4-BE49-F238E27FC236}">
                    <a16:creationId xmlns:a16="http://schemas.microsoft.com/office/drawing/2014/main" id="{9CD2BDBE-2C07-3463-CAAD-6410822D6BCA}"/>
                  </a:ext>
                </a:extLst>
              </p:cNvPr>
              <p:cNvGrpSpPr/>
              <p:nvPr/>
            </p:nvGrpSpPr>
            <p:grpSpPr>
              <a:xfrm>
                <a:off x="8034741" y="1930399"/>
                <a:ext cx="944504" cy="809593"/>
                <a:chOff x="5696016" y="3086100"/>
                <a:chExt cx="800080" cy="685799"/>
              </a:xfrm>
              <a:grpFill/>
            </p:grpSpPr>
            <p:sp>
              <p:nvSpPr>
                <p:cNvPr id="808" name="Vrije vorm: vorm 807">
                  <a:extLst>
                    <a:ext uri="{FF2B5EF4-FFF2-40B4-BE49-F238E27FC236}">
                      <a16:creationId xmlns:a16="http://schemas.microsoft.com/office/drawing/2014/main" id="{36C9F211-B029-F6B1-BFCE-57DA40D2D20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09" name="Vrije vorm: vorm 808">
                  <a:extLst>
                    <a:ext uri="{FF2B5EF4-FFF2-40B4-BE49-F238E27FC236}">
                      <a16:creationId xmlns:a16="http://schemas.microsoft.com/office/drawing/2014/main" id="{7C810EFB-1C6B-04F3-7CBB-B31D27E7180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2" name="Groep 801">
                <a:extLst>
                  <a:ext uri="{FF2B5EF4-FFF2-40B4-BE49-F238E27FC236}">
                    <a16:creationId xmlns:a16="http://schemas.microsoft.com/office/drawing/2014/main" id="{4931D246-EF62-A8EE-0170-1AEB28AAF667}"/>
                  </a:ext>
                </a:extLst>
              </p:cNvPr>
              <p:cNvGrpSpPr/>
              <p:nvPr/>
            </p:nvGrpSpPr>
            <p:grpSpPr>
              <a:xfrm>
                <a:off x="9087076" y="1930399"/>
                <a:ext cx="944504" cy="809593"/>
                <a:chOff x="5696016" y="3086100"/>
                <a:chExt cx="800080" cy="685799"/>
              </a:xfrm>
              <a:grpFill/>
            </p:grpSpPr>
            <p:sp>
              <p:nvSpPr>
                <p:cNvPr id="806" name="Vrije vorm: vorm 805">
                  <a:extLst>
                    <a:ext uri="{FF2B5EF4-FFF2-40B4-BE49-F238E27FC236}">
                      <a16:creationId xmlns:a16="http://schemas.microsoft.com/office/drawing/2014/main" id="{53D35383-EF39-EFE2-5B72-02C6CF186C1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07" name="Vrije vorm: vorm 806">
                  <a:extLst>
                    <a:ext uri="{FF2B5EF4-FFF2-40B4-BE49-F238E27FC236}">
                      <a16:creationId xmlns:a16="http://schemas.microsoft.com/office/drawing/2014/main" id="{06CFD4EA-748C-3D2C-4D24-7A01E8F810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3" name="Groep 802">
                <a:extLst>
                  <a:ext uri="{FF2B5EF4-FFF2-40B4-BE49-F238E27FC236}">
                    <a16:creationId xmlns:a16="http://schemas.microsoft.com/office/drawing/2014/main" id="{CE3DBEE4-B7FF-7103-E9A0-79C40DF961DB}"/>
                  </a:ext>
                </a:extLst>
              </p:cNvPr>
              <p:cNvGrpSpPr/>
              <p:nvPr/>
            </p:nvGrpSpPr>
            <p:grpSpPr>
              <a:xfrm>
                <a:off x="10139413" y="1930399"/>
                <a:ext cx="944504" cy="809593"/>
                <a:chOff x="5696016" y="3086100"/>
                <a:chExt cx="800080" cy="685799"/>
              </a:xfrm>
              <a:grpFill/>
            </p:grpSpPr>
            <p:sp>
              <p:nvSpPr>
                <p:cNvPr id="804" name="Vrije vorm: vorm 803">
                  <a:extLst>
                    <a:ext uri="{FF2B5EF4-FFF2-40B4-BE49-F238E27FC236}">
                      <a16:creationId xmlns:a16="http://schemas.microsoft.com/office/drawing/2014/main" id="{75F06B41-5FA5-AF1D-72D1-F0E2C428105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05" name="Vrije vorm: vorm 804">
                  <a:extLst>
                    <a:ext uri="{FF2B5EF4-FFF2-40B4-BE49-F238E27FC236}">
                      <a16:creationId xmlns:a16="http://schemas.microsoft.com/office/drawing/2014/main" id="{47F3C22B-7CEA-0F86-6728-E8348937515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0" name="Groep 669">
              <a:extLst>
                <a:ext uri="{FF2B5EF4-FFF2-40B4-BE49-F238E27FC236}">
                  <a16:creationId xmlns:a16="http://schemas.microsoft.com/office/drawing/2014/main" id="{F50CC1B8-EFE9-101E-5BE2-725F00A60C80}"/>
                </a:ext>
              </a:extLst>
            </p:cNvPr>
            <p:cNvGrpSpPr/>
            <p:nvPr/>
          </p:nvGrpSpPr>
          <p:grpSpPr>
            <a:xfrm>
              <a:off x="649432" y="1222801"/>
              <a:ext cx="2409536" cy="187292"/>
              <a:chOff x="668396" y="1930399"/>
              <a:chExt cx="10415521" cy="809593"/>
            </a:xfrm>
            <a:grpFill/>
          </p:grpSpPr>
          <p:grpSp>
            <p:nvGrpSpPr>
              <p:cNvPr id="764" name="Groep 763">
                <a:extLst>
                  <a:ext uri="{FF2B5EF4-FFF2-40B4-BE49-F238E27FC236}">
                    <a16:creationId xmlns:a16="http://schemas.microsoft.com/office/drawing/2014/main" id="{D0E4700B-2834-5762-450C-9C1333FE72B9}"/>
                  </a:ext>
                </a:extLst>
              </p:cNvPr>
              <p:cNvGrpSpPr/>
              <p:nvPr/>
            </p:nvGrpSpPr>
            <p:grpSpPr>
              <a:xfrm>
                <a:off x="668396" y="1930399"/>
                <a:ext cx="944504" cy="809593"/>
                <a:chOff x="5696016" y="3086100"/>
                <a:chExt cx="800080" cy="685799"/>
              </a:xfrm>
              <a:grpFill/>
            </p:grpSpPr>
            <p:sp>
              <p:nvSpPr>
                <p:cNvPr id="792" name="Vrije vorm: vorm 791">
                  <a:extLst>
                    <a:ext uri="{FF2B5EF4-FFF2-40B4-BE49-F238E27FC236}">
                      <a16:creationId xmlns:a16="http://schemas.microsoft.com/office/drawing/2014/main" id="{D92A1B03-9871-DC5C-CA3C-614DA27E43E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93" name="Vrije vorm: vorm 792">
                  <a:extLst>
                    <a:ext uri="{FF2B5EF4-FFF2-40B4-BE49-F238E27FC236}">
                      <a16:creationId xmlns:a16="http://schemas.microsoft.com/office/drawing/2014/main" id="{C8E133CD-6F09-2453-704B-6AE8D64CA3B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5" name="Groep 764">
                <a:extLst>
                  <a:ext uri="{FF2B5EF4-FFF2-40B4-BE49-F238E27FC236}">
                    <a16:creationId xmlns:a16="http://schemas.microsoft.com/office/drawing/2014/main" id="{17B6E8D6-9B34-6A10-6A02-4FBCD470B4B2}"/>
                  </a:ext>
                </a:extLst>
              </p:cNvPr>
              <p:cNvGrpSpPr/>
              <p:nvPr/>
            </p:nvGrpSpPr>
            <p:grpSpPr>
              <a:xfrm>
                <a:off x="1720731" y="1930399"/>
                <a:ext cx="944504" cy="809593"/>
                <a:chOff x="5696016" y="3086100"/>
                <a:chExt cx="800080" cy="685799"/>
              </a:xfrm>
              <a:grpFill/>
            </p:grpSpPr>
            <p:sp>
              <p:nvSpPr>
                <p:cNvPr id="790" name="Vrije vorm: vorm 789">
                  <a:extLst>
                    <a:ext uri="{FF2B5EF4-FFF2-40B4-BE49-F238E27FC236}">
                      <a16:creationId xmlns:a16="http://schemas.microsoft.com/office/drawing/2014/main" id="{27710445-C1E6-F1A4-81C3-77C4D21A48A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91" name="Vrije vorm: vorm 790">
                  <a:extLst>
                    <a:ext uri="{FF2B5EF4-FFF2-40B4-BE49-F238E27FC236}">
                      <a16:creationId xmlns:a16="http://schemas.microsoft.com/office/drawing/2014/main" id="{C88BD1C8-3DF5-2304-B2C2-6FF8AA05BD7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6" name="Groep 765">
                <a:extLst>
                  <a:ext uri="{FF2B5EF4-FFF2-40B4-BE49-F238E27FC236}">
                    <a16:creationId xmlns:a16="http://schemas.microsoft.com/office/drawing/2014/main" id="{445E8E72-D40F-D81B-0783-4AEEE1F52226}"/>
                  </a:ext>
                </a:extLst>
              </p:cNvPr>
              <p:cNvGrpSpPr/>
              <p:nvPr/>
            </p:nvGrpSpPr>
            <p:grpSpPr>
              <a:xfrm>
                <a:off x="2773066" y="1930399"/>
                <a:ext cx="944504" cy="809593"/>
                <a:chOff x="5696016" y="3086100"/>
                <a:chExt cx="800080" cy="685799"/>
              </a:xfrm>
              <a:grpFill/>
            </p:grpSpPr>
            <p:sp>
              <p:nvSpPr>
                <p:cNvPr id="788" name="Vrije vorm: vorm 787">
                  <a:extLst>
                    <a:ext uri="{FF2B5EF4-FFF2-40B4-BE49-F238E27FC236}">
                      <a16:creationId xmlns:a16="http://schemas.microsoft.com/office/drawing/2014/main" id="{0C63C5D8-9486-37D0-892E-FCCF983B9F9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9" name="Vrije vorm: vorm 788">
                  <a:extLst>
                    <a:ext uri="{FF2B5EF4-FFF2-40B4-BE49-F238E27FC236}">
                      <a16:creationId xmlns:a16="http://schemas.microsoft.com/office/drawing/2014/main" id="{D6C4DB76-80B9-7538-086B-19AE9F6541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7" name="Groep 766">
                <a:extLst>
                  <a:ext uri="{FF2B5EF4-FFF2-40B4-BE49-F238E27FC236}">
                    <a16:creationId xmlns:a16="http://schemas.microsoft.com/office/drawing/2014/main" id="{5E8E7D58-E5EA-8C62-4598-B40C3A735F18}"/>
                  </a:ext>
                </a:extLst>
              </p:cNvPr>
              <p:cNvGrpSpPr/>
              <p:nvPr/>
            </p:nvGrpSpPr>
            <p:grpSpPr>
              <a:xfrm>
                <a:off x="3825401" y="1930399"/>
                <a:ext cx="944504" cy="809593"/>
                <a:chOff x="5696016" y="3086100"/>
                <a:chExt cx="800080" cy="685799"/>
              </a:xfrm>
              <a:grpFill/>
            </p:grpSpPr>
            <p:sp>
              <p:nvSpPr>
                <p:cNvPr id="786" name="Vrije vorm: vorm 785">
                  <a:extLst>
                    <a:ext uri="{FF2B5EF4-FFF2-40B4-BE49-F238E27FC236}">
                      <a16:creationId xmlns:a16="http://schemas.microsoft.com/office/drawing/2014/main" id="{F9198D9D-7755-7670-8404-B8952ABC7F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7" name="Vrije vorm: vorm 786">
                  <a:extLst>
                    <a:ext uri="{FF2B5EF4-FFF2-40B4-BE49-F238E27FC236}">
                      <a16:creationId xmlns:a16="http://schemas.microsoft.com/office/drawing/2014/main" id="{96A1FC5E-5912-086F-EE89-2FC42FAF622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8" name="Groep 767">
                <a:extLst>
                  <a:ext uri="{FF2B5EF4-FFF2-40B4-BE49-F238E27FC236}">
                    <a16:creationId xmlns:a16="http://schemas.microsoft.com/office/drawing/2014/main" id="{DA6A14F1-21C4-6090-A1D1-98FB8A321ACD}"/>
                  </a:ext>
                </a:extLst>
              </p:cNvPr>
              <p:cNvGrpSpPr/>
              <p:nvPr/>
            </p:nvGrpSpPr>
            <p:grpSpPr>
              <a:xfrm>
                <a:off x="4877736" y="1930399"/>
                <a:ext cx="944504" cy="809593"/>
                <a:chOff x="5696016" y="3086100"/>
                <a:chExt cx="800080" cy="685799"/>
              </a:xfrm>
              <a:grpFill/>
            </p:grpSpPr>
            <p:sp>
              <p:nvSpPr>
                <p:cNvPr id="784" name="Vrije vorm: vorm 783">
                  <a:extLst>
                    <a:ext uri="{FF2B5EF4-FFF2-40B4-BE49-F238E27FC236}">
                      <a16:creationId xmlns:a16="http://schemas.microsoft.com/office/drawing/2014/main" id="{6148404B-9A22-5277-D63E-6904914272C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5" name="Vrije vorm: vorm 784">
                  <a:extLst>
                    <a:ext uri="{FF2B5EF4-FFF2-40B4-BE49-F238E27FC236}">
                      <a16:creationId xmlns:a16="http://schemas.microsoft.com/office/drawing/2014/main" id="{DEF9E7CA-ED9B-67B2-89AD-8535C7D64A7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9" name="Groep 768">
                <a:extLst>
                  <a:ext uri="{FF2B5EF4-FFF2-40B4-BE49-F238E27FC236}">
                    <a16:creationId xmlns:a16="http://schemas.microsoft.com/office/drawing/2014/main" id="{02BE17EE-6464-98C3-175E-A6524E96A2A1}"/>
                  </a:ext>
                </a:extLst>
              </p:cNvPr>
              <p:cNvGrpSpPr/>
              <p:nvPr/>
            </p:nvGrpSpPr>
            <p:grpSpPr>
              <a:xfrm>
                <a:off x="5930071" y="1930399"/>
                <a:ext cx="944504" cy="809593"/>
                <a:chOff x="5696016" y="3086100"/>
                <a:chExt cx="800080" cy="685799"/>
              </a:xfrm>
              <a:grpFill/>
            </p:grpSpPr>
            <p:sp>
              <p:nvSpPr>
                <p:cNvPr id="782" name="Vrije vorm: vorm 781">
                  <a:extLst>
                    <a:ext uri="{FF2B5EF4-FFF2-40B4-BE49-F238E27FC236}">
                      <a16:creationId xmlns:a16="http://schemas.microsoft.com/office/drawing/2014/main" id="{49ED593A-004C-4D94-D63E-6473FF4000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3" name="Vrije vorm: vorm 782">
                  <a:extLst>
                    <a:ext uri="{FF2B5EF4-FFF2-40B4-BE49-F238E27FC236}">
                      <a16:creationId xmlns:a16="http://schemas.microsoft.com/office/drawing/2014/main" id="{C22BFE05-8742-8025-F2E0-C6D0ABF4148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0" name="Groep 769">
                <a:extLst>
                  <a:ext uri="{FF2B5EF4-FFF2-40B4-BE49-F238E27FC236}">
                    <a16:creationId xmlns:a16="http://schemas.microsoft.com/office/drawing/2014/main" id="{61DE7A06-E30C-E494-76FC-79526867E061}"/>
                  </a:ext>
                </a:extLst>
              </p:cNvPr>
              <p:cNvGrpSpPr/>
              <p:nvPr/>
            </p:nvGrpSpPr>
            <p:grpSpPr>
              <a:xfrm>
                <a:off x="6982406" y="1930399"/>
                <a:ext cx="944504" cy="809593"/>
                <a:chOff x="5696016" y="3086100"/>
                <a:chExt cx="800080" cy="685799"/>
              </a:xfrm>
              <a:grpFill/>
            </p:grpSpPr>
            <p:sp>
              <p:nvSpPr>
                <p:cNvPr id="780" name="Vrije vorm: vorm 779">
                  <a:extLst>
                    <a:ext uri="{FF2B5EF4-FFF2-40B4-BE49-F238E27FC236}">
                      <a16:creationId xmlns:a16="http://schemas.microsoft.com/office/drawing/2014/main" id="{89988B3A-9063-F8C0-06C5-E9E45BCBB4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1" name="Vrije vorm: vorm 780">
                  <a:extLst>
                    <a:ext uri="{FF2B5EF4-FFF2-40B4-BE49-F238E27FC236}">
                      <a16:creationId xmlns:a16="http://schemas.microsoft.com/office/drawing/2014/main" id="{60D75AF5-5BF1-14C8-1D3C-5FA9B3B1BB6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1" name="Groep 770">
                <a:extLst>
                  <a:ext uri="{FF2B5EF4-FFF2-40B4-BE49-F238E27FC236}">
                    <a16:creationId xmlns:a16="http://schemas.microsoft.com/office/drawing/2014/main" id="{5D6AD66E-A785-70F3-E71E-ED0147EEC687}"/>
                  </a:ext>
                </a:extLst>
              </p:cNvPr>
              <p:cNvGrpSpPr/>
              <p:nvPr/>
            </p:nvGrpSpPr>
            <p:grpSpPr>
              <a:xfrm>
                <a:off x="8034741" y="1930399"/>
                <a:ext cx="944504" cy="809593"/>
                <a:chOff x="5696016" y="3086100"/>
                <a:chExt cx="800080" cy="685799"/>
              </a:xfrm>
              <a:grpFill/>
            </p:grpSpPr>
            <p:sp>
              <p:nvSpPr>
                <p:cNvPr id="778" name="Vrije vorm: vorm 777">
                  <a:extLst>
                    <a:ext uri="{FF2B5EF4-FFF2-40B4-BE49-F238E27FC236}">
                      <a16:creationId xmlns:a16="http://schemas.microsoft.com/office/drawing/2014/main" id="{8A92CC87-D312-BF8E-1DEC-1631F180813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79" name="Vrije vorm: vorm 778">
                  <a:extLst>
                    <a:ext uri="{FF2B5EF4-FFF2-40B4-BE49-F238E27FC236}">
                      <a16:creationId xmlns:a16="http://schemas.microsoft.com/office/drawing/2014/main" id="{C193340C-AA19-B695-0349-805B328A37A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2" name="Groep 771">
                <a:extLst>
                  <a:ext uri="{FF2B5EF4-FFF2-40B4-BE49-F238E27FC236}">
                    <a16:creationId xmlns:a16="http://schemas.microsoft.com/office/drawing/2014/main" id="{4EC63726-3A89-1171-AE8B-61D5EF2D23AD}"/>
                  </a:ext>
                </a:extLst>
              </p:cNvPr>
              <p:cNvGrpSpPr/>
              <p:nvPr/>
            </p:nvGrpSpPr>
            <p:grpSpPr>
              <a:xfrm>
                <a:off x="9087076" y="1930399"/>
                <a:ext cx="944504" cy="809593"/>
                <a:chOff x="5696016" y="3086100"/>
                <a:chExt cx="800080" cy="685799"/>
              </a:xfrm>
              <a:grpFill/>
            </p:grpSpPr>
            <p:sp>
              <p:nvSpPr>
                <p:cNvPr id="776" name="Vrije vorm: vorm 775">
                  <a:extLst>
                    <a:ext uri="{FF2B5EF4-FFF2-40B4-BE49-F238E27FC236}">
                      <a16:creationId xmlns:a16="http://schemas.microsoft.com/office/drawing/2014/main" id="{E24F1694-99EA-B8B5-965F-7DFC3FFEA30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77" name="Vrije vorm: vorm 776">
                  <a:extLst>
                    <a:ext uri="{FF2B5EF4-FFF2-40B4-BE49-F238E27FC236}">
                      <a16:creationId xmlns:a16="http://schemas.microsoft.com/office/drawing/2014/main" id="{338C8863-571A-5018-57CE-03052D6173A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3" name="Groep 772">
                <a:extLst>
                  <a:ext uri="{FF2B5EF4-FFF2-40B4-BE49-F238E27FC236}">
                    <a16:creationId xmlns:a16="http://schemas.microsoft.com/office/drawing/2014/main" id="{8C343C4C-0E7F-9517-A7CC-F8C2F928781C}"/>
                  </a:ext>
                </a:extLst>
              </p:cNvPr>
              <p:cNvGrpSpPr/>
              <p:nvPr/>
            </p:nvGrpSpPr>
            <p:grpSpPr>
              <a:xfrm>
                <a:off x="10139413" y="1930399"/>
                <a:ext cx="944504" cy="809593"/>
                <a:chOff x="5696016" y="3086100"/>
                <a:chExt cx="800080" cy="685799"/>
              </a:xfrm>
              <a:grpFill/>
            </p:grpSpPr>
            <p:sp>
              <p:nvSpPr>
                <p:cNvPr id="774" name="Vrije vorm: vorm 773">
                  <a:extLst>
                    <a:ext uri="{FF2B5EF4-FFF2-40B4-BE49-F238E27FC236}">
                      <a16:creationId xmlns:a16="http://schemas.microsoft.com/office/drawing/2014/main" id="{ADB072F9-1004-5BED-1CD8-4E3A060FA5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75" name="Vrije vorm: vorm 774">
                  <a:extLst>
                    <a:ext uri="{FF2B5EF4-FFF2-40B4-BE49-F238E27FC236}">
                      <a16:creationId xmlns:a16="http://schemas.microsoft.com/office/drawing/2014/main" id="{97EE68DF-1DAB-01F1-DC3B-925ADF19C83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1" name="Groep 670">
              <a:extLst>
                <a:ext uri="{FF2B5EF4-FFF2-40B4-BE49-F238E27FC236}">
                  <a16:creationId xmlns:a16="http://schemas.microsoft.com/office/drawing/2014/main" id="{352FA381-6F83-2A9C-922B-1D3DC1DAECA7}"/>
                </a:ext>
              </a:extLst>
            </p:cNvPr>
            <p:cNvGrpSpPr/>
            <p:nvPr/>
          </p:nvGrpSpPr>
          <p:grpSpPr>
            <a:xfrm>
              <a:off x="649432" y="1456834"/>
              <a:ext cx="2409536" cy="187292"/>
              <a:chOff x="668396" y="1930399"/>
              <a:chExt cx="10415521" cy="809593"/>
            </a:xfrm>
            <a:grpFill/>
          </p:grpSpPr>
          <p:grpSp>
            <p:nvGrpSpPr>
              <p:cNvPr id="734" name="Groep 733">
                <a:extLst>
                  <a:ext uri="{FF2B5EF4-FFF2-40B4-BE49-F238E27FC236}">
                    <a16:creationId xmlns:a16="http://schemas.microsoft.com/office/drawing/2014/main" id="{53109F0C-7C12-EBE8-9D51-CE53585BB42B}"/>
                  </a:ext>
                </a:extLst>
              </p:cNvPr>
              <p:cNvGrpSpPr/>
              <p:nvPr/>
            </p:nvGrpSpPr>
            <p:grpSpPr>
              <a:xfrm>
                <a:off x="668396" y="1930399"/>
                <a:ext cx="944504" cy="809593"/>
                <a:chOff x="5696016" y="3086100"/>
                <a:chExt cx="800080" cy="685799"/>
              </a:xfrm>
              <a:grpFill/>
            </p:grpSpPr>
            <p:sp>
              <p:nvSpPr>
                <p:cNvPr id="762" name="Vrije vorm: vorm 761">
                  <a:extLst>
                    <a:ext uri="{FF2B5EF4-FFF2-40B4-BE49-F238E27FC236}">
                      <a16:creationId xmlns:a16="http://schemas.microsoft.com/office/drawing/2014/main" id="{8D6F6A29-EA22-D1E6-90C0-E947C346530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63" name="Vrije vorm: vorm 762">
                  <a:extLst>
                    <a:ext uri="{FF2B5EF4-FFF2-40B4-BE49-F238E27FC236}">
                      <a16:creationId xmlns:a16="http://schemas.microsoft.com/office/drawing/2014/main" id="{47A5795B-6001-5224-73D5-5A6B3D65ED4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5" name="Groep 734">
                <a:extLst>
                  <a:ext uri="{FF2B5EF4-FFF2-40B4-BE49-F238E27FC236}">
                    <a16:creationId xmlns:a16="http://schemas.microsoft.com/office/drawing/2014/main" id="{93DDD6C1-4615-C615-9E94-BD021C0133F1}"/>
                  </a:ext>
                </a:extLst>
              </p:cNvPr>
              <p:cNvGrpSpPr/>
              <p:nvPr/>
            </p:nvGrpSpPr>
            <p:grpSpPr>
              <a:xfrm>
                <a:off x="1720731" y="1930399"/>
                <a:ext cx="944504" cy="809593"/>
                <a:chOff x="5696016" y="3086100"/>
                <a:chExt cx="800080" cy="685799"/>
              </a:xfrm>
              <a:grpFill/>
            </p:grpSpPr>
            <p:sp>
              <p:nvSpPr>
                <p:cNvPr id="760" name="Vrije vorm: vorm 759">
                  <a:extLst>
                    <a:ext uri="{FF2B5EF4-FFF2-40B4-BE49-F238E27FC236}">
                      <a16:creationId xmlns:a16="http://schemas.microsoft.com/office/drawing/2014/main" id="{035620D0-C8C6-8794-C6BE-617DCE5F51F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61" name="Vrije vorm: vorm 760">
                  <a:extLst>
                    <a:ext uri="{FF2B5EF4-FFF2-40B4-BE49-F238E27FC236}">
                      <a16:creationId xmlns:a16="http://schemas.microsoft.com/office/drawing/2014/main" id="{A2A3E4B8-2321-DF26-678F-A37060AF954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6" name="Groep 735">
                <a:extLst>
                  <a:ext uri="{FF2B5EF4-FFF2-40B4-BE49-F238E27FC236}">
                    <a16:creationId xmlns:a16="http://schemas.microsoft.com/office/drawing/2014/main" id="{47CDECA2-3371-B524-67AD-BDEF080558F2}"/>
                  </a:ext>
                </a:extLst>
              </p:cNvPr>
              <p:cNvGrpSpPr/>
              <p:nvPr/>
            </p:nvGrpSpPr>
            <p:grpSpPr>
              <a:xfrm>
                <a:off x="2773066" y="1930399"/>
                <a:ext cx="944504" cy="809593"/>
                <a:chOff x="5696016" y="3086100"/>
                <a:chExt cx="800080" cy="685799"/>
              </a:xfrm>
              <a:grpFill/>
            </p:grpSpPr>
            <p:sp>
              <p:nvSpPr>
                <p:cNvPr id="758" name="Vrije vorm: vorm 757">
                  <a:extLst>
                    <a:ext uri="{FF2B5EF4-FFF2-40B4-BE49-F238E27FC236}">
                      <a16:creationId xmlns:a16="http://schemas.microsoft.com/office/drawing/2014/main" id="{24DA952D-4A34-56E4-DF30-89642457DD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9" name="Vrije vorm: vorm 758">
                  <a:extLst>
                    <a:ext uri="{FF2B5EF4-FFF2-40B4-BE49-F238E27FC236}">
                      <a16:creationId xmlns:a16="http://schemas.microsoft.com/office/drawing/2014/main" id="{AA75E013-2CC7-7969-43DC-3F72B6EF71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7" name="Groep 736">
                <a:extLst>
                  <a:ext uri="{FF2B5EF4-FFF2-40B4-BE49-F238E27FC236}">
                    <a16:creationId xmlns:a16="http://schemas.microsoft.com/office/drawing/2014/main" id="{D2117680-6030-AD00-F6DB-C8716A7E57FB}"/>
                  </a:ext>
                </a:extLst>
              </p:cNvPr>
              <p:cNvGrpSpPr/>
              <p:nvPr/>
            </p:nvGrpSpPr>
            <p:grpSpPr>
              <a:xfrm>
                <a:off x="3825401" y="1930399"/>
                <a:ext cx="944504" cy="809593"/>
                <a:chOff x="5696016" y="3086100"/>
                <a:chExt cx="800080" cy="685799"/>
              </a:xfrm>
              <a:grpFill/>
            </p:grpSpPr>
            <p:sp>
              <p:nvSpPr>
                <p:cNvPr id="756" name="Vrije vorm: vorm 755">
                  <a:extLst>
                    <a:ext uri="{FF2B5EF4-FFF2-40B4-BE49-F238E27FC236}">
                      <a16:creationId xmlns:a16="http://schemas.microsoft.com/office/drawing/2014/main" id="{4849AE39-4E9D-6A48-B4A5-26E019DB470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7" name="Vrije vorm: vorm 756">
                  <a:extLst>
                    <a:ext uri="{FF2B5EF4-FFF2-40B4-BE49-F238E27FC236}">
                      <a16:creationId xmlns:a16="http://schemas.microsoft.com/office/drawing/2014/main" id="{4E12B09E-1409-B5AD-438D-6ED20A1B37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8" name="Groep 737">
                <a:extLst>
                  <a:ext uri="{FF2B5EF4-FFF2-40B4-BE49-F238E27FC236}">
                    <a16:creationId xmlns:a16="http://schemas.microsoft.com/office/drawing/2014/main" id="{7EE5863E-9F10-95E9-F055-89AC4C22337C}"/>
                  </a:ext>
                </a:extLst>
              </p:cNvPr>
              <p:cNvGrpSpPr/>
              <p:nvPr/>
            </p:nvGrpSpPr>
            <p:grpSpPr>
              <a:xfrm>
                <a:off x="4877736" y="1930399"/>
                <a:ext cx="944504" cy="809593"/>
                <a:chOff x="5696016" y="3086100"/>
                <a:chExt cx="800080" cy="685799"/>
              </a:xfrm>
              <a:grpFill/>
            </p:grpSpPr>
            <p:sp>
              <p:nvSpPr>
                <p:cNvPr id="754" name="Vrije vorm: vorm 753">
                  <a:extLst>
                    <a:ext uri="{FF2B5EF4-FFF2-40B4-BE49-F238E27FC236}">
                      <a16:creationId xmlns:a16="http://schemas.microsoft.com/office/drawing/2014/main" id="{DC3A5B8C-8FCC-76AF-5977-FBEF4A6DA42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5" name="Vrije vorm: vorm 754">
                  <a:extLst>
                    <a:ext uri="{FF2B5EF4-FFF2-40B4-BE49-F238E27FC236}">
                      <a16:creationId xmlns:a16="http://schemas.microsoft.com/office/drawing/2014/main" id="{1FC4E6A8-DDF0-3F81-DE2F-D7920D4E0B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9" name="Groep 738">
                <a:extLst>
                  <a:ext uri="{FF2B5EF4-FFF2-40B4-BE49-F238E27FC236}">
                    <a16:creationId xmlns:a16="http://schemas.microsoft.com/office/drawing/2014/main" id="{58CA71F2-1D3B-5F5D-A492-5CC90D74E697}"/>
                  </a:ext>
                </a:extLst>
              </p:cNvPr>
              <p:cNvGrpSpPr/>
              <p:nvPr/>
            </p:nvGrpSpPr>
            <p:grpSpPr>
              <a:xfrm>
                <a:off x="5930071" y="1930399"/>
                <a:ext cx="944504" cy="809593"/>
                <a:chOff x="5696016" y="3086100"/>
                <a:chExt cx="800080" cy="685799"/>
              </a:xfrm>
              <a:grpFill/>
            </p:grpSpPr>
            <p:sp>
              <p:nvSpPr>
                <p:cNvPr id="752" name="Vrije vorm: vorm 751">
                  <a:extLst>
                    <a:ext uri="{FF2B5EF4-FFF2-40B4-BE49-F238E27FC236}">
                      <a16:creationId xmlns:a16="http://schemas.microsoft.com/office/drawing/2014/main" id="{B249EA7F-2561-9F69-3B87-8796BFA07E7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3" name="Vrije vorm: vorm 752">
                  <a:extLst>
                    <a:ext uri="{FF2B5EF4-FFF2-40B4-BE49-F238E27FC236}">
                      <a16:creationId xmlns:a16="http://schemas.microsoft.com/office/drawing/2014/main" id="{25329AC1-3580-FF0D-A29E-E75306B393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0" name="Groep 739">
                <a:extLst>
                  <a:ext uri="{FF2B5EF4-FFF2-40B4-BE49-F238E27FC236}">
                    <a16:creationId xmlns:a16="http://schemas.microsoft.com/office/drawing/2014/main" id="{460A8DA4-4EF8-555C-C536-43911B46770B}"/>
                  </a:ext>
                </a:extLst>
              </p:cNvPr>
              <p:cNvGrpSpPr/>
              <p:nvPr/>
            </p:nvGrpSpPr>
            <p:grpSpPr>
              <a:xfrm>
                <a:off x="6982406" y="1930399"/>
                <a:ext cx="944504" cy="809593"/>
                <a:chOff x="5696016" y="3086100"/>
                <a:chExt cx="800080" cy="685799"/>
              </a:xfrm>
              <a:grpFill/>
            </p:grpSpPr>
            <p:sp>
              <p:nvSpPr>
                <p:cNvPr id="750" name="Vrije vorm: vorm 749">
                  <a:extLst>
                    <a:ext uri="{FF2B5EF4-FFF2-40B4-BE49-F238E27FC236}">
                      <a16:creationId xmlns:a16="http://schemas.microsoft.com/office/drawing/2014/main" id="{339BB19C-33B7-3D36-4C2C-3F886DB068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1" name="Vrije vorm: vorm 750">
                  <a:extLst>
                    <a:ext uri="{FF2B5EF4-FFF2-40B4-BE49-F238E27FC236}">
                      <a16:creationId xmlns:a16="http://schemas.microsoft.com/office/drawing/2014/main" id="{E1CC3148-BE64-8D90-52F0-A34A5C5CCE6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1" name="Groep 740">
                <a:extLst>
                  <a:ext uri="{FF2B5EF4-FFF2-40B4-BE49-F238E27FC236}">
                    <a16:creationId xmlns:a16="http://schemas.microsoft.com/office/drawing/2014/main" id="{0B59BE31-151B-32F5-B764-F26EDD01C86A}"/>
                  </a:ext>
                </a:extLst>
              </p:cNvPr>
              <p:cNvGrpSpPr/>
              <p:nvPr/>
            </p:nvGrpSpPr>
            <p:grpSpPr>
              <a:xfrm>
                <a:off x="8034741" y="1930399"/>
                <a:ext cx="944504" cy="809593"/>
                <a:chOff x="5696016" y="3086100"/>
                <a:chExt cx="800080" cy="685799"/>
              </a:xfrm>
              <a:grpFill/>
            </p:grpSpPr>
            <p:sp>
              <p:nvSpPr>
                <p:cNvPr id="748" name="Vrije vorm: vorm 747">
                  <a:extLst>
                    <a:ext uri="{FF2B5EF4-FFF2-40B4-BE49-F238E27FC236}">
                      <a16:creationId xmlns:a16="http://schemas.microsoft.com/office/drawing/2014/main" id="{28401B81-F33B-6012-53BE-D86DB8A643D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49" name="Vrije vorm: vorm 748">
                  <a:extLst>
                    <a:ext uri="{FF2B5EF4-FFF2-40B4-BE49-F238E27FC236}">
                      <a16:creationId xmlns:a16="http://schemas.microsoft.com/office/drawing/2014/main" id="{84FC7A83-80F7-11B4-13A0-7CA6EC4A94B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2" name="Groep 741">
                <a:extLst>
                  <a:ext uri="{FF2B5EF4-FFF2-40B4-BE49-F238E27FC236}">
                    <a16:creationId xmlns:a16="http://schemas.microsoft.com/office/drawing/2014/main" id="{79C6367E-1E83-62DD-4301-F2C41A58CAA5}"/>
                  </a:ext>
                </a:extLst>
              </p:cNvPr>
              <p:cNvGrpSpPr/>
              <p:nvPr/>
            </p:nvGrpSpPr>
            <p:grpSpPr>
              <a:xfrm>
                <a:off x="9087076" y="1930399"/>
                <a:ext cx="944504" cy="809593"/>
                <a:chOff x="5696016" y="3086100"/>
                <a:chExt cx="800080" cy="685799"/>
              </a:xfrm>
              <a:grpFill/>
            </p:grpSpPr>
            <p:sp>
              <p:nvSpPr>
                <p:cNvPr id="746" name="Vrije vorm: vorm 745">
                  <a:extLst>
                    <a:ext uri="{FF2B5EF4-FFF2-40B4-BE49-F238E27FC236}">
                      <a16:creationId xmlns:a16="http://schemas.microsoft.com/office/drawing/2014/main" id="{1356A15F-8E20-2052-9478-C2784A63CCD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47" name="Vrije vorm: vorm 746">
                  <a:extLst>
                    <a:ext uri="{FF2B5EF4-FFF2-40B4-BE49-F238E27FC236}">
                      <a16:creationId xmlns:a16="http://schemas.microsoft.com/office/drawing/2014/main" id="{5A417055-FAE1-1463-3AF1-6E441091AB9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3" name="Groep 742">
                <a:extLst>
                  <a:ext uri="{FF2B5EF4-FFF2-40B4-BE49-F238E27FC236}">
                    <a16:creationId xmlns:a16="http://schemas.microsoft.com/office/drawing/2014/main" id="{5FA525A4-FB2B-C4F4-58BF-D5365008575A}"/>
                  </a:ext>
                </a:extLst>
              </p:cNvPr>
              <p:cNvGrpSpPr/>
              <p:nvPr/>
            </p:nvGrpSpPr>
            <p:grpSpPr>
              <a:xfrm>
                <a:off x="10139413" y="1930399"/>
                <a:ext cx="944504" cy="809593"/>
                <a:chOff x="5696016" y="3086100"/>
                <a:chExt cx="800080" cy="685799"/>
              </a:xfrm>
              <a:grpFill/>
            </p:grpSpPr>
            <p:sp>
              <p:nvSpPr>
                <p:cNvPr id="744" name="Vrije vorm: vorm 743">
                  <a:extLst>
                    <a:ext uri="{FF2B5EF4-FFF2-40B4-BE49-F238E27FC236}">
                      <a16:creationId xmlns:a16="http://schemas.microsoft.com/office/drawing/2014/main" id="{64E62C73-157A-E633-F34F-603EC808B33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45" name="Vrije vorm: vorm 744">
                  <a:extLst>
                    <a:ext uri="{FF2B5EF4-FFF2-40B4-BE49-F238E27FC236}">
                      <a16:creationId xmlns:a16="http://schemas.microsoft.com/office/drawing/2014/main" id="{F7EF401B-989A-5476-1391-5036293A255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2" name="Groep 671">
              <a:extLst>
                <a:ext uri="{FF2B5EF4-FFF2-40B4-BE49-F238E27FC236}">
                  <a16:creationId xmlns:a16="http://schemas.microsoft.com/office/drawing/2014/main" id="{608EA65F-D778-645B-334B-04EEE70AC4E0}"/>
                </a:ext>
              </a:extLst>
            </p:cNvPr>
            <p:cNvGrpSpPr/>
            <p:nvPr/>
          </p:nvGrpSpPr>
          <p:grpSpPr>
            <a:xfrm>
              <a:off x="649432" y="1690867"/>
              <a:ext cx="2409536" cy="187292"/>
              <a:chOff x="668396" y="1930399"/>
              <a:chExt cx="10415521" cy="809593"/>
            </a:xfrm>
            <a:grpFill/>
          </p:grpSpPr>
          <p:grpSp>
            <p:nvGrpSpPr>
              <p:cNvPr id="704" name="Groep 703">
                <a:extLst>
                  <a:ext uri="{FF2B5EF4-FFF2-40B4-BE49-F238E27FC236}">
                    <a16:creationId xmlns:a16="http://schemas.microsoft.com/office/drawing/2014/main" id="{D82EC138-54D0-C73E-2EA0-C75AA743EABF}"/>
                  </a:ext>
                </a:extLst>
              </p:cNvPr>
              <p:cNvGrpSpPr/>
              <p:nvPr/>
            </p:nvGrpSpPr>
            <p:grpSpPr>
              <a:xfrm>
                <a:off x="668396" y="1930399"/>
                <a:ext cx="944504" cy="809593"/>
                <a:chOff x="5696016" y="3086100"/>
                <a:chExt cx="800080" cy="685799"/>
              </a:xfrm>
              <a:grpFill/>
            </p:grpSpPr>
            <p:sp>
              <p:nvSpPr>
                <p:cNvPr id="732" name="Vrije vorm: vorm 731">
                  <a:extLst>
                    <a:ext uri="{FF2B5EF4-FFF2-40B4-BE49-F238E27FC236}">
                      <a16:creationId xmlns:a16="http://schemas.microsoft.com/office/drawing/2014/main" id="{D49478BE-0E24-8104-EA31-B6AF15F2412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33" name="Vrije vorm: vorm 732">
                  <a:extLst>
                    <a:ext uri="{FF2B5EF4-FFF2-40B4-BE49-F238E27FC236}">
                      <a16:creationId xmlns:a16="http://schemas.microsoft.com/office/drawing/2014/main" id="{DAE1706B-4F77-C7D4-CDC3-EB683E72B1E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5" name="Groep 704">
                <a:extLst>
                  <a:ext uri="{FF2B5EF4-FFF2-40B4-BE49-F238E27FC236}">
                    <a16:creationId xmlns:a16="http://schemas.microsoft.com/office/drawing/2014/main" id="{4D1A99C1-4B2A-90CA-9E3E-F9446AFEF7B7}"/>
                  </a:ext>
                </a:extLst>
              </p:cNvPr>
              <p:cNvGrpSpPr/>
              <p:nvPr/>
            </p:nvGrpSpPr>
            <p:grpSpPr>
              <a:xfrm>
                <a:off x="1720731" y="1930399"/>
                <a:ext cx="944504" cy="809593"/>
                <a:chOff x="5696016" y="3086100"/>
                <a:chExt cx="800080" cy="685799"/>
              </a:xfrm>
              <a:grpFill/>
            </p:grpSpPr>
            <p:sp>
              <p:nvSpPr>
                <p:cNvPr id="730" name="Vrije vorm: vorm 729">
                  <a:extLst>
                    <a:ext uri="{FF2B5EF4-FFF2-40B4-BE49-F238E27FC236}">
                      <a16:creationId xmlns:a16="http://schemas.microsoft.com/office/drawing/2014/main" id="{3BAFA834-031D-1182-4CD8-57036D63A83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31" name="Vrije vorm: vorm 730">
                  <a:extLst>
                    <a:ext uri="{FF2B5EF4-FFF2-40B4-BE49-F238E27FC236}">
                      <a16:creationId xmlns:a16="http://schemas.microsoft.com/office/drawing/2014/main" id="{E3EB4370-8207-CBD1-C699-181841BFCD6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6" name="Groep 705">
                <a:extLst>
                  <a:ext uri="{FF2B5EF4-FFF2-40B4-BE49-F238E27FC236}">
                    <a16:creationId xmlns:a16="http://schemas.microsoft.com/office/drawing/2014/main" id="{337AF396-67DC-F2E3-FE7F-6CF1B7E27F09}"/>
                  </a:ext>
                </a:extLst>
              </p:cNvPr>
              <p:cNvGrpSpPr/>
              <p:nvPr/>
            </p:nvGrpSpPr>
            <p:grpSpPr>
              <a:xfrm>
                <a:off x="2773066" y="1930399"/>
                <a:ext cx="944504" cy="809593"/>
                <a:chOff x="5696016" y="3086100"/>
                <a:chExt cx="800080" cy="685799"/>
              </a:xfrm>
              <a:grpFill/>
            </p:grpSpPr>
            <p:sp>
              <p:nvSpPr>
                <p:cNvPr id="728" name="Vrije vorm: vorm 727">
                  <a:extLst>
                    <a:ext uri="{FF2B5EF4-FFF2-40B4-BE49-F238E27FC236}">
                      <a16:creationId xmlns:a16="http://schemas.microsoft.com/office/drawing/2014/main" id="{A675EC17-2F8E-E539-D441-99601CA52F5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9" name="Vrije vorm: vorm 728">
                  <a:extLst>
                    <a:ext uri="{FF2B5EF4-FFF2-40B4-BE49-F238E27FC236}">
                      <a16:creationId xmlns:a16="http://schemas.microsoft.com/office/drawing/2014/main" id="{AF5DC511-699E-CDAB-5817-5235541CA43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7" name="Groep 706">
                <a:extLst>
                  <a:ext uri="{FF2B5EF4-FFF2-40B4-BE49-F238E27FC236}">
                    <a16:creationId xmlns:a16="http://schemas.microsoft.com/office/drawing/2014/main" id="{C22513EE-BA4F-F908-AD61-C7FCE83B5CCF}"/>
                  </a:ext>
                </a:extLst>
              </p:cNvPr>
              <p:cNvGrpSpPr/>
              <p:nvPr/>
            </p:nvGrpSpPr>
            <p:grpSpPr>
              <a:xfrm>
                <a:off x="3825401" y="1930399"/>
                <a:ext cx="944504" cy="809593"/>
                <a:chOff x="5696016" y="3086100"/>
                <a:chExt cx="800080" cy="685799"/>
              </a:xfrm>
              <a:grpFill/>
            </p:grpSpPr>
            <p:sp>
              <p:nvSpPr>
                <p:cNvPr id="726" name="Vrije vorm: vorm 725">
                  <a:extLst>
                    <a:ext uri="{FF2B5EF4-FFF2-40B4-BE49-F238E27FC236}">
                      <a16:creationId xmlns:a16="http://schemas.microsoft.com/office/drawing/2014/main" id="{082FB8D8-497C-4FBC-CE96-D970CC6337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7" name="Vrije vorm: vorm 726">
                  <a:extLst>
                    <a:ext uri="{FF2B5EF4-FFF2-40B4-BE49-F238E27FC236}">
                      <a16:creationId xmlns:a16="http://schemas.microsoft.com/office/drawing/2014/main" id="{CB197C65-1F56-7941-FE8C-CE6FB33F5A7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8" name="Groep 707">
                <a:extLst>
                  <a:ext uri="{FF2B5EF4-FFF2-40B4-BE49-F238E27FC236}">
                    <a16:creationId xmlns:a16="http://schemas.microsoft.com/office/drawing/2014/main" id="{60EDB7D8-60E9-8520-0147-D9B7B9856234}"/>
                  </a:ext>
                </a:extLst>
              </p:cNvPr>
              <p:cNvGrpSpPr/>
              <p:nvPr/>
            </p:nvGrpSpPr>
            <p:grpSpPr>
              <a:xfrm>
                <a:off x="4877736" y="1930399"/>
                <a:ext cx="944504" cy="809593"/>
                <a:chOff x="5696016" y="3086100"/>
                <a:chExt cx="800080" cy="685799"/>
              </a:xfrm>
              <a:grpFill/>
            </p:grpSpPr>
            <p:sp>
              <p:nvSpPr>
                <p:cNvPr id="724" name="Vrije vorm: vorm 723">
                  <a:extLst>
                    <a:ext uri="{FF2B5EF4-FFF2-40B4-BE49-F238E27FC236}">
                      <a16:creationId xmlns:a16="http://schemas.microsoft.com/office/drawing/2014/main" id="{4418A127-0819-F126-B474-45A88593E1A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5" name="Vrije vorm: vorm 724">
                  <a:extLst>
                    <a:ext uri="{FF2B5EF4-FFF2-40B4-BE49-F238E27FC236}">
                      <a16:creationId xmlns:a16="http://schemas.microsoft.com/office/drawing/2014/main" id="{45C13F47-07D9-5740-5B64-28995A9209B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9" name="Groep 708">
                <a:extLst>
                  <a:ext uri="{FF2B5EF4-FFF2-40B4-BE49-F238E27FC236}">
                    <a16:creationId xmlns:a16="http://schemas.microsoft.com/office/drawing/2014/main" id="{34C5ED4B-1E9B-6AD4-A128-801D644A1885}"/>
                  </a:ext>
                </a:extLst>
              </p:cNvPr>
              <p:cNvGrpSpPr/>
              <p:nvPr/>
            </p:nvGrpSpPr>
            <p:grpSpPr>
              <a:xfrm>
                <a:off x="5930071" y="1930399"/>
                <a:ext cx="944504" cy="809593"/>
                <a:chOff x="5696016" y="3086100"/>
                <a:chExt cx="800080" cy="685799"/>
              </a:xfrm>
              <a:grpFill/>
            </p:grpSpPr>
            <p:sp>
              <p:nvSpPr>
                <p:cNvPr id="722" name="Vrije vorm: vorm 721">
                  <a:extLst>
                    <a:ext uri="{FF2B5EF4-FFF2-40B4-BE49-F238E27FC236}">
                      <a16:creationId xmlns:a16="http://schemas.microsoft.com/office/drawing/2014/main" id="{91897E54-8651-8357-60ED-755F28A1525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3" name="Vrije vorm: vorm 722">
                  <a:extLst>
                    <a:ext uri="{FF2B5EF4-FFF2-40B4-BE49-F238E27FC236}">
                      <a16:creationId xmlns:a16="http://schemas.microsoft.com/office/drawing/2014/main" id="{1778AE00-B6F4-06DA-BE7E-B2C391A14ED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0" name="Groep 709">
                <a:extLst>
                  <a:ext uri="{FF2B5EF4-FFF2-40B4-BE49-F238E27FC236}">
                    <a16:creationId xmlns:a16="http://schemas.microsoft.com/office/drawing/2014/main" id="{CAAD4E5B-66A5-6548-2395-63F64D356D09}"/>
                  </a:ext>
                </a:extLst>
              </p:cNvPr>
              <p:cNvGrpSpPr/>
              <p:nvPr/>
            </p:nvGrpSpPr>
            <p:grpSpPr>
              <a:xfrm>
                <a:off x="6982406" y="1930399"/>
                <a:ext cx="944504" cy="809593"/>
                <a:chOff x="5696016" y="3086100"/>
                <a:chExt cx="800080" cy="685799"/>
              </a:xfrm>
              <a:grpFill/>
            </p:grpSpPr>
            <p:sp>
              <p:nvSpPr>
                <p:cNvPr id="720" name="Vrije vorm: vorm 719">
                  <a:extLst>
                    <a:ext uri="{FF2B5EF4-FFF2-40B4-BE49-F238E27FC236}">
                      <a16:creationId xmlns:a16="http://schemas.microsoft.com/office/drawing/2014/main" id="{24C6D6C2-66B0-928B-62DE-5183F65CDF1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1" name="Vrije vorm: vorm 720">
                  <a:extLst>
                    <a:ext uri="{FF2B5EF4-FFF2-40B4-BE49-F238E27FC236}">
                      <a16:creationId xmlns:a16="http://schemas.microsoft.com/office/drawing/2014/main" id="{23C0AD91-36EB-35DF-BEF7-4D7F161454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1" name="Groep 710">
                <a:extLst>
                  <a:ext uri="{FF2B5EF4-FFF2-40B4-BE49-F238E27FC236}">
                    <a16:creationId xmlns:a16="http://schemas.microsoft.com/office/drawing/2014/main" id="{2B89EA7F-A28A-D952-0ABE-5442CAD51EA8}"/>
                  </a:ext>
                </a:extLst>
              </p:cNvPr>
              <p:cNvGrpSpPr/>
              <p:nvPr/>
            </p:nvGrpSpPr>
            <p:grpSpPr>
              <a:xfrm>
                <a:off x="8034741" y="1930399"/>
                <a:ext cx="944504" cy="809593"/>
                <a:chOff x="5696016" y="3086100"/>
                <a:chExt cx="800080" cy="685799"/>
              </a:xfrm>
              <a:grpFill/>
            </p:grpSpPr>
            <p:sp>
              <p:nvSpPr>
                <p:cNvPr id="718" name="Vrije vorm: vorm 717">
                  <a:extLst>
                    <a:ext uri="{FF2B5EF4-FFF2-40B4-BE49-F238E27FC236}">
                      <a16:creationId xmlns:a16="http://schemas.microsoft.com/office/drawing/2014/main" id="{B825E7BE-C24E-54B3-0A8A-0B9FF975C0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9" name="Vrije vorm: vorm 718">
                  <a:extLst>
                    <a:ext uri="{FF2B5EF4-FFF2-40B4-BE49-F238E27FC236}">
                      <a16:creationId xmlns:a16="http://schemas.microsoft.com/office/drawing/2014/main" id="{40B1B4DB-B2E9-1346-124F-85DEA516A02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2" name="Groep 711">
                <a:extLst>
                  <a:ext uri="{FF2B5EF4-FFF2-40B4-BE49-F238E27FC236}">
                    <a16:creationId xmlns:a16="http://schemas.microsoft.com/office/drawing/2014/main" id="{EA6A1D05-C451-BBE8-EAED-C4E1CAD8B88E}"/>
                  </a:ext>
                </a:extLst>
              </p:cNvPr>
              <p:cNvGrpSpPr/>
              <p:nvPr/>
            </p:nvGrpSpPr>
            <p:grpSpPr>
              <a:xfrm>
                <a:off x="9087076" y="1930399"/>
                <a:ext cx="944504" cy="809593"/>
                <a:chOff x="5696016" y="3086100"/>
                <a:chExt cx="800080" cy="685799"/>
              </a:xfrm>
              <a:grpFill/>
            </p:grpSpPr>
            <p:sp>
              <p:nvSpPr>
                <p:cNvPr id="716" name="Vrije vorm: vorm 715">
                  <a:extLst>
                    <a:ext uri="{FF2B5EF4-FFF2-40B4-BE49-F238E27FC236}">
                      <a16:creationId xmlns:a16="http://schemas.microsoft.com/office/drawing/2014/main" id="{C2A3F3A8-6189-9358-5624-F5072C1D8B1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7" name="Vrije vorm: vorm 716">
                  <a:extLst>
                    <a:ext uri="{FF2B5EF4-FFF2-40B4-BE49-F238E27FC236}">
                      <a16:creationId xmlns:a16="http://schemas.microsoft.com/office/drawing/2014/main" id="{E141A885-32E7-F757-C742-9E4AEB64583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3" name="Groep 712">
                <a:extLst>
                  <a:ext uri="{FF2B5EF4-FFF2-40B4-BE49-F238E27FC236}">
                    <a16:creationId xmlns:a16="http://schemas.microsoft.com/office/drawing/2014/main" id="{C67EE091-7594-0668-3F37-D6D2F80AC2EF}"/>
                  </a:ext>
                </a:extLst>
              </p:cNvPr>
              <p:cNvGrpSpPr/>
              <p:nvPr/>
            </p:nvGrpSpPr>
            <p:grpSpPr>
              <a:xfrm>
                <a:off x="10139413" y="1930399"/>
                <a:ext cx="944504" cy="809593"/>
                <a:chOff x="5696016" y="3086100"/>
                <a:chExt cx="800080" cy="685799"/>
              </a:xfrm>
              <a:grpFill/>
            </p:grpSpPr>
            <p:sp>
              <p:nvSpPr>
                <p:cNvPr id="714" name="Vrije vorm: vorm 713">
                  <a:extLst>
                    <a:ext uri="{FF2B5EF4-FFF2-40B4-BE49-F238E27FC236}">
                      <a16:creationId xmlns:a16="http://schemas.microsoft.com/office/drawing/2014/main" id="{7DA086CF-639A-8371-D16F-30F4BDEE2A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5" name="Vrije vorm: vorm 714">
                  <a:extLst>
                    <a:ext uri="{FF2B5EF4-FFF2-40B4-BE49-F238E27FC236}">
                      <a16:creationId xmlns:a16="http://schemas.microsoft.com/office/drawing/2014/main" id="{3F668F69-9419-01E5-DD08-24B9A409C0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3" name="Groep 672">
              <a:extLst>
                <a:ext uri="{FF2B5EF4-FFF2-40B4-BE49-F238E27FC236}">
                  <a16:creationId xmlns:a16="http://schemas.microsoft.com/office/drawing/2014/main" id="{FAC2BBD9-8762-B296-9BF0-03B5B2E85ED5}"/>
                </a:ext>
              </a:extLst>
            </p:cNvPr>
            <p:cNvGrpSpPr/>
            <p:nvPr/>
          </p:nvGrpSpPr>
          <p:grpSpPr>
            <a:xfrm>
              <a:off x="649432" y="1924901"/>
              <a:ext cx="2409536" cy="187292"/>
              <a:chOff x="668396" y="1930399"/>
              <a:chExt cx="10415521" cy="809593"/>
            </a:xfrm>
            <a:grpFill/>
          </p:grpSpPr>
          <p:grpSp>
            <p:nvGrpSpPr>
              <p:cNvPr id="674" name="Groep 673">
                <a:extLst>
                  <a:ext uri="{FF2B5EF4-FFF2-40B4-BE49-F238E27FC236}">
                    <a16:creationId xmlns:a16="http://schemas.microsoft.com/office/drawing/2014/main" id="{110F7F83-D040-72F0-BA11-EC35DE84DE70}"/>
                  </a:ext>
                </a:extLst>
              </p:cNvPr>
              <p:cNvGrpSpPr/>
              <p:nvPr/>
            </p:nvGrpSpPr>
            <p:grpSpPr>
              <a:xfrm>
                <a:off x="668396" y="1930399"/>
                <a:ext cx="944504" cy="809593"/>
                <a:chOff x="5696016" y="3086100"/>
                <a:chExt cx="800080" cy="685799"/>
              </a:xfrm>
              <a:grpFill/>
            </p:grpSpPr>
            <p:sp>
              <p:nvSpPr>
                <p:cNvPr id="702" name="Vrije vorm: vorm 701">
                  <a:extLst>
                    <a:ext uri="{FF2B5EF4-FFF2-40B4-BE49-F238E27FC236}">
                      <a16:creationId xmlns:a16="http://schemas.microsoft.com/office/drawing/2014/main" id="{587E9513-C358-04FE-AE6D-0CD6796C1B1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03" name="Vrije vorm: vorm 702">
                  <a:extLst>
                    <a:ext uri="{FF2B5EF4-FFF2-40B4-BE49-F238E27FC236}">
                      <a16:creationId xmlns:a16="http://schemas.microsoft.com/office/drawing/2014/main" id="{021F730D-A7C2-1D21-32F4-94080692FC4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5" name="Groep 674">
                <a:extLst>
                  <a:ext uri="{FF2B5EF4-FFF2-40B4-BE49-F238E27FC236}">
                    <a16:creationId xmlns:a16="http://schemas.microsoft.com/office/drawing/2014/main" id="{B3D3263B-0E5F-8D04-582D-EDB942B200EA}"/>
                  </a:ext>
                </a:extLst>
              </p:cNvPr>
              <p:cNvGrpSpPr/>
              <p:nvPr/>
            </p:nvGrpSpPr>
            <p:grpSpPr>
              <a:xfrm>
                <a:off x="1720731" y="1930399"/>
                <a:ext cx="944504" cy="809593"/>
                <a:chOff x="5696016" y="3086100"/>
                <a:chExt cx="800080" cy="685799"/>
              </a:xfrm>
              <a:grpFill/>
            </p:grpSpPr>
            <p:sp>
              <p:nvSpPr>
                <p:cNvPr id="700" name="Vrije vorm: vorm 699">
                  <a:extLst>
                    <a:ext uri="{FF2B5EF4-FFF2-40B4-BE49-F238E27FC236}">
                      <a16:creationId xmlns:a16="http://schemas.microsoft.com/office/drawing/2014/main" id="{E8E6CA44-C2D5-4E3E-4895-84EE9B94F08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01" name="Vrije vorm: vorm 700">
                  <a:extLst>
                    <a:ext uri="{FF2B5EF4-FFF2-40B4-BE49-F238E27FC236}">
                      <a16:creationId xmlns:a16="http://schemas.microsoft.com/office/drawing/2014/main" id="{297432B0-DEC4-DC3B-55EB-C266E0F452E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6" name="Groep 675">
                <a:extLst>
                  <a:ext uri="{FF2B5EF4-FFF2-40B4-BE49-F238E27FC236}">
                    <a16:creationId xmlns:a16="http://schemas.microsoft.com/office/drawing/2014/main" id="{B9934142-DA29-81F8-F505-1F6509370944}"/>
                  </a:ext>
                </a:extLst>
              </p:cNvPr>
              <p:cNvGrpSpPr/>
              <p:nvPr/>
            </p:nvGrpSpPr>
            <p:grpSpPr>
              <a:xfrm>
                <a:off x="2773066" y="1930399"/>
                <a:ext cx="944504" cy="809593"/>
                <a:chOff x="5696016" y="3086100"/>
                <a:chExt cx="800080" cy="685799"/>
              </a:xfrm>
              <a:grpFill/>
            </p:grpSpPr>
            <p:sp>
              <p:nvSpPr>
                <p:cNvPr id="698" name="Vrije vorm: vorm 697">
                  <a:extLst>
                    <a:ext uri="{FF2B5EF4-FFF2-40B4-BE49-F238E27FC236}">
                      <a16:creationId xmlns:a16="http://schemas.microsoft.com/office/drawing/2014/main" id="{D8315951-4DAE-7F5E-09EA-715CE8E18BD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9" name="Vrije vorm: vorm 698">
                  <a:extLst>
                    <a:ext uri="{FF2B5EF4-FFF2-40B4-BE49-F238E27FC236}">
                      <a16:creationId xmlns:a16="http://schemas.microsoft.com/office/drawing/2014/main" id="{D563F557-6700-D657-43E7-12CF8BEB150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7" name="Groep 676">
                <a:extLst>
                  <a:ext uri="{FF2B5EF4-FFF2-40B4-BE49-F238E27FC236}">
                    <a16:creationId xmlns:a16="http://schemas.microsoft.com/office/drawing/2014/main" id="{E22C041C-D32B-D524-5D81-6C90BA367C07}"/>
                  </a:ext>
                </a:extLst>
              </p:cNvPr>
              <p:cNvGrpSpPr/>
              <p:nvPr/>
            </p:nvGrpSpPr>
            <p:grpSpPr>
              <a:xfrm>
                <a:off x="3825401" y="1930399"/>
                <a:ext cx="944504" cy="809593"/>
                <a:chOff x="5696016" y="3086100"/>
                <a:chExt cx="800080" cy="685799"/>
              </a:xfrm>
              <a:grpFill/>
            </p:grpSpPr>
            <p:sp>
              <p:nvSpPr>
                <p:cNvPr id="696" name="Vrije vorm: vorm 695">
                  <a:extLst>
                    <a:ext uri="{FF2B5EF4-FFF2-40B4-BE49-F238E27FC236}">
                      <a16:creationId xmlns:a16="http://schemas.microsoft.com/office/drawing/2014/main" id="{FFEEFC34-9491-C111-3B92-C7EA84ED870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7" name="Vrije vorm: vorm 696">
                  <a:extLst>
                    <a:ext uri="{FF2B5EF4-FFF2-40B4-BE49-F238E27FC236}">
                      <a16:creationId xmlns:a16="http://schemas.microsoft.com/office/drawing/2014/main" id="{9BFC7E49-D5B7-2E5A-7DAB-FDE40D0B17A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8" name="Groep 677">
                <a:extLst>
                  <a:ext uri="{FF2B5EF4-FFF2-40B4-BE49-F238E27FC236}">
                    <a16:creationId xmlns:a16="http://schemas.microsoft.com/office/drawing/2014/main" id="{D482D81A-F27C-63EE-45A6-E656C0E0975B}"/>
                  </a:ext>
                </a:extLst>
              </p:cNvPr>
              <p:cNvGrpSpPr/>
              <p:nvPr/>
            </p:nvGrpSpPr>
            <p:grpSpPr>
              <a:xfrm>
                <a:off x="4877736" y="1930399"/>
                <a:ext cx="944504" cy="809593"/>
                <a:chOff x="5696016" y="3086100"/>
                <a:chExt cx="800080" cy="685799"/>
              </a:xfrm>
              <a:grpFill/>
            </p:grpSpPr>
            <p:sp>
              <p:nvSpPr>
                <p:cNvPr id="694" name="Vrije vorm: vorm 693">
                  <a:extLst>
                    <a:ext uri="{FF2B5EF4-FFF2-40B4-BE49-F238E27FC236}">
                      <a16:creationId xmlns:a16="http://schemas.microsoft.com/office/drawing/2014/main" id="{652C1243-612D-53F4-DC9D-01F144E9D0F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5" name="Vrije vorm: vorm 694">
                  <a:extLst>
                    <a:ext uri="{FF2B5EF4-FFF2-40B4-BE49-F238E27FC236}">
                      <a16:creationId xmlns:a16="http://schemas.microsoft.com/office/drawing/2014/main" id="{149EF819-4E73-93ED-1923-8932DF51C7C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9" name="Groep 678">
                <a:extLst>
                  <a:ext uri="{FF2B5EF4-FFF2-40B4-BE49-F238E27FC236}">
                    <a16:creationId xmlns:a16="http://schemas.microsoft.com/office/drawing/2014/main" id="{87E3AEF9-7D58-0D61-5525-819D341F6298}"/>
                  </a:ext>
                </a:extLst>
              </p:cNvPr>
              <p:cNvGrpSpPr/>
              <p:nvPr/>
            </p:nvGrpSpPr>
            <p:grpSpPr>
              <a:xfrm>
                <a:off x="5930071" y="1930399"/>
                <a:ext cx="944504" cy="809593"/>
                <a:chOff x="5696016" y="3086100"/>
                <a:chExt cx="800080" cy="685799"/>
              </a:xfrm>
              <a:grpFill/>
            </p:grpSpPr>
            <p:sp>
              <p:nvSpPr>
                <p:cNvPr id="692" name="Vrije vorm: vorm 691">
                  <a:extLst>
                    <a:ext uri="{FF2B5EF4-FFF2-40B4-BE49-F238E27FC236}">
                      <a16:creationId xmlns:a16="http://schemas.microsoft.com/office/drawing/2014/main" id="{CE86FD63-4EBE-C8AF-B54E-E06842CC132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3" name="Vrije vorm: vorm 692">
                  <a:extLst>
                    <a:ext uri="{FF2B5EF4-FFF2-40B4-BE49-F238E27FC236}">
                      <a16:creationId xmlns:a16="http://schemas.microsoft.com/office/drawing/2014/main" id="{C844C2A3-8814-1BBB-14B0-37520FA0DD7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0" name="Groep 679">
                <a:extLst>
                  <a:ext uri="{FF2B5EF4-FFF2-40B4-BE49-F238E27FC236}">
                    <a16:creationId xmlns:a16="http://schemas.microsoft.com/office/drawing/2014/main" id="{FE4E5B68-A15A-9080-AB23-9BB1B89B93DE}"/>
                  </a:ext>
                </a:extLst>
              </p:cNvPr>
              <p:cNvGrpSpPr/>
              <p:nvPr/>
            </p:nvGrpSpPr>
            <p:grpSpPr>
              <a:xfrm>
                <a:off x="6982406" y="1930399"/>
                <a:ext cx="944504" cy="809593"/>
                <a:chOff x="5696016" y="3086100"/>
                <a:chExt cx="800080" cy="685799"/>
              </a:xfrm>
              <a:grpFill/>
            </p:grpSpPr>
            <p:sp>
              <p:nvSpPr>
                <p:cNvPr id="690" name="Vrije vorm: vorm 689">
                  <a:extLst>
                    <a:ext uri="{FF2B5EF4-FFF2-40B4-BE49-F238E27FC236}">
                      <a16:creationId xmlns:a16="http://schemas.microsoft.com/office/drawing/2014/main" id="{83BC5903-AA52-47DC-8A9B-A65B6C14B09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1" name="Vrije vorm: vorm 690">
                  <a:extLst>
                    <a:ext uri="{FF2B5EF4-FFF2-40B4-BE49-F238E27FC236}">
                      <a16:creationId xmlns:a16="http://schemas.microsoft.com/office/drawing/2014/main" id="{91DBEF51-2506-2066-1EF4-FD02CC2F5EC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1" name="Groep 680">
                <a:extLst>
                  <a:ext uri="{FF2B5EF4-FFF2-40B4-BE49-F238E27FC236}">
                    <a16:creationId xmlns:a16="http://schemas.microsoft.com/office/drawing/2014/main" id="{6A08D82D-C028-00B3-ACBF-7C4E7E931D4F}"/>
                  </a:ext>
                </a:extLst>
              </p:cNvPr>
              <p:cNvGrpSpPr/>
              <p:nvPr/>
            </p:nvGrpSpPr>
            <p:grpSpPr>
              <a:xfrm>
                <a:off x="8034741" y="1930399"/>
                <a:ext cx="944504" cy="809593"/>
                <a:chOff x="5696016" y="3086100"/>
                <a:chExt cx="800080" cy="685799"/>
              </a:xfrm>
              <a:grpFill/>
            </p:grpSpPr>
            <p:sp>
              <p:nvSpPr>
                <p:cNvPr id="688" name="Vrije vorm: vorm 687">
                  <a:extLst>
                    <a:ext uri="{FF2B5EF4-FFF2-40B4-BE49-F238E27FC236}">
                      <a16:creationId xmlns:a16="http://schemas.microsoft.com/office/drawing/2014/main" id="{BF5C7811-D53D-982A-A3AA-8E2340489ED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89" name="Vrije vorm: vorm 688">
                  <a:extLst>
                    <a:ext uri="{FF2B5EF4-FFF2-40B4-BE49-F238E27FC236}">
                      <a16:creationId xmlns:a16="http://schemas.microsoft.com/office/drawing/2014/main" id="{7634A755-446D-D5AD-364F-5BB7CBAF215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2" name="Groep 681">
                <a:extLst>
                  <a:ext uri="{FF2B5EF4-FFF2-40B4-BE49-F238E27FC236}">
                    <a16:creationId xmlns:a16="http://schemas.microsoft.com/office/drawing/2014/main" id="{EBE442F7-B6B2-07FB-8D46-036916A75354}"/>
                  </a:ext>
                </a:extLst>
              </p:cNvPr>
              <p:cNvGrpSpPr/>
              <p:nvPr/>
            </p:nvGrpSpPr>
            <p:grpSpPr>
              <a:xfrm>
                <a:off x="9087076" y="1930399"/>
                <a:ext cx="944504" cy="809593"/>
                <a:chOff x="5696016" y="3086100"/>
                <a:chExt cx="800080" cy="685799"/>
              </a:xfrm>
              <a:grpFill/>
            </p:grpSpPr>
            <p:sp>
              <p:nvSpPr>
                <p:cNvPr id="686" name="Vrije vorm: vorm 685">
                  <a:extLst>
                    <a:ext uri="{FF2B5EF4-FFF2-40B4-BE49-F238E27FC236}">
                      <a16:creationId xmlns:a16="http://schemas.microsoft.com/office/drawing/2014/main" id="{13920224-195E-81A6-D9F7-C40EEEA92CF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87" name="Vrije vorm: vorm 686">
                  <a:extLst>
                    <a:ext uri="{FF2B5EF4-FFF2-40B4-BE49-F238E27FC236}">
                      <a16:creationId xmlns:a16="http://schemas.microsoft.com/office/drawing/2014/main" id="{503D7AF7-753B-172A-18A0-32AE9F72C6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3" name="Groep 682">
                <a:extLst>
                  <a:ext uri="{FF2B5EF4-FFF2-40B4-BE49-F238E27FC236}">
                    <a16:creationId xmlns:a16="http://schemas.microsoft.com/office/drawing/2014/main" id="{9D6F380B-58EF-34AE-AE80-6DC736B56B84}"/>
                  </a:ext>
                </a:extLst>
              </p:cNvPr>
              <p:cNvGrpSpPr/>
              <p:nvPr/>
            </p:nvGrpSpPr>
            <p:grpSpPr>
              <a:xfrm>
                <a:off x="10139413" y="1930399"/>
                <a:ext cx="944504" cy="809593"/>
                <a:chOff x="5696016" y="3086100"/>
                <a:chExt cx="800080" cy="685799"/>
              </a:xfrm>
              <a:grpFill/>
            </p:grpSpPr>
            <p:sp>
              <p:nvSpPr>
                <p:cNvPr id="684" name="Vrije vorm: vorm 683">
                  <a:extLst>
                    <a:ext uri="{FF2B5EF4-FFF2-40B4-BE49-F238E27FC236}">
                      <a16:creationId xmlns:a16="http://schemas.microsoft.com/office/drawing/2014/main" id="{C12C377F-6F89-294D-7371-15167A8EA3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85" name="Vrije vorm: vorm 684">
                  <a:extLst>
                    <a:ext uri="{FF2B5EF4-FFF2-40B4-BE49-F238E27FC236}">
                      <a16:creationId xmlns:a16="http://schemas.microsoft.com/office/drawing/2014/main" id="{C6C8AE8C-604E-A5E0-E0CF-8A32097D734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884" name="Groep 883">
            <a:extLst>
              <a:ext uri="{FF2B5EF4-FFF2-40B4-BE49-F238E27FC236}">
                <a16:creationId xmlns:a16="http://schemas.microsoft.com/office/drawing/2014/main" id="{57AA31DA-6EE8-63A7-DC35-FF0DF6FD502A}"/>
              </a:ext>
            </a:extLst>
          </p:cNvPr>
          <p:cNvGrpSpPr/>
          <p:nvPr/>
        </p:nvGrpSpPr>
        <p:grpSpPr>
          <a:xfrm>
            <a:off x="8527169" y="2044547"/>
            <a:ext cx="763072" cy="3473127"/>
            <a:chOff x="7133223" y="533400"/>
            <a:chExt cx="940327" cy="4279900"/>
          </a:xfrm>
          <a:solidFill>
            <a:schemeClr val="accent2"/>
          </a:solidFill>
        </p:grpSpPr>
        <p:grpSp>
          <p:nvGrpSpPr>
            <p:cNvPr id="885" name="Groep 884">
              <a:extLst>
                <a:ext uri="{FF2B5EF4-FFF2-40B4-BE49-F238E27FC236}">
                  <a16:creationId xmlns:a16="http://schemas.microsoft.com/office/drawing/2014/main" id="{F63EB254-43B1-5A89-9F32-696663D06FAF}"/>
                </a:ext>
              </a:extLst>
            </p:cNvPr>
            <p:cNvGrpSpPr/>
            <p:nvPr/>
          </p:nvGrpSpPr>
          <p:grpSpPr>
            <a:xfrm>
              <a:off x="7139131" y="533400"/>
              <a:ext cx="289443" cy="248100"/>
              <a:chOff x="5696016" y="3086100"/>
              <a:chExt cx="800080" cy="685799"/>
            </a:xfrm>
            <a:grpFill/>
          </p:grpSpPr>
          <p:sp>
            <p:nvSpPr>
              <p:cNvPr id="1009" name="Vrije vorm: vorm 1008">
                <a:extLst>
                  <a:ext uri="{FF2B5EF4-FFF2-40B4-BE49-F238E27FC236}">
                    <a16:creationId xmlns:a16="http://schemas.microsoft.com/office/drawing/2014/main" id="{EF580B41-88B3-A0C8-0CA2-D84E1A7F85B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10" name="Vrije vorm: vorm 1009">
                <a:extLst>
                  <a:ext uri="{FF2B5EF4-FFF2-40B4-BE49-F238E27FC236}">
                    <a16:creationId xmlns:a16="http://schemas.microsoft.com/office/drawing/2014/main" id="{B5C3ED14-FF3C-5583-EC7E-4A7FCCBD511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6" name="Groep 885">
              <a:extLst>
                <a:ext uri="{FF2B5EF4-FFF2-40B4-BE49-F238E27FC236}">
                  <a16:creationId xmlns:a16="http://schemas.microsoft.com/office/drawing/2014/main" id="{20E9D880-EC89-45BE-1FFD-1819EC8B4D47}"/>
                </a:ext>
              </a:extLst>
            </p:cNvPr>
            <p:cNvGrpSpPr/>
            <p:nvPr/>
          </p:nvGrpSpPr>
          <p:grpSpPr>
            <a:xfrm>
              <a:off x="7461619" y="533400"/>
              <a:ext cx="289443" cy="248100"/>
              <a:chOff x="5696016" y="3086100"/>
              <a:chExt cx="800080" cy="685799"/>
            </a:xfrm>
            <a:grpFill/>
          </p:grpSpPr>
          <p:sp>
            <p:nvSpPr>
              <p:cNvPr id="1007" name="Vrije vorm: vorm 1006">
                <a:extLst>
                  <a:ext uri="{FF2B5EF4-FFF2-40B4-BE49-F238E27FC236}">
                    <a16:creationId xmlns:a16="http://schemas.microsoft.com/office/drawing/2014/main" id="{C19197C0-63BA-27CC-5523-E18A2F4255F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8" name="Vrije vorm: vorm 1007">
                <a:extLst>
                  <a:ext uri="{FF2B5EF4-FFF2-40B4-BE49-F238E27FC236}">
                    <a16:creationId xmlns:a16="http://schemas.microsoft.com/office/drawing/2014/main" id="{82AEC89B-3EBF-4433-C68A-26D3D30A0A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7" name="Groep 886">
              <a:extLst>
                <a:ext uri="{FF2B5EF4-FFF2-40B4-BE49-F238E27FC236}">
                  <a16:creationId xmlns:a16="http://schemas.microsoft.com/office/drawing/2014/main" id="{51452632-5AF4-86A4-9C3B-C86F94066361}"/>
                </a:ext>
              </a:extLst>
            </p:cNvPr>
            <p:cNvGrpSpPr/>
            <p:nvPr/>
          </p:nvGrpSpPr>
          <p:grpSpPr>
            <a:xfrm>
              <a:off x="7784107" y="533400"/>
              <a:ext cx="289443" cy="248100"/>
              <a:chOff x="5696016" y="3086100"/>
              <a:chExt cx="800080" cy="685799"/>
            </a:xfrm>
            <a:grpFill/>
          </p:grpSpPr>
          <p:sp>
            <p:nvSpPr>
              <p:cNvPr id="1005" name="Vrije vorm: vorm 1004">
                <a:extLst>
                  <a:ext uri="{FF2B5EF4-FFF2-40B4-BE49-F238E27FC236}">
                    <a16:creationId xmlns:a16="http://schemas.microsoft.com/office/drawing/2014/main" id="{933F62C9-A407-5454-8446-81A873E51F3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6" name="Vrije vorm: vorm 1005">
                <a:extLst>
                  <a:ext uri="{FF2B5EF4-FFF2-40B4-BE49-F238E27FC236}">
                    <a16:creationId xmlns:a16="http://schemas.microsoft.com/office/drawing/2014/main" id="{F4D5BB0F-CD50-6D63-3577-B2EE74B3D10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8" name="Groep 887">
              <a:extLst>
                <a:ext uri="{FF2B5EF4-FFF2-40B4-BE49-F238E27FC236}">
                  <a16:creationId xmlns:a16="http://schemas.microsoft.com/office/drawing/2014/main" id="{ED94F128-FDB5-8E36-E16D-BD7E7D190696}"/>
                </a:ext>
              </a:extLst>
            </p:cNvPr>
            <p:cNvGrpSpPr/>
            <p:nvPr/>
          </p:nvGrpSpPr>
          <p:grpSpPr>
            <a:xfrm>
              <a:off x="7139131" y="843417"/>
              <a:ext cx="289443" cy="248100"/>
              <a:chOff x="5696016" y="3086100"/>
              <a:chExt cx="800080" cy="685799"/>
            </a:xfrm>
            <a:grpFill/>
          </p:grpSpPr>
          <p:sp>
            <p:nvSpPr>
              <p:cNvPr id="1003" name="Vrije vorm: vorm 1002">
                <a:extLst>
                  <a:ext uri="{FF2B5EF4-FFF2-40B4-BE49-F238E27FC236}">
                    <a16:creationId xmlns:a16="http://schemas.microsoft.com/office/drawing/2014/main" id="{CF295FCB-1051-AC1A-57FE-FCF59B4178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4" name="Vrije vorm: vorm 1003">
                <a:extLst>
                  <a:ext uri="{FF2B5EF4-FFF2-40B4-BE49-F238E27FC236}">
                    <a16:creationId xmlns:a16="http://schemas.microsoft.com/office/drawing/2014/main" id="{CF87F45A-19D6-F214-9866-FB447AEB85A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9" name="Groep 888">
              <a:extLst>
                <a:ext uri="{FF2B5EF4-FFF2-40B4-BE49-F238E27FC236}">
                  <a16:creationId xmlns:a16="http://schemas.microsoft.com/office/drawing/2014/main" id="{E076E301-9402-2AB4-2E17-8D829A81A526}"/>
                </a:ext>
              </a:extLst>
            </p:cNvPr>
            <p:cNvGrpSpPr/>
            <p:nvPr/>
          </p:nvGrpSpPr>
          <p:grpSpPr>
            <a:xfrm>
              <a:off x="7461619" y="843417"/>
              <a:ext cx="289443" cy="248100"/>
              <a:chOff x="5696016" y="3086100"/>
              <a:chExt cx="800080" cy="685799"/>
            </a:xfrm>
            <a:grpFill/>
          </p:grpSpPr>
          <p:sp>
            <p:nvSpPr>
              <p:cNvPr id="1001" name="Vrije vorm: vorm 1000">
                <a:extLst>
                  <a:ext uri="{FF2B5EF4-FFF2-40B4-BE49-F238E27FC236}">
                    <a16:creationId xmlns:a16="http://schemas.microsoft.com/office/drawing/2014/main" id="{547E18F9-CCC2-899A-62FF-83D046E72BE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2" name="Vrije vorm: vorm 1001">
                <a:extLst>
                  <a:ext uri="{FF2B5EF4-FFF2-40B4-BE49-F238E27FC236}">
                    <a16:creationId xmlns:a16="http://schemas.microsoft.com/office/drawing/2014/main" id="{03FDD6E5-4236-3BAD-3958-228CCC6E739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0" name="Groep 889">
              <a:extLst>
                <a:ext uri="{FF2B5EF4-FFF2-40B4-BE49-F238E27FC236}">
                  <a16:creationId xmlns:a16="http://schemas.microsoft.com/office/drawing/2014/main" id="{33FFC597-74A9-6C4D-B637-DCF777D9BB51}"/>
                </a:ext>
              </a:extLst>
            </p:cNvPr>
            <p:cNvGrpSpPr/>
            <p:nvPr/>
          </p:nvGrpSpPr>
          <p:grpSpPr>
            <a:xfrm>
              <a:off x="7784107" y="843417"/>
              <a:ext cx="289443" cy="248100"/>
              <a:chOff x="5696016" y="3086100"/>
              <a:chExt cx="800080" cy="685799"/>
            </a:xfrm>
            <a:grpFill/>
          </p:grpSpPr>
          <p:sp>
            <p:nvSpPr>
              <p:cNvPr id="999" name="Vrije vorm: vorm 998">
                <a:extLst>
                  <a:ext uri="{FF2B5EF4-FFF2-40B4-BE49-F238E27FC236}">
                    <a16:creationId xmlns:a16="http://schemas.microsoft.com/office/drawing/2014/main" id="{D673D982-C96B-7DCB-EE21-D7A5A542A53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0" name="Vrije vorm: vorm 999">
                <a:extLst>
                  <a:ext uri="{FF2B5EF4-FFF2-40B4-BE49-F238E27FC236}">
                    <a16:creationId xmlns:a16="http://schemas.microsoft.com/office/drawing/2014/main" id="{DDB6D961-D2C3-2521-7AE5-20050F4941E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1" name="Groep 890">
              <a:extLst>
                <a:ext uri="{FF2B5EF4-FFF2-40B4-BE49-F238E27FC236}">
                  <a16:creationId xmlns:a16="http://schemas.microsoft.com/office/drawing/2014/main" id="{77F3ABF2-E915-B8D9-D440-88EF7A1AD368}"/>
                </a:ext>
              </a:extLst>
            </p:cNvPr>
            <p:cNvGrpSpPr/>
            <p:nvPr/>
          </p:nvGrpSpPr>
          <p:grpSpPr>
            <a:xfrm>
              <a:off x="7139131" y="1153435"/>
              <a:ext cx="289443" cy="248100"/>
              <a:chOff x="5696016" y="3086100"/>
              <a:chExt cx="800080" cy="685799"/>
            </a:xfrm>
            <a:grpFill/>
          </p:grpSpPr>
          <p:sp>
            <p:nvSpPr>
              <p:cNvPr id="997" name="Vrije vorm: vorm 996">
                <a:extLst>
                  <a:ext uri="{FF2B5EF4-FFF2-40B4-BE49-F238E27FC236}">
                    <a16:creationId xmlns:a16="http://schemas.microsoft.com/office/drawing/2014/main" id="{06E765BF-8E43-1B31-5B23-0BE9AD8328B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8" name="Vrije vorm: vorm 997">
                <a:extLst>
                  <a:ext uri="{FF2B5EF4-FFF2-40B4-BE49-F238E27FC236}">
                    <a16:creationId xmlns:a16="http://schemas.microsoft.com/office/drawing/2014/main" id="{5EDD7682-8DB2-50E7-B880-299564F25A5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2" name="Groep 891">
              <a:extLst>
                <a:ext uri="{FF2B5EF4-FFF2-40B4-BE49-F238E27FC236}">
                  <a16:creationId xmlns:a16="http://schemas.microsoft.com/office/drawing/2014/main" id="{5923D710-3EA6-484E-98C9-8873F799B6FA}"/>
                </a:ext>
              </a:extLst>
            </p:cNvPr>
            <p:cNvGrpSpPr/>
            <p:nvPr/>
          </p:nvGrpSpPr>
          <p:grpSpPr>
            <a:xfrm>
              <a:off x="7461619" y="1153435"/>
              <a:ext cx="289443" cy="248100"/>
              <a:chOff x="5696016" y="3086100"/>
              <a:chExt cx="800080" cy="685799"/>
            </a:xfrm>
            <a:grpFill/>
          </p:grpSpPr>
          <p:sp>
            <p:nvSpPr>
              <p:cNvPr id="995" name="Vrije vorm: vorm 994">
                <a:extLst>
                  <a:ext uri="{FF2B5EF4-FFF2-40B4-BE49-F238E27FC236}">
                    <a16:creationId xmlns:a16="http://schemas.microsoft.com/office/drawing/2014/main" id="{2026AD1D-13AF-3574-FDEF-41CA427A59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6" name="Vrije vorm: vorm 995">
                <a:extLst>
                  <a:ext uri="{FF2B5EF4-FFF2-40B4-BE49-F238E27FC236}">
                    <a16:creationId xmlns:a16="http://schemas.microsoft.com/office/drawing/2014/main" id="{4EFC40F4-2DD2-E006-4339-1C82A15B642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3" name="Groep 892">
              <a:extLst>
                <a:ext uri="{FF2B5EF4-FFF2-40B4-BE49-F238E27FC236}">
                  <a16:creationId xmlns:a16="http://schemas.microsoft.com/office/drawing/2014/main" id="{409C2F7F-A17C-6266-BAB7-E527A57179F1}"/>
                </a:ext>
              </a:extLst>
            </p:cNvPr>
            <p:cNvGrpSpPr/>
            <p:nvPr/>
          </p:nvGrpSpPr>
          <p:grpSpPr>
            <a:xfrm>
              <a:off x="7784107" y="1153435"/>
              <a:ext cx="289443" cy="248100"/>
              <a:chOff x="5696016" y="3086100"/>
              <a:chExt cx="800080" cy="685799"/>
            </a:xfrm>
            <a:grpFill/>
          </p:grpSpPr>
          <p:sp>
            <p:nvSpPr>
              <p:cNvPr id="993" name="Vrije vorm: vorm 992">
                <a:extLst>
                  <a:ext uri="{FF2B5EF4-FFF2-40B4-BE49-F238E27FC236}">
                    <a16:creationId xmlns:a16="http://schemas.microsoft.com/office/drawing/2014/main" id="{631AA176-3AA1-A067-740B-71612F59CCA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4" name="Vrije vorm: vorm 993">
                <a:extLst>
                  <a:ext uri="{FF2B5EF4-FFF2-40B4-BE49-F238E27FC236}">
                    <a16:creationId xmlns:a16="http://schemas.microsoft.com/office/drawing/2014/main" id="{3E53F5A9-C273-5AE6-0BAA-D2787BB5B92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4" name="Groep 893">
              <a:extLst>
                <a:ext uri="{FF2B5EF4-FFF2-40B4-BE49-F238E27FC236}">
                  <a16:creationId xmlns:a16="http://schemas.microsoft.com/office/drawing/2014/main" id="{345CD798-2954-70C6-3FC0-C31D272999D9}"/>
                </a:ext>
              </a:extLst>
            </p:cNvPr>
            <p:cNvGrpSpPr/>
            <p:nvPr/>
          </p:nvGrpSpPr>
          <p:grpSpPr>
            <a:xfrm>
              <a:off x="7139131" y="1463451"/>
              <a:ext cx="289443" cy="248100"/>
              <a:chOff x="5696016" y="3086100"/>
              <a:chExt cx="800080" cy="685799"/>
            </a:xfrm>
            <a:grpFill/>
          </p:grpSpPr>
          <p:sp>
            <p:nvSpPr>
              <p:cNvPr id="991" name="Vrije vorm: vorm 990">
                <a:extLst>
                  <a:ext uri="{FF2B5EF4-FFF2-40B4-BE49-F238E27FC236}">
                    <a16:creationId xmlns:a16="http://schemas.microsoft.com/office/drawing/2014/main" id="{01DB1913-3F11-91DA-893E-F3907DE7502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2" name="Vrije vorm: vorm 991">
                <a:extLst>
                  <a:ext uri="{FF2B5EF4-FFF2-40B4-BE49-F238E27FC236}">
                    <a16:creationId xmlns:a16="http://schemas.microsoft.com/office/drawing/2014/main" id="{97B36977-4ACC-9D1D-5651-D07541CFFCD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5" name="Groep 894">
              <a:extLst>
                <a:ext uri="{FF2B5EF4-FFF2-40B4-BE49-F238E27FC236}">
                  <a16:creationId xmlns:a16="http://schemas.microsoft.com/office/drawing/2014/main" id="{F86294AF-4CD2-9BF6-1918-39B7A1DBC704}"/>
                </a:ext>
              </a:extLst>
            </p:cNvPr>
            <p:cNvGrpSpPr/>
            <p:nvPr/>
          </p:nvGrpSpPr>
          <p:grpSpPr>
            <a:xfrm>
              <a:off x="7461619" y="1463451"/>
              <a:ext cx="289443" cy="248100"/>
              <a:chOff x="5696016" y="3086100"/>
              <a:chExt cx="800080" cy="685799"/>
            </a:xfrm>
            <a:grpFill/>
          </p:grpSpPr>
          <p:sp>
            <p:nvSpPr>
              <p:cNvPr id="989" name="Vrije vorm: vorm 988">
                <a:extLst>
                  <a:ext uri="{FF2B5EF4-FFF2-40B4-BE49-F238E27FC236}">
                    <a16:creationId xmlns:a16="http://schemas.microsoft.com/office/drawing/2014/main" id="{CE94FFA3-3E50-FA26-AFDC-B7291FA705B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0" name="Vrije vorm: vorm 989">
                <a:extLst>
                  <a:ext uri="{FF2B5EF4-FFF2-40B4-BE49-F238E27FC236}">
                    <a16:creationId xmlns:a16="http://schemas.microsoft.com/office/drawing/2014/main" id="{11506C1C-F073-D4D5-9424-BE982116365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6" name="Groep 895">
              <a:extLst>
                <a:ext uri="{FF2B5EF4-FFF2-40B4-BE49-F238E27FC236}">
                  <a16:creationId xmlns:a16="http://schemas.microsoft.com/office/drawing/2014/main" id="{8287B2CF-5F27-717F-759D-071A79167415}"/>
                </a:ext>
              </a:extLst>
            </p:cNvPr>
            <p:cNvGrpSpPr/>
            <p:nvPr/>
          </p:nvGrpSpPr>
          <p:grpSpPr>
            <a:xfrm>
              <a:off x="7784107" y="1463451"/>
              <a:ext cx="289443" cy="248100"/>
              <a:chOff x="5696016" y="3086100"/>
              <a:chExt cx="800080" cy="685799"/>
            </a:xfrm>
            <a:grpFill/>
          </p:grpSpPr>
          <p:sp>
            <p:nvSpPr>
              <p:cNvPr id="987" name="Vrije vorm: vorm 986">
                <a:extLst>
                  <a:ext uri="{FF2B5EF4-FFF2-40B4-BE49-F238E27FC236}">
                    <a16:creationId xmlns:a16="http://schemas.microsoft.com/office/drawing/2014/main" id="{3AB3569C-81F6-7849-5EAB-D1353F27F3C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8" name="Vrije vorm: vorm 987">
                <a:extLst>
                  <a:ext uri="{FF2B5EF4-FFF2-40B4-BE49-F238E27FC236}">
                    <a16:creationId xmlns:a16="http://schemas.microsoft.com/office/drawing/2014/main" id="{5A96E58F-29D3-1556-987F-D116583C9D3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7" name="Groep 896">
              <a:extLst>
                <a:ext uri="{FF2B5EF4-FFF2-40B4-BE49-F238E27FC236}">
                  <a16:creationId xmlns:a16="http://schemas.microsoft.com/office/drawing/2014/main" id="{6C977115-DD9D-8C3D-172A-6B64981B0EEE}"/>
                </a:ext>
              </a:extLst>
            </p:cNvPr>
            <p:cNvGrpSpPr/>
            <p:nvPr/>
          </p:nvGrpSpPr>
          <p:grpSpPr>
            <a:xfrm>
              <a:off x="7139131" y="1773467"/>
              <a:ext cx="289443" cy="248100"/>
              <a:chOff x="5696016" y="3086100"/>
              <a:chExt cx="800080" cy="685799"/>
            </a:xfrm>
            <a:grpFill/>
          </p:grpSpPr>
          <p:sp>
            <p:nvSpPr>
              <p:cNvPr id="985" name="Vrije vorm: vorm 984">
                <a:extLst>
                  <a:ext uri="{FF2B5EF4-FFF2-40B4-BE49-F238E27FC236}">
                    <a16:creationId xmlns:a16="http://schemas.microsoft.com/office/drawing/2014/main" id="{FAF6860B-A23C-95C9-933E-130771845A7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6" name="Vrije vorm: vorm 985">
                <a:extLst>
                  <a:ext uri="{FF2B5EF4-FFF2-40B4-BE49-F238E27FC236}">
                    <a16:creationId xmlns:a16="http://schemas.microsoft.com/office/drawing/2014/main" id="{FF996BBE-E7D2-CD36-3161-E6224D29E9D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8" name="Groep 897">
              <a:extLst>
                <a:ext uri="{FF2B5EF4-FFF2-40B4-BE49-F238E27FC236}">
                  <a16:creationId xmlns:a16="http://schemas.microsoft.com/office/drawing/2014/main" id="{0DC09923-D213-40D7-EE15-98A982D16198}"/>
                </a:ext>
              </a:extLst>
            </p:cNvPr>
            <p:cNvGrpSpPr/>
            <p:nvPr/>
          </p:nvGrpSpPr>
          <p:grpSpPr>
            <a:xfrm>
              <a:off x="7461619" y="1773467"/>
              <a:ext cx="289443" cy="248100"/>
              <a:chOff x="5696016" y="3086100"/>
              <a:chExt cx="800080" cy="685799"/>
            </a:xfrm>
            <a:grpFill/>
          </p:grpSpPr>
          <p:sp>
            <p:nvSpPr>
              <p:cNvPr id="983" name="Vrije vorm: vorm 982">
                <a:extLst>
                  <a:ext uri="{FF2B5EF4-FFF2-40B4-BE49-F238E27FC236}">
                    <a16:creationId xmlns:a16="http://schemas.microsoft.com/office/drawing/2014/main" id="{B37C43C9-59FB-01C1-0B45-6FFEE21D80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4" name="Vrije vorm: vorm 983">
                <a:extLst>
                  <a:ext uri="{FF2B5EF4-FFF2-40B4-BE49-F238E27FC236}">
                    <a16:creationId xmlns:a16="http://schemas.microsoft.com/office/drawing/2014/main" id="{4311B1E7-7EAA-7D76-D8E8-53923627477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9" name="Groep 898">
              <a:extLst>
                <a:ext uri="{FF2B5EF4-FFF2-40B4-BE49-F238E27FC236}">
                  <a16:creationId xmlns:a16="http://schemas.microsoft.com/office/drawing/2014/main" id="{B8C6435C-4DA4-EED3-A552-B7E25546AB79}"/>
                </a:ext>
              </a:extLst>
            </p:cNvPr>
            <p:cNvGrpSpPr/>
            <p:nvPr/>
          </p:nvGrpSpPr>
          <p:grpSpPr>
            <a:xfrm>
              <a:off x="7784107" y="1773467"/>
              <a:ext cx="289443" cy="248100"/>
              <a:chOff x="5696016" y="3086100"/>
              <a:chExt cx="800080" cy="685799"/>
            </a:xfrm>
            <a:grpFill/>
          </p:grpSpPr>
          <p:sp>
            <p:nvSpPr>
              <p:cNvPr id="981" name="Vrije vorm: vorm 980">
                <a:extLst>
                  <a:ext uri="{FF2B5EF4-FFF2-40B4-BE49-F238E27FC236}">
                    <a16:creationId xmlns:a16="http://schemas.microsoft.com/office/drawing/2014/main" id="{35068E0E-037A-064F-9CBB-32BC830A8CD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2" name="Vrije vorm: vorm 981">
                <a:extLst>
                  <a:ext uri="{FF2B5EF4-FFF2-40B4-BE49-F238E27FC236}">
                    <a16:creationId xmlns:a16="http://schemas.microsoft.com/office/drawing/2014/main" id="{126E9B69-C787-695D-4EB1-1F04677FD8F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0" name="Groep 899">
              <a:extLst>
                <a:ext uri="{FF2B5EF4-FFF2-40B4-BE49-F238E27FC236}">
                  <a16:creationId xmlns:a16="http://schemas.microsoft.com/office/drawing/2014/main" id="{05A43951-EF21-F869-BE5C-B3CFEDEACDD6}"/>
                </a:ext>
              </a:extLst>
            </p:cNvPr>
            <p:cNvGrpSpPr/>
            <p:nvPr/>
          </p:nvGrpSpPr>
          <p:grpSpPr>
            <a:xfrm>
              <a:off x="7139131" y="2083483"/>
              <a:ext cx="289443" cy="248100"/>
              <a:chOff x="5696016" y="3086100"/>
              <a:chExt cx="800080" cy="685799"/>
            </a:xfrm>
            <a:grpFill/>
          </p:grpSpPr>
          <p:sp>
            <p:nvSpPr>
              <p:cNvPr id="979" name="Vrije vorm: vorm 978">
                <a:extLst>
                  <a:ext uri="{FF2B5EF4-FFF2-40B4-BE49-F238E27FC236}">
                    <a16:creationId xmlns:a16="http://schemas.microsoft.com/office/drawing/2014/main" id="{98113D99-9BC6-A037-8693-F332E51C410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0" name="Vrije vorm: vorm 979">
                <a:extLst>
                  <a:ext uri="{FF2B5EF4-FFF2-40B4-BE49-F238E27FC236}">
                    <a16:creationId xmlns:a16="http://schemas.microsoft.com/office/drawing/2014/main" id="{8E2A1864-F120-ED42-A754-81EB905B4B8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1" name="Groep 900">
              <a:extLst>
                <a:ext uri="{FF2B5EF4-FFF2-40B4-BE49-F238E27FC236}">
                  <a16:creationId xmlns:a16="http://schemas.microsoft.com/office/drawing/2014/main" id="{A45D2131-A41F-A0DA-D720-4847CAB1C60A}"/>
                </a:ext>
              </a:extLst>
            </p:cNvPr>
            <p:cNvGrpSpPr/>
            <p:nvPr/>
          </p:nvGrpSpPr>
          <p:grpSpPr>
            <a:xfrm>
              <a:off x="7461619" y="2083483"/>
              <a:ext cx="289443" cy="248100"/>
              <a:chOff x="5696016" y="3086100"/>
              <a:chExt cx="800080" cy="685799"/>
            </a:xfrm>
            <a:grpFill/>
          </p:grpSpPr>
          <p:sp>
            <p:nvSpPr>
              <p:cNvPr id="977" name="Vrije vorm: vorm 976">
                <a:extLst>
                  <a:ext uri="{FF2B5EF4-FFF2-40B4-BE49-F238E27FC236}">
                    <a16:creationId xmlns:a16="http://schemas.microsoft.com/office/drawing/2014/main" id="{DE8CAAF2-96F9-181B-CD66-065417F7784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8" name="Vrije vorm: vorm 977">
                <a:extLst>
                  <a:ext uri="{FF2B5EF4-FFF2-40B4-BE49-F238E27FC236}">
                    <a16:creationId xmlns:a16="http://schemas.microsoft.com/office/drawing/2014/main" id="{F6EFC6B6-E4D8-7571-6821-DD9D0E53924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2" name="Groep 901">
              <a:extLst>
                <a:ext uri="{FF2B5EF4-FFF2-40B4-BE49-F238E27FC236}">
                  <a16:creationId xmlns:a16="http://schemas.microsoft.com/office/drawing/2014/main" id="{A37157CF-A9EB-894A-5079-74F27AA52664}"/>
                </a:ext>
              </a:extLst>
            </p:cNvPr>
            <p:cNvGrpSpPr/>
            <p:nvPr/>
          </p:nvGrpSpPr>
          <p:grpSpPr>
            <a:xfrm>
              <a:off x="7784107" y="2083483"/>
              <a:ext cx="289443" cy="248100"/>
              <a:chOff x="5696016" y="3086100"/>
              <a:chExt cx="800080" cy="685799"/>
            </a:xfrm>
            <a:grpFill/>
          </p:grpSpPr>
          <p:sp>
            <p:nvSpPr>
              <p:cNvPr id="975" name="Vrije vorm: vorm 974">
                <a:extLst>
                  <a:ext uri="{FF2B5EF4-FFF2-40B4-BE49-F238E27FC236}">
                    <a16:creationId xmlns:a16="http://schemas.microsoft.com/office/drawing/2014/main" id="{1FA69552-7489-3EC0-2AA0-6F6E7B5A809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6" name="Vrije vorm: vorm 975">
                <a:extLst>
                  <a:ext uri="{FF2B5EF4-FFF2-40B4-BE49-F238E27FC236}">
                    <a16:creationId xmlns:a16="http://schemas.microsoft.com/office/drawing/2014/main" id="{60B94B46-023A-3A99-FEC8-F1C6A3BFBFD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3" name="Groep 902">
              <a:extLst>
                <a:ext uri="{FF2B5EF4-FFF2-40B4-BE49-F238E27FC236}">
                  <a16:creationId xmlns:a16="http://schemas.microsoft.com/office/drawing/2014/main" id="{A5032F96-3C07-FB22-A740-3CB96797CE34}"/>
                </a:ext>
              </a:extLst>
            </p:cNvPr>
            <p:cNvGrpSpPr/>
            <p:nvPr/>
          </p:nvGrpSpPr>
          <p:grpSpPr>
            <a:xfrm>
              <a:off x="7139131" y="2393500"/>
              <a:ext cx="289443" cy="248100"/>
              <a:chOff x="5696016" y="3086100"/>
              <a:chExt cx="800080" cy="685799"/>
            </a:xfrm>
            <a:grpFill/>
          </p:grpSpPr>
          <p:sp>
            <p:nvSpPr>
              <p:cNvPr id="973" name="Vrije vorm: vorm 972">
                <a:extLst>
                  <a:ext uri="{FF2B5EF4-FFF2-40B4-BE49-F238E27FC236}">
                    <a16:creationId xmlns:a16="http://schemas.microsoft.com/office/drawing/2014/main" id="{AFB3C770-C903-CFF5-5566-856974735F5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4" name="Vrije vorm: vorm 973">
                <a:extLst>
                  <a:ext uri="{FF2B5EF4-FFF2-40B4-BE49-F238E27FC236}">
                    <a16:creationId xmlns:a16="http://schemas.microsoft.com/office/drawing/2014/main" id="{80175738-40BC-7DC7-7487-80BEF0C3B05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4" name="Groep 903">
              <a:extLst>
                <a:ext uri="{FF2B5EF4-FFF2-40B4-BE49-F238E27FC236}">
                  <a16:creationId xmlns:a16="http://schemas.microsoft.com/office/drawing/2014/main" id="{B6557A76-DB23-272E-8DCE-E7796310551C}"/>
                </a:ext>
              </a:extLst>
            </p:cNvPr>
            <p:cNvGrpSpPr/>
            <p:nvPr/>
          </p:nvGrpSpPr>
          <p:grpSpPr>
            <a:xfrm>
              <a:off x="7461619" y="2393500"/>
              <a:ext cx="289443" cy="248100"/>
              <a:chOff x="5696016" y="3086100"/>
              <a:chExt cx="800080" cy="685799"/>
            </a:xfrm>
            <a:grpFill/>
          </p:grpSpPr>
          <p:sp>
            <p:nvSpPr>
              <p:cNvPr id="971" name="Vrije vorm: vorm 970">
                <a:extLst>
                  <a:ext uri="{FF2B5EF4-FFF2-40B4-BE49-F238E27FC236}">
                    <a16:creationId xmlns:a16="http://schemas.microsoft.com/office/drawing/2014/main" id="{E05DE959-1313-0037-1600-49725AC469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2" name="Vrije vorm: vorm 971">
                <a:extLst>
                  <a:ext uri="{FF2B5EF4-FFF2-40B4-BE49-F238E27FC236}">
                    <a16:creationId xmlns:a16="http://schemas.microsoft.com/office/drawing/2014/main" id="{06B5075F-D085-289E-A1D2-EC518C08C3F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5" name="Groep 904">
              <a:extLst>
                <a:ext uri="{FF2B5EF4-FFF2-40B4-BE49-F238E27FC236}">
                  <a16:creationId xmlns:a16="http://schemas.microsoft.com/office/drawing/2014/main" id="{B5B9751E-3D52-6349-D217-3D2EFB408699}"/>
                </a:ext>
              </a:extLst>
            </p:cNvPr>
            <p:cNvGrpSpPr/>
            <p:nvPr/>
          </p:nvGrpSpPr>
          <p:grpSpPr>
            <a:xfrm>
              <a:off x="7784107" y="2393500"/>
              <a:ext cx="289443" cy="248100"/>
              <a:chOff x="5696016" y="3086100"/>
              <a:chExt cx="800080" cy="685799"/>
            </a:xfrm>
            <a:grpFill/>
          </p:grpSpPr>
          <p:sp>
            <p:nvSpPr>
              <p:cNvPr id="969" name="Vrije vorm: vorm 968">
                <a:extLst>
                  <a:ext uri="{FF2B5EF4-FFF2-40B4-BE49-F238E27FC236}">
                    <a16:creationId xmlns:a16="http://schemas.microsoft.com/office/drawing/2014/main" id="{7C41209A-36A2-DF18-DA54-6A9477936B9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0" name="Vrije vorm: vorm 969">
                <a:extLst>
                  <a:ext uri="{FF2B5EF4-FFF2-40B4-BE49-F238E27FC236}">
                    <a16:creationId xmlns:a16="http://schemas.microsoft.com/office/drawing/2014/main" id="{B416D543-E82A-807B-EE52-5E33422317C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6" name="Groep 905">
              <a:extLst>
                <a:ext uri="{FF2B5EF4-FFF2-40B4-BE49-F238E27FC236}">
                  <a16:creationId xmlns:a16="http://schemas.microsoft.com/office/drawing/2014/main" id="{218D512A-D7E9-52FD-36DE-5004D476BA0D}"/>
                </a:ext>
              </a:extLst>
            </p:cNvPr>
            <p:cNvGrpSpPr/>
            <p:nvPr/>
          </p:nvGrpSpPr>
          <p:grpSpPr>
            <a:xfrm>
              <a:off x="7133223" y="2705100"/>
              <a:ext cx="289443" cy="248100"/>
              <a:chOff x="5696016" y="3086100"/>
              <a:chExt cx="800080" cy="685799"/>
            </a:xfrm>
            <a:grpFill/>
          </p:grpSpPr>
          <p:sp>
            <p:nvSpPr>
              <p:cNvPr id="967" name="Vrije vorm: vorm 966">
                <a:extLst>
                  <a:ext uri="{FF2B5EF4-FFF2-40B4-BE49-F238E27FC236}">
                    <a16:creationId xmlns:a16="http://schemas.microsoft.com/office/drawing/2014/main" id="{A41CD327-4C9A-C79F-0BEB-B23FCFA0944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8" name="Vrije vorm: vorm 967">
                <a:extLst>
                  <a:ext uri="{FF2B5EF4-FFF2-40B4-BE49-F238E27FC236}">
                    <a16:creationId xmlns:a16="http://schemas.microsoft.com/office/drawing/2014/main" id="{ADB3693A-EF26-FB2C-E2E1-4F6340680BC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7" name="Groep 906">
              <a:extLst>
                <a:ext uri="{FF2B5EF4-FFF2-40B4-BE49-F238E27FC236}">
                  <a16:creationId xmlns:a16="http://schemas.microsoft.com/office/drawing/2014/main" id="{196D2709-9320-BB4F-3DD7-606A3D2ADC37}"/>
                </a:ext>
              </a:extLst>
            </p:cNvPr>
            <p:cNvGrpSpPr/>
            <p:nvPr/>
          </p:nvGrpSpPr>
          <p:grpSpPr>
            <a:xfrm>
              <a:off x="7455711" y="2705100"/>
              <a:ext cx="289443" cy="248100"/>
              <a:chOff x="5696016" y="3086100"/>
              <a:chExt cx="800080" cy="685799"/>
            </a:xfrm>
            <a:grpFill/>
          </p:grpSpPr>
          <p:sp>
            <p:nvSpPr>
              <p:cNvPr id="965" name="Vrije vorm: vorm 964">
                <a:extLst>
                  <a:ext uri="{FF2B5EF4-FFF2-40B4-BE49-F238E27FC236}">
                    <a16:creationId xmlns:a16="http://schemas.microsoft.com/office/drawing/2014/main" id="{1176A427-91F7-75AF-44DF-CFFE46483BB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6" name="Vrije vorm: vorm 965">
                <a:extLst>
                  <a:ext uri="{FF2B5EF4-FFF2-40B4-BE49-F238E27FC236}">
                    <a16:creationId xmlns:a16="http://schemas.microsoft.com/office/drawing/2014/main" id="{D42D7169-9750-42FF-0A6D-23438DA0FF1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8" name="Groep 907">
              <a:extLst>
                <a:ext uri="{FF2B5EF4-FFF2-40B4-BE49-F238E27FC236}">
                  <a16:creationId xmlns:a16="http://schemas.microsoft.com/office/drawing/2014/main" id="{BE3319D8-C4C0-1648-F23A-980D7803BA69}"/>
                </a:ext>
              </a:extLst>
            </p:cNvPr>
            <p:cNvGrpSpPr/>
            <p:nvPr/>
          </p:nvGrpSpPr>
          <p:grpSpPr>
            <a:xfrm>
              <a:off x="7778199" y="2705100"/>
              <a:ext cx="289443" cy="248100"/>
              <a:chOff x="5696016" y="3086100"/>
              <a:chExt cx="800080" cy="685799"/>
            </a:xfrm>
            <a:grpFill/>
          </p:grpSpPr>
          <p:sp>
            <p:nvSpPr>
              <p:cNvPr id="963" name="Vrije vorm: vorm 962">
                <a:extLst>
                  <a:ext uri="{FF2B5EF4-FFF2-40B4-BE49-F238E27FC236}">
                    <a16:creationId xmlns:a16="http://schemas.microsoft.com/office/drawing/2014/main" id="{8E8F6064-D6B3-3CE6-B5B0-DB638CFC58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4" name="Vrije vorm: vorm 963">
                <a:extLst>
                  <a:ext uri="{FF2B5EF4-FFF2-40B4-BE49-F238E27FC236}">
                    <a16:creationId xmlns:a16="http://schemas.microsoft.com/office/drawing/2014/main" id="{A94B2A1B-24FC-8E28-6E4D-A64CBF96643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9" name="Groep 908">
              <a:extLst>
                <a:ext uri="{FF2B5EF4-FFF2-40B4-BE49-F238E27FC236}">
                  <a16:creationId xmlns:a16="http://schemas.microsoft.com/office/drawing/2014/main" id="{03EB5D19-6BE1-9072-2753-61CF66861F14}"/>
                </a:ext>
              </a:extLst>
            </p:cNvPr>
            <p:cNvGrpSpPr/>
            <p:nvPr/>
          </p:nvGrpSpPr>
          <p:grpSpPr>
            <a:xfrm>
              <a:off x="7133223" y="3015117"/>
              <a:ext cx="289443" cy="248100"/>
              <a:chOff x="5696016" y="3086100"/>
              <a:chExt cx="800080" cy="685799"/>
            </a:xfrm>
            <a:grpFill/>
          </p:grpSpPr>
          <p:sp>
            <p:nvSpPr>
              <p:cNvPr id="961" name="Vrije vorm: vorm 960">
                <a:extLst>
                  <a:ext uri="{FF2B5EF4-FFF2-40B4-BE49-F238E27FC236}">
                    <a16:creationId xmlns:a16="http://schemas.microsoft.com/office/drawing/2014/main" id="{5B07E318-CBE1-95FC-F520-AF10DC2E062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2" name="Vrije vorm: vorm 961">
                <a:extLst>
                  <a:ext uri="{FF2B5EF4-FFF2-40B4-BE49-F238E27FC236}">
                    <a16:creationId xmlns:a16="http://schemas.microsoft.com/office/drawing/2014/main" id="{EED0F810-0477-0A8B-93AD-3736A86239E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0" name="Groep 909">
              <a:extLst>
                <a:ext uri="{FF2B5EF4-FFF2-40B4-BE49-F238E27FC236}">
                  <a16:creationId xmlns:a16="http://schemas.microsoft.com/office/drawing/2014/main" id="{BCDA1336-2644-495A-950B-86B407D284D7}"/>
                </a:ext>
              </a:extLst>
            </p:cNvPr>
            <p:cNvGrpSpPr/>
            <p:nvPr/>
          </p:nvGrpSpPr>
          <p:grpSpPr>
            <a:xfrm>
              <a:off x="7455711" y="3015117"/>
              <a:ext cx="289443" cy="248100"/>
              <a:chOff x="5696016" y="3086100"/>
              <a:chExt cx="800080" cy="685799"/>
            </a:xfrm>
            <a:grpFill/>
          </p:grpSpPr>
          <p:sp>
            <p:nvSpPr>
              <p:cNvPr id="959" name="Vrije vorm: vorm 958">
                <a:extLst>
                  <a:ext uri="{FF2B5EF4-FFF2-40B4-BE49-F238E27FC236}">
                    <a16:creationId xmlns:a16="http://schemas.microsoft.com/office/drawing/2014/main" id="{95C29F4B-CFE2-44A3-BCA8-3EC835F8CFA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0" name="Vrije vorm: vorm 959">
                <a:extLst>
                  <a:ext uri="{FF2B5EF4-FFF2-40B4-BE49-F238E27FC236}">
                    <a16:creationId xmlns:a16="http://schemas.microsoft.com/office/drawing/2014/main" id="{155E7D05-08A4-EF75-6F5A-8A61897A6A0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1" name="Groep 910">
              <a:extLst>
                <a:ext uri="{FF2B5EF4-FFF2-40B4-BE49-F238E27FC236}">
                  <a16:creationId xmlns:a16="http://schemas.microsoft.com/office/drawing/2014/main" id="{AF4A76E3-0026-D890-0C33-E1F2BFB0B77C}"/>
                </a:ext>
              </a:extLst>
            </p:cNvPr>
            <p:cNvGrpSpPr/>
            <p:nvPr/>
          </p:nvGrpSpPr>
          <p:grpSpPr>
            <a:xfrm>
              <a:off x="7778199" y="3015117"/>
              <a:ext cx="289443" cy="248100"/>
              <a:chOff x="5696016" y="3086100"/>
              <a:chExt cx="800080" cy="685799"/>
            </a:xfrm>
            <a:grpFill/>
          </p:grpSpPr>
          <p:sp>
            <p:nvSpPr>
              <p:cNvPr id="957" name="Vrije vorm: vorm 956">
                <a:extLst>
                  <a:ext uri="{FF2B5EF4-FFF2-40B4-BE49-F238E27FC236}">
                    <a16:creationId xmlns:a16="http://schemas.microsoft.com/office/drawing/2014/main" id="{D7302EA4-93AD-0530-54CA-EAC74BE0259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8" name="Vrije vorm: vorm 957">
                <a:extLst>
                  <a:ext uri="{FF2B5EF4-FFF2-40B4-BE49-F238E27FC236}">
                    <a16:creationId xmlns:a16="http://schemas.microsoft.com/office/drawing/2014/main" id="{77677776-10B0-8BA2-0C04-21D0E356919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2" name="Groep 911">
              <a:extLst>
                <a:ext uri="{FF2B5EF4-FFF2-40B4-BE49-F238E27FC236}">
                  <a16:creationId xmlns:a16="http://schemas.microsoft.com/office/drawing/2014/main" id="{52A03C0A-ECA0-D019-4AE0-B17D77E5D88C}"/>
                </a:ext>
              </a:extLst>
            </p:cNvPr>
            <p:cNvGrpSpPr/>
            <p:nvPr/>
          </p:nvGrpSpPr>
          <p:grpSpPr>
            <a:xfrm>
              <a:off x="7133223" y="3325135"/>
              <a:ext cx="289443" cy="248100"/>
              <a:chOff x="5696016" y="3086100"/>
              <a:chExt cx="800080" cy="685799"/>
            </a:xfrm>
            <a:grpFill/>
          </p:grpSpPr>
          <p:sp>
            <p:nvSpPr>
              <p:cNvPr id="955" name="Vrije vorm: vorm 954">
                <a:extLst>
                  <a:ext uri="{FF2B5EF4-FFF2-40B4-BE49-F238E27FC236}">
                    <a16:creationId xmlns:a16="http://schemas.microsoft.com/office/drawing/2014/main" id="{CE6AEC6F-6BDA-508C-A87C-7F7254C5DB7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6" name="Vrije vorm: vorm 955">
                <a:extLst>
                  <a:ext uri="{FF2B5EF4-FFF2-40B4-BE49-F238E27FC236}">
                    <a16:creationId xmlns:a16="http://schemas.microsoft.com/office/drawing/2014/main" id="{42949B45-58D7-2AB2-4181-377257070D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3" name="Groep 912">
              <a:extLst>
                <a:ext uri="{FF2B5EF4-FFF2-40B4-BE49-F238E27FC236}">
                  <a16:creationId xmlns:a16="http://schemas.microsoft.com/office/drawing/2014/main" id="{15BE7268-60B8-81A4-42F4-8892F84BC64C}"/>
                </a:ext>
              </a:extLst>
            </p:cNvPr>
            <p:cNvGrpSpPr/>
            <p:nvPr/>
          </p:nvGrpSpPr>
          <p:grpSpPr>
            <a:xfrm>
              <a:off x="7455711" y="3325135"/>
              <a:ext cx="289443" cy="248100"/>
              <a:chOff x="5696016" y="3086100"/>
              <a:chExt cx="800080" cy="685799"/>
            </a:xfrm>
            <a:grpFill/>
          </p:grpSpPr>
          <p:sp>
            <p:nvSpPr>
              <p:cNvPr id="953" name="Vrije vorm: vorm 952">
                <a:extLst>
                  <a:ext uri="{FF2B5EF4-FFF2-40B4-BE49-F238E27FC236}">
                    <a16:creationId xmlns:a16="http://schemas.microsoft.com/office/drawing/2014/main" id="{EEECB733-4BCF-6177-171C-0D27043F9E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4" name="Vrije vorm: vorm 953">
                <a:extLst>
                  <a:ext uri="{FF2B5EF4-FFF2-40B4-BE49-F238E27FC236}">
                    <a16:creationId xmlns:a16="http://schemas.microsoft.com/office/drawing/2014/main" id="{BDED938F-3D6C-E883-D5DC-F693945C1D3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4" name="Groep 913">
              <a:extLst>
                <a:ext uri="{FF2B5EF4-FFF2-40B4-BE49-F238E27FC236}">
                  <a16:creationId xmlns:a16="http://schemas.microsoft.com/office/drawing/2014/main" id="{69D5D97C-7CB1-07C3-AB2F-827F8D3EFC89}"/>
                </a:ext>
              </a:extLst>
            </p:cNvPr>
            <p:cNvGrpSpPr/>
            <p:nvPr/>
          </p:nvGrpSpPr>
          <p:grpSpPr>
            <a:xfrm>
              <a:off x="7778199" y="3325135"/>
              <a:ext cx="289443" cy="248100"/>
              <a:chOff x="5696016" y="3086100"/>
              <a:chExt cx="800080" cy="685799"/>
            </a:xfrm>
            <a:grpFill/>
          </p:grpSpPr>
          <p:sp>
            <p:nvSpPr>
              <p:cNvPr id="951" name="Vrije vorm: vorm 950">
                <a:extLst>
                  <a:ext uri="{FF2B5EF4-FFF2-40B4-BE49-F238E27FC236}">
                    <a16:creationId xmlns:a16="http://schemas.microsoft.com/office/drawing/2014/main" id="{EA49E96B-4D39-B31F-E613-428656F862C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2" name="Vrije vorm: vorm 951">
                <a:extLst>
                  <a:ext uri="{FF2B5EF4-FFF2-40B4-BE49-F238E27FC236}">
                    <a16:creationId xmlns:a16="http://schemas.microsoft.com/office/drawing/2014/main" id="{4EC97729-5851-2E3E-41FF-CC5B2CB665F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5" name="Groep 914">
              <a:extLst>
                <a:ext uri="{FF2B5EF4-FFF2-40B4-BE49-F238E27FC236}">
                  <a16:creationId xmlns:a16="http://schemas.microsoft.com/office/drawing/2014/main" id="{F1ED9F25-84F3-CDF6-D1B2-8AAF79EA7748}"/>
                </a:ext>
              </a:extLst>
            </p:cNvPr>
            <p:cNvGrpSpPr/>
            <p:nvPr/>
          </p:nvGrpSpPr>
          <p:grpSpPr>
            <a:xfrm>
              <a:off x="7133223" y="3635151"/>
              <a:ext cx="289443" cy="248100"/>
              <a:chOff x="5696016" y="3086100"/>
              <a:chExt cx="800080" cy="685799"/>
            </a:xfrm>
            <a:grpFill/>
          </p:grpSpPr>
          <p:sp>
            <p:nvSpPr>
              <p:cNvPr id="949" name="Vrije vorm: vorm 948">
                <a:extLst>
                  <a:ext uri="{FF2B5EF4-FFF2-40B4-BE49-F238E27FC236}">
                    <a16:creationId xmlns:a16="http://schemas.microsoft.com/office/drawing/2014/main" id="{8B2E5363-A691-7CED-4A67-D8E8DB83A94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0" name="Vrije vorm: vorm 949">
                <a:extLst>
                  <a:ext uri="{FF2B5EF4-FFF2-40B4-BE49-F238E27FC236}">
                    <a16:creationId xmlns:a16="http://schemas.microsoft.com/office/drawing/2014/main" id="{BD1C2EE6-C754-662B-962C-0011A9F505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6" name="Groep 915">
              <a:extLst>
                <a:ext uri="{FF2B5EF4-FFF2-40B4-BE49-F238E27FC236}">
                  <a16:creationId xmlns:a16="http://schemas.microsoft.com/office/drawing/2014/main" id="{64F4EDB5-85A9-2955-3A08-31CE01DB2D68}"/>
                </a:ext>
              </a:extLst>
            </p:cNvPr>
            <p:cNvGrpSpPr/>
            <p:nvPr/>
          </p:nvGrpSpPr>
          <p:grpSpPr>
            <a:xfrm>
              <a:off x="7455711" y="3635151"/>
              <a:ext cx="289443" cy="248100"/>
              <a:chOff x="5696016" y="3086100"/>
              <a:chExt cx="800080" cy="685799"/>
            </a:xfrm>
            <a:grpFill/>
          </p:grpSpPr>
          <p:sp>
            <p:nvSpPr>
              <p:cNvPr id="947" name="Vrije vorm: vorm 946">
                <a:extLst>
                  <a:ext uri="{FF2B5EF4-FFF2-40B4-BE49-F238E27FC236}">
                    <a16:creationId xmlns:a16="http://schemas.microsoft.com/office/drawing/2014/main" id="{3F5D9818-2B5F-BC2A-4B81-D51DAE0C65D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8" name="Vrije vorm: vorm 947">
                <a:extLst>
                  <a:ext uri="{FF2B5EF4-FFF2-40B4-BE49-F238E27FC236}">
                    <a16:creationId xmlns:a16="http://schemas.microsoft.com/office/drawing/2014/main" id="{379F9F97-40CA-3778-FA25-1214ED8A461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7" name="Groep 916">
              <a:extLst>
                <a:ext uri="{FF2B5EF4-FFF2-40B4-BE49-F238E27FC236}">
                  <a16:creationId xmlns:a16="http://schemas.microsoft.com/office/drawing/2014/main" id="{40F9E6A8-784C-22F5-B8EB-90C1A9C30EDF}"/>
                </a:ext>
              </a:extLst>
            </p:cNvPr>
            <p:cNvGrpSpPr/>
            <p:nvPr/>
          </p:nvGrpSpPr>
          <p:grpSpPr>
            <a:xfrm>
              <a:off x="7778199" y="3635151"/>
              <a:ext cx="289443" cy="248100"/>
              <a:chOff x="5696016" y="3086100"/>
              <a:chExt cx="800080" cy="685799"/>
            </a:xfrm>
            <a:grpFill/>
          </p:grpSpPr>
          <p:sp>
            <p:nvSpPr>
              <p:cNvPr id="945" name="Vrije vorm: vorm 944">
                <a:extLst>
                  <a:ext uri="{FF2B5EF4-FFF2-40B4-BE49-F238E27FC236}">
                    <a16:creationId xmlns:a16="http://schemas.microsoft.com/office/drawing/2014/main" id="{85BF9989-3D75-8751-9B1D-BA92E854C4A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6" name="Vrije vorm: vorm 945">
                <a:extLst>
                  <a:ext uri="{FF2B5EF4-FFF2-40B4-BE49-F238E27FC236}">
                    <a16:creationId xmlns:a16="http://schemas.microsoft.com/office/drawing/2014/main" id="{F95C84C3-0851-9B6D-350C-E6673C09433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8" name="Groep 917">
              <a:extLst>
                <a:ext uri="{FF2B5EF4-FFF2-40B4-BE49-F238E27FC236}">
                  <a16:creationId xmlns:a16="http://schemas.microsoft.com/office/drawing/2014/main" id="{BA05FD7E-AD5E-F7D6-E068-55E9B799F1E3}"/>
                </a:ext>
              </a:extLst>
            </p:cNvPr>
            <p:cNvGrpSpPr/>
            <p:nvPr/>
          </p:nvGrpSpPr>
          <p:grpSpPr>
            <a:xfrm>
              <a:off x="7133223" y="3945167"/>
              <a:ext cx="289443" cy="248100"/>
              <a:chOff x="5696016" y="3086100"/>
              <a:chExt cx="800080" cy="685799"/>
            </a:xfrm>
            <a:grpFill/>
          </p:grpSpPr>
          <p:sp>
            <p:nvSpPr>
              <p:cNvPr id="943" name="Vrije vorm: vorm 942">
                <a:extLst>
                  <a:ext uri="{FF2B5EF4-FFF2-40B4-BE49-F238E27FC236}">
                    <a16:creationId xmlns:a16="http://schemas.microsoft.com/office/drawing/2014/main" id="{0FE46FD2-809C-D9A0-7ECD-273618A56C9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4" name="Vrije vorm: vorm 943">
                <a:extLst>
                  <a:ext uri="{FF2B5EF4-FFF2-40B4-BE49-F238E27FC236}">
                    <a16:creationId xmlns:a16="http://schemas.microsoft.com/office/drawing/2014/main" id="{432557B9-5FF9-2B72-DE99-9885A7159AE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9" name="Groep 918">
              <a:extLst>
                <a:ext uri="{FF2B5EF4-FFF2-40B4-BE49-F238E27FC236}">
                  <a16:creationId xmlns:a16="http://schemas.microsoft.com/office/drawing/2014/main" id="{76D24DA2-9778-BEB2-3864-A49BEDAADE66}"/>
                </a:ext>
              </a:extLst>
            </p:cNvPr>
            <p:cNvGrpSpPr/>
            <p:nvPr/>
          </p:nvGrpSpPr>
          <p:grpSpPr>
            <a:xfrm>
              <a:off x="7455711" y="3945167"/>
              <a:ext cx="289443" cy="248100"/>
              <a:chOff x="5696016" y="3086100"/>
              <a:chExt cx="800080" cy="685799"/>
            </a:xfrm>
            <a:grpFill/>
          </p:grpSpPr>
          <p:sp>
            <p:nvSpPr>
              <p:cNvPr id="941" name="Vrije vorm: vorm 940">
                <a:extLst>
                  <a:ext uri="{FF2B5EF4-FFF2-40B4-BE49-F238E27FC236}">
                    <a16:creationId xmlns:a16="http://schemas.microsoft.com/office/drawing/2014/main" id="{3C7C705F-C6F4-18A1-00D7-B50B6077E53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2" name="Vrije vorm: vorm 941">
                <a:extLst>
                  <a:ext uri="{FF2B5EF4-FFF2-40B4-BE49-F238E27FC236}">
                    <a16:creationId xmlns:a16="http://schemas.microsoft.com/office/drawing/2014/main" id="{EF3BB68A-D562-B679-EF76-AF29B83BCD2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0" name="Groep 919">
              <a:extLst>
                <a:ext uri="{FF2B5EF4-FFF2-40B4-BE49-F238E27FC236}">
                  <a16:creationId xmlns:a16="http://schemas.microsoft.com/office/drawing/2014/main" id="{53DE2873-39CE-967B-2091-77BA25DBF24E}"/>
                </a:ext>
              </a:extLst>
            </p:cNvPr>
            <p:cNvGrpSpPr/>
            <p:nvPr/>
          </p:nvGrpSpPr>
          <p:grpSpPr>
            <a:xfrm>
              <a:off x="7778199" y="3945167"/>
              <a:ext cx="289443" cy="248100"/>
              <a:chOff x="5696016" y="3086100"/>
              <a:chExt cx="800080" cy="685799"/>
            </a:xfrm>
            <a:grpFill/>
          </p:grpSpPr>
          <p:sp>
            <p:nvSpPr>
              <p:cNvPr id="939" name="Vrije vorm: vorm 938">
                <a:extLst>
                  <a:ext uri="{FF2B5EF4-FFF2-40B4-BE49-F238E27FC236}">
                    <a16:creationId xmlns:a16="http://schemas.microsoft.com/office/drawing/2014/main" id="{7F5C9D2E-68EF-475A-8180-CBB9F501862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0" name="Vrije vorm: vorm 939">
                <a:extLst>
                  <a:ext uri="{FF2B5EF4-FFF2-40B4-BE49-F238E27FC236}">
                    <a16:creationId xmlns:a16="http://schemas.microsoft.com/office/drawing/2014/main" id="{8788EF97-E3FE-021D-CE63-64BA17B85BD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1" name="Groep 920">
              <a:extLst>
                <a:ext uri="{FF2B5EF4-FFF2-40B4-BE49-F238E27FC236}">
                  <a16:creationId xmlns:a16="http://schemas.microsoft.com/office/drawing/2014/main" id="{96000152-C365-50C2-9EF5-B0D39FB9008D}"/>
                </a:ext>
              </a:extLst>
            </p:cNvPr>
            <p:cNvGrpSpPr/>
            <p:nvPr/>
          </p:nvGrpSpPr>
          <p:grpSpPr>
            <a:xfrm>
              <a:off x="7133223" y="4255183"/>
              <a:ext cx="289443" cy="248100"/>
              <a:chOff x="5696016" y="3086100"/>
              <a:chExt cx="800080" cy="685799"/>
            </a:xfrm>
            <a:grpFill/>
          </p:grpSpPr>
          <p:sp>
            <p:nvSpPr>
              <p:cNvPr id="937" name="Vrije vorm: vorm 936">
                <a:extLst>
                  <a:ext uri="{FF2B5EF4-FFF2-40B4-BE49-F238E27FC236}">
                    <a16:creationId xmlns:a16="http://schemas.microsoft.com/office/drawing/2014/main" id="{357F47D9-DC73-9C99-1458-5E4356E9283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8" name="Vrije vorm: vorm 937">
                <a:extLst>
                  <a:ext uri="{FF2B5EF4-FFF2-40B4-BE49-F238E27FC236}">
                    <a16:creationId xmlns:a16="http://schemas.microsoft.com/office/drawing/2014/main" id="{49DAD2C8-BCC1-3001-185F-F1B1C042F7F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2" name="Groep 921">
              <a:extLst>
                <a:ext uri="{FF2B5EF4-FFF2-40B4-BE49-F238E27FC236}">
                  <a16:creationId xmlns:a16="http://schemas.microsoft.com/office/drawing/2014/main" id="{D7630A0B-E631-7814-6359-4071F1AF0B58}"/>
                </a:ext>
              </a:extLst>
            </p:cNvPr>
            <p:cNvGrpSpPr/>
            <p:nvPr/>
          </p:nvGrpSpPr>
          <p:grpSpPr>
            <a:xfrm>
              <a:off x="7455711" y="4255183"/>
              <a:ext cx="289443" cy="248100"/>
              <a:chOff x="5696016" y="3086100"/>
              <a:chExt cx="800080" cy="685799"/>
            </a:xfrm>
            <a:grpFill/>
          </p:grpSpPr>
          <p:sp>
            <p:nvSpPr>
              <p:cNvPr id="935" name="Vrije vorm: vorm 934">
                <a:extLst>
                  <a:ext uri="{FF2B5EF4-FFF2-40B4-BE49-F238E27FC236}">
                    <a16:creationId xmlns:a16="http://schemas.microsoft.com/office/drawing/2014/main" id="{884B910F-17D4-6599-0EB0-124E40D72B9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6" name="Vrije vorm: vorm 935">
                <a:extLst>
                  <a:ext uri="{FF2B5EF4-FFF2-40B4-BE49-F238E27FC236}">
                    <a16:creationId xmlns:a16="http://schemas.microsoft.com/office/drawing/2014/main" id="{24B74585-C744-5C77-EB2C-4AC694EE57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3" name="Groep 922">
              <a:extLst>
                <a:ext uri="{FF2B5EF4-FFF2-40B4-BE49-F238E27FC236}">
                  <a16:creationId xmlns:a16="http://schemas.microsoft.com/office/drawing/2014/main" id="{31A076A0-BC8C-0466-4544-7982843F06F5}"/>
                </a:ext>
              </a:extLst>
            </p:cNvPr>
            <p:cNvGrpSpPr/>
            <p:nvPr/>
          </p:nvGrpSpPr>
          <p:grpSpPr>
            <a:xfrm>
              <a:off x="7778199" y="4255183"/>
              <a:ext cx="289443" cy="248100"/>
              <a:chOff x="5696016" y="3086100"/>
              <a:chExt cx="800080" cy="685799"/>
            </a:xfrm>
            <a:grpFill/>
          </p:grpSpPr>
          <p:sp>
            <p:nvSpPr>
              <p:cNvPr id="933" name="Vrije vorm: vorm 932">
                <a:extLst>
                  <a:ext uri="{FF2B5EF4-FFF2-40B4-BE49-F238E27FC236}">
                    <a16:creationId xmlns:a16="http://schemas.microsoft.com/office/drawing/2014/main" id="{9195B07F-B27F-0A4C-0378-4CD0B383B9A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4" name="Vrije vorm: vorm 933">
                <a:extLst>
                  <a:ext uri="{FF2B5EF4-FFF2-40B4-BE49-F238E27FC236}">
                    <a16:creationId xmlns:a16="http://schemas.microsoft.com/office/drawing/2014/main" id="{7E21F5DE-EDFC-A02F-749E-17FAA0EE2B0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4" name="Groep 923">
              <a:extLst>
                <a:ext uri="{FF2B5EF4-FFF2-40B4-BE49-F238E27FC236}">
                  <a16:creationId xmlns:a16="http://schemas.microsoft.com/office/drawing/2014/main" id="{74EEB623-C31E-9962-B745-8DD4819E4932}"/>
                </a:ext>
              </a:extLst>
            </p:cNvPr>
            <p:cNvGrpSpPr/>
            <p:nvPr/>
          </p:nvGrpSpPr>
          <p:grpSpPr>
            <a:xfrm>
              <a:off x="7133223" y="4565200"/>
              <a:ext cx="289443" cy="248100"/>
              <a:chOff x="5696016" y="3086100"/>
              <a:chExt cx="800080" cy="685799"/>
            </a:xfrm>
            <a:grpFill/>
          </p:grpSpPr>
          <p:sp>
            <p:nvSpPr>
              <p:cNvPr id="931" name="Vrije vorm: vorm 930">
                <a:extLst>
                  <a:ext uri="{FF2B5EF4-FFF2-40B4-BE49-F238E27FC236}">
                    <a16:creationId xmlns:a16="http://schemas.microsoft.com/office/drawing/2014/main" id="{16D00003-0C24-EF57-EEF5-1A1450D45FC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2" name="Vrije vorm: vorm 931">
                <a:extLst>
                  <a:ext uri="{FF2B5EF4-FFF2-40B4-BE49-F238E27FC236}">
                    <a16:creationId xmlns:a16="http://schemas.microsoft.com/office/drawing/2014/main" id="{B623D8A6-33AF-46CD-BA13-2DFF23B1239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5" name="Groep 924">
              <a:extLst>
                <a:ext uri="{FF2B5EF4-FFF2-40B4-BE49-F238E27FC236}">
                  <a16:creationId xmlns:a16="http://schemas.microsoft.com/office/drawing/2014/main" id="{5808A4B8-2307-022E-5C29-8246A21F3288}"/>
                </a:ext>
              </a:extLst>
            </p:cNvPr>
            <p:cNvGrpSpPr/>
            <p:nvPr/>
          </p:nvGrpSpPr>
          <p:grpSpPr>
            <a:xfrm>
              <a:off x="7455711" y="4565200"/>
              <a:ext cx="289443" cy="248100"/>
              <a:chOff x="5696016" y="3086100"/>
              <a:chExt cx="800080" cy="685799"/>
            </a:xfrm>
            <a:grpFill/>
          </p:grpSpPr>
          <p:sp>
            <p:nvSpPr>
              <p:cNvPr id="929" name="Vrije vorm: vorm 928">
                <a:extLst>
                  <a:ext uri="{FF2B5EF4-FFF2-40B4-BE49-F238E27FC236}">
                    <a16:creationId xmlns:a16="http://schemas.microsoft.com/office/drawing/2014/main" id="{CBD6FD15-9EFB-AA26-8BDF-ABA11D7B71A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0" name="Vrije vorm: vorm 929">
                <a:extLst>
                  <a:ext uri="{FF2B5EF4-FFF2-40B4-BE49-F238E27FC236}">
                    <a16:creationId xmlns:a16="http://schemas.microsoft.com/office/drawing/2014/main" id="{5D7634C4-8723-C9B2-C388-1741556E963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6" name="Groep 925">
              <a:extLst>
                <a:ext uri="{FF2B5EF4-FFF2-40B4-BE49-F238E27FC236}">
                  <a16:creationId xmlns:a16="http://schemas.microsoft.com/office/drawing/2014/main" id="{FE10A8D1-7722-8E03-D4E8-97E422037706}"/>
                </a:ext>
              </a:extLst>
            </p:cNvPr>
            <p:cNvGrpSpPr/>
            <p:nvPr/>
          </p:nvGrpSpPr>
          <p:grpSpPr>
            <a:xfrm>
              <a:off x="7778199" y="4565200"/>
              <a:ext cx="289443" cy="248100"/>
              <a:chOff x="5696016" y="3086100"/>
              <a:chExt cx="800080" cy="685799"/>
            </a:xfrm>
            <a:grpFill/>
          </p:grpSpPr>
          <p:sp>
            <p:nvSpPr>
              <p:cNvPr id="927" name="Vrije vorm: vorm 926">
                <a:extLst>
                  <a:ext uri="{FF2B5EF4-FFF2-40B4-BE49-F238E27FC236}">
                    <a16:creationId xmlns:a16="http://schemas.microsoft.com/office/drawing/2014/main" id="{20D8A3EE-F985-F2FD-4C85-6DCDD0BBB4F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28" name="Vrije vorm: vorm 927">
                <a:extLst>
                  <a:ext uri="{FF2B5EF4-FFF2-40B4-BE49-F238E27FC236}">
                    <a16:creationId xmlns:a16="http://schemas.microsoft.com/office/drawing/2014/main" id="{F3E6327A-187D-A716-7811-67B1996A29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011" name="Groep 1010">
            <a:extLst>
              <a:ext uri="{FF2B5EF4-FFF2-40B4-BE49-F238E27FC236}">
                <a16:creationId xmlns:a16="http://schemas.microsoft.com/office/drawing/2014/main" id="{F68E46EA-7FE9-0D38-2F34-616B4B731A3D}"/>
              </a:ext>
            </a:extLst>
          </p:cNvPr>
          <p:cNvGrpSpPr/>
          <p:nvPr/>
        </p:nvGrpSpPr>
        <p:grpSpPr>
          <a:xfrm>
            <a:off x="6932601" y="5865467"/>
            <a:ext cx="234882" cy="201332"/>
            <a:chOff x="999123" y="4997000"/>
            <a:chExt cx="289443" cy="248100"/>
          </a:xfrm>
          <a:solidFill>
            <a:schemeClr val="accent2"/>
          </a:solidFill>
        </p:grpSpPr>
        <p:sp>
          <p:nvSpPr>
            <p:cNvPr id="1012" name="Vrije vorm: vorm 1011">
              <a:extLst>
                <a:ext uri="{FF2B5EF4-FFF2-40B4-BE49-F238E27FC236}">
                  <a16:creationId xmlns:a16="http://schemas.microsoft.com/office/drawing/2014/main" id="{99ACB0A9-EA91-FFAD-58D6-59A7757205C2}"/>
                </a:ext>
              </a:extLst>
            </p:cNvPr>
            <p:cNvSpPr/>
            <p:nvPr/>
          </p:nvSpPr>
          <p:spPr>
            <a:xfrm>
              <a:off x="999123" y="4997000"/>
              <a:ext cx="289443" cy="151041"/>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13" name="Vrije vorm: vorm 1012">
              <a:extLst>
                <a:ext uri="{FF2B5EF4-FFF2-40B4-BE49-F238E27FC236}">
                  <a16:creationId xmlns:a16="http://schemas.microsoft.com/office/drawing/2014/main" id="{0EF9AB0C-B17F-5930-1AC7-60F63B9062E2}"/>
                </a:ext>
              </a:extLst>
            </p:cNvPr>
            <p:cNvSpPr/>
            <p:nvPr/>
          </p:nvSpPr>
          <p:spPr>
            <a:xfrm>
              <a:off x="1040466" y="5044435"/>
              <a:ext cx="206750" cy="200665"/>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sp>
        <p:nvSpPr>
          <p:cNvPr id="1014" name="Tekstvak 1013">
            <a:extLst>
              <a:ext uri="{FF2B5EF4-FFF2-40B4-BE49-F238E27FC236}">
                <a16:creationId xmlns:a16="http://schemas.microsoft.com/office/drawing/2014/main" id="{6B7E1D82-5021-6F39-268A-286886D96927}"/>
              </a:ext>
            </a:extLst>
          </p:cNvPr>
          <p:cNvSpPr txBox="1"/>
          <p:nvPr/>
        </p:nvSpPr>
        <p:spPr>
          <a:xfrm>
            <a:off x="7167478" y="5847659"/>
            <a:ext cx="2254314" cy="276999"/>
          </a:xfrm>
          <a:prstGeom prst="rect">
            <a:avLst/>
          </a:prstGeom>
          <a:noFill/>
        </p:spPr>
        <p:txBody>
          <a:bodyPr wrap="square" anchor="ctr">
            <a:spAutoFit/>
          </a:bodyPr>
          <a:lstStyle/>
          <a:p>
            <a:r>
              <a:rPr lang="nl-NL" sz="1200" dirty="0">
                <a:latin typeface="+mj-lt"/>
              </a:rPr>
              <a:t>10.000 renovaties</a:t>
            </a:r>
            <a:endParaRPr lang="nl-NL" sz="1200" dirty="0"/>
          </a:p>
        </p:txBody>
      </p:sp>
      <p:pic>
        <p:nvPicPr>
          <p:cNvPr id="1016" name="Afbeelding 1015">
            <a:extLst>
              <a:ext uri="{FF2B5EF4-FFF2-40B4-BE49-F238E27FC236}">
                <a16:creationId xmlns:a16="http://schemas.microsoft.com/office/drawing/2014/main" id="{36249380-1E58-50FA-92C2-ACD91F227EEE}"/>
              </a:ext>
            </a:extLst>
          </p:cNvPr>
          <p:cNvPicPr>
            <a:picLocks noChangeAspect="1"/>
          </p:cNvPicPr>
          <p:nvPr/>
        </p:nvPicPr>
        <p:blipFill>
          <a:blip r:embed="rId3"/>
          <a:stretch>
            <a:fillRect/>
          </a:stretch>
        </p:blipFill>
        <p:spPr>
          <a:xfrm>
            <a:off x="4318131" y="7011176"/>
            <a:ext cx="5836709" cy="3316595"/>
          </a:xfrm>
          <a:prstGeom prst="rect">
            <a:avLst/>
          </a:prstGeom>
        </p:spPr>
      </p:pic>
      <p:sp>
        <p:nvSpPr>
          <p:cNvPr id="1017" name="Tekstvak 1016">
            <a:extLst>
              <a:ext uri="{FF2B5EF4-FFF2-40B4-BE49-F238E27FC236}">
                <a16:creationId xmlns:a16="http://schemas.microsoft.com/office/drawing/2014/main" id="{AF9A0234-4850-6100-CC2F-87AB1F7B811D}"/>
              </a:ext>
            </a:extLst>
          </p:cNvPr>
          <p:cNvSpPr txBox="1"/>
          <p:nvPr/>
        </p:nvSpPr>
        <p:spPr>
          <a:xfrm>
            <a:off x="3449029" y="7197527"/>
            <a:ext cx="9149786" cy="646331"/>
          </a:xfrm>
          <a:prstGeom prst="rect">
            <a:avLst/>
          </a:prstGeom>
          <a:noFill/>
        </p:spPr>
        <p:txBody>
          <a:bodyPr wrap="square">
            <a:spAutoFit/>
          </a:bodyPr>
          <a:lstStyle/>
          <a:p>
            <a:r>
              <a:rPr lang="nl-NL" dirty="0"/>
              <a:t>https://www.cbs.nl/nl-nl/longread/statistische-trends/2019/prognose-2019-2050-woningbouwveronderstellingen?onepage=true</a:t>
            </a:r>
          </a:p>
        </p:txBody>
      </p:sp>
      <p:pic>
        <p:nvPicPr>
          <p:cNvPr id="1015" name="Afbeelding 14" descr="Afbeelding met tekst, cirkel, logo, Lettertype&#10;&#10;Automatisch gegenereerde beschrijving">
            <a:extLst>
              <a:ext uri="{FF2B5EF4-FFF2-40B4-BE49-F238E27FC236}">
                <a16:creationId xmlns:a16="http://schemas.microsoft.com/office/drawing/2014/main" id="{664EE7CF-5DDA-A8A5-C5C6-E0B0BD44F17C}"/>
              </a:ext>
            </a:extLst>
          </p:cNvPr>
          <p:cNvPicPr/>
          <p:nvPr/>
        </p:nvPicPr>
        <p:blipFill>
          <a:blip r:embed="rId4"/>
          <a:stretch>
            <a:fillRect/>
          </a:stretch>
        </p:blipFill>
        <p:spPr>
          <a:xfrm>
            <a:off x="10880745" y="200596"/>
            <a:ext cx="1097623" cy="1097623"/>
          </a:xfrm>
          <a:prstGeom prst="rect">
            <a:avLst/>
          </a:prstGeom>
        </p:spPr>
      </p:pic>
      <p:cxnSp>
        <p:nvCxnSpPr>
          <p:cNvPr id="1025" name="Straight Connector 1024">
            <a:extLst>
              <a:ext uri="{FF2B5EF4-FFF2-40B4-BE49-F238E27FC236}">
                <a16:creationId xmlns:a16="http://schemas.microsoft.com/office/drawing/2014/main" id="{96159B21-591C-8C09-7962-78DB341B16CC}"/>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907170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8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19944-E8C8-C51A-F0E8-C820A3CE9A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ADEB773-3D98-75F8-6AE4-8D576BF31709}"/>
              </a:ext>
            </a:extLst>
          </p:cNvPr>
          <p:cNvSpPr>
            <a:spLocks noGrp="1"/>
          </p:cNvSpPr>
          <p:nvPr>
            <p:ph type="title"/>
          </p:nvPr>
        </p:nvSpPr>
        <p:spPr/>
        <p:txBody>
          <a:bodyPr/>
          <a:lstStyle/>
          <a:p>
            <a:r>
              <a:rPr lang="nl-NL" dirty="0"/>
              <a:t>Woningbouw- &amp; renovatieopgave</a:t>
            </a:r>
          </a:p>
        </p:txBody>
      </p:sp>
      <p:sp>
        <p:nvSpPr>
          <p:cNvPr id="4" name="Tijdelijke aanduiding voor tekst 3">
            <a:extLst>
              <a:ext uri="{FF2B5EF4-FFF2-40B4-BE49-F238E27FC236}">
                <a16:creationId xmlns:a16="http://schemas.microsoft.com/office/drawing/2014/main" id="{30DBE2A8-241B-32EA-BB95-BA4AA290FBD1}"/>
              </a:ext>
            </a:extLst>
          </p:cNvPr>
          <p:cNvSpPr>
            <a:spLocks noGrp="1"/>
          </p:cNvSpPr>
          <p:nvPr>
            <p:ph type="body" sz="quarter" idx="11"/>
          </p:nvPr>
        </p:nvSpPr>
        <p:spPr/>
        <p:txBody>
          <a:bodyPr/>
          <a:lstStyle/>
          <a:p>
            <a:r>
              <a:rPr lang="nl-NL" dirty="0"/>
              <a:t>Na de periode 2023-2030 </a:t>
            </a:r>
          </a:p>
        </p:txBody>
      </p:sp>
      <p:sp>
        <p:nvSpPr>
          <p:cNvPr id="6" name="Tijdelijke aanduiding voor tekst 5">
            <a:extLst>
              <a:ext uri="{FF2B5EF4-FFF2-40B4-BE49-F238E27FC236}">
                <a16:creationId xmlns:a16="http://schemas.microsoft.com/office/drawing/2014/main" id="{E0E80D0C-A092-8602-E97F-1D9475FE5476}"/>
              </a:ext>
            </a:extLst>
          </p:cNvPr>
          <p:cNvSpPr>
            <a:spLocks noGrp="1"/>
          </p:cNvSpPr>
          <p:nvPr>
            <p:ph type="body" sz="quarter" idx="14"/>
          </p:nvPr>
        </p:nvSpPr>
        <p:spPr/>
        <p:txBody>
          <a:bodyPr/>
          <a:lstStyle/>
          <a:p>
            <a:endParaRPr lang="nl-NL"/>
          </a:p>
        </p:txBody>
      </p:sp>
      <p:grpSp>
        <p:nvGrpSpPr>
          <p:cNvPr id="8" name="Groep 7">
            <a:extLst>
              <a:ext uri="{FF2B5EF4-FFF2-40B4-BE49-F238E27FC236}">
                <a16:creationId xmlns:a16="http://schemas.microsoft.com/office/drawing/2014/main" id="{8987D8B0-FB7B-64A2-2FAB-6B35ABE5A92F}"/>
              </a:ext>
            </a:extLst>
          </p:cNvPr>
          <p:cNvGrpSpPr/>
          <p:nvPr/>
        </p:nvGrpSpPr>
        <p:grpSpPr>
          <a:xfrm>
            <a:off x="3284377" y="2034241"/>
            <a:ext cx="2590164" cy="1710798"/>
            <a:chOff x="649432" y="520700"/>
            <a:chExt cx="2409536" cy="1591493"/>
          </a:xfrm>
          <a:solidFill>
            <a:schemeClr val="accent2"/>
          </a:solidFill>
        </p:grpSpPr>
        <p:grpSp>
          <p:nvGrpSpPr>
            <p:cNvPr id="9" name="Groep 8">
              <a:extLst>
                <a:ext uri="{FF2B5EF4-FFF2-40B4-BE49-F238E27FC236}">
                  <a16:creationId xmlns:a16="http://schemas.microsoft.com/office/drawing/2014/main" id="{E901D4C9-5FC2-6EDB-1028-792A2D3FABB6}"/>
                </a:ext>
              </a:extLst>
            </p:cNvPr>
            <p:cNvGrpSpPr/>
            <p:nvPr/>
          </p:nvGrpSpPr>
          <p:grpSpPr>
            <a:xfrm>
              <a:off x="649432" y="520700"/>
              <a:ext cx="2409536" cy="187292"/>
              <a:chOff x="668396" y="1930399"/>
              <a:chExt cx="10415521" cy="809593"/>
            </a:xfrm>
            <a:grpFill/>
          </p:grpSpPr>
          <p:grpSp>
            <p:nvGrpSpPr>
              <p:cNvPr id="196" name="Groep 195">
                <a:extLst>
                  <a:ext uri="{FF2B5EF4-FFF2-40B4-BE49-F238E27FC236}">
                    <a16:creationId xmlns:a16="http://schemas.microsoft.com/office/drawing/2014/main" id="{0666DA7D-B434-9B51-EDFD-55F1520FCFE5}"/>
                  </a:ext>
                </a:extLst>
              </p:cNvPr>
              <p:cNvGrpSpPr/>
              <p:nvPr/>
            </p:nvGrpSpPr>
            <p:grpSpPr>
              <a:xfrm>
                <a:off x="668396" y="1930399"/>
                <a:ext cx="944504" cy="809593"/>
                <a:chOff x="5696016" y="3086100"/>
                <a:chExt cx="800080" cy="685799"/>
              </a:xfrm>
              <a:grpFill/>
            </p:grpSpPr>
            <p:sp>
              <p:nvSpPr>
                <p:cNvPr id="224" name="Vrije vorm: vorm 223">
                  <a:extLst>
                    <a:ext uri="{FF2B5EF4-FFF2-40B4-BE49-F238E27FC236}">
                      <a16:creationId xmlns:a16="http://schemas.microsoft.com/office/drawing/2014/main" id="{765A3603-7186-3399-2C80-3C6EBE9372B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5" name="Vrije vorm: vorm 224">
                  <a:extLst>
                    <a:ext uri="{FF2B5EF4-FFF2-40B4-BE49-F238E27FC236}">
                      <a16:creationId xmlns:a16="http://schemas.microsoft.com/office/drawing/2014/main" id="{EFBC3686-941B-ABAE-E671-0B74FFFEF90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7" name="Groep 196">
                <a:extLst>
                  <a:ext uri="{FF2B5EF4-FFF2-40B4-BE49-F238E27FC236}">
                    <a16:creationId xmlns:a16="http://schemas.microsoft.com/office/drawing/2014/main" id="{99E0A9EA-BE9C-224B-F715-8E64F3C42705}"/>
                  </a:ext>
                </a:extLst>
              </p:cNvPr>
              <p:cNvGrpSpPr/>
              <p:nvPr/>
            </p:nvGrpSpPr>
            <p:grpSpPr>
              <a:xfrm>
                <a:off x="1720731" y="1930399"/>
                <a:ext cx="944504" cy="809593"/>
                <a:chOff x="5696016" y="3086100"/>
                <a:chExt cx="800080" cy="685799"/>
              </a:xfrm>
              <a:grpFill/>
            </p:grpSpPr>
            <p:sp>
              <p:nvSpPr>
                <p:cNvPr id="222" name="Vrije vorm: vorm 221">
                  <a:extLst>
                    <a:ext uri="{FF2B5EF4-FFF2-40B4-BE49-F238E27FC236}">
                      <a16:creationId xmlns:a16="http://schemas.microsoft.com/office/drawing/2014/main" id="{8E82D702-8767-B908-86C9-01239460A35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3" name="Vrije vorm: vorm 222">
                  <a:extLst>
                    <a:ext uri="{FF2B5EF4-FFF2-40B4-BE49-F238E27FC236}">
                      <a16:creationId xmlns:a16="http://schemas.microsoft.com/office/drawing/2014/main" id="{7C158CE0-EACE-ABFB-ABAD-29D8B450EA2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8" name="Groep 197">
                <a:extLst>
                  <a:ext uri="{FF2B5EF4-FFF2-40B4-BE49-F238E27FC236}">
                    <a16:creationId xmlns:a16="http://schemas.microsoft.com/office/drawing/2014/main" id="{FC7BA15D-EE01-CB7A-3CFB-12380D49C45E}"/>
                  </a:ext>
                </a:extLst>
              </p:cNvPr>
              <p:cNvGrpSpPr/>
              <p:nvPr/>
            </p:nvGrpSpPr>
            <p:grpSpPr>
              <a:xfrm>
                <a:off x="2773066" y="1930399"/>
                <a:ext cx="944504" cy="809593"/>
                <a:chOff x="5696016" y="3086100"/>
                <a:chExt cx="800080" cy="685799"/>
              </a:xfrm>
              <a:grpFill/>
            </p:grpSpPr>
            <p:sp>
              <p:nvSpPr>
                <p:cNvPr id="220" name="Vrije vorm: vorm 219">
                  <a:extLst>
                    <a:ext uri="{FF2B5EF4-FFF2-40B4-BE49-F238E27FC236}">
                      <a16:creationId xmlns:a16="http://schemas.microsoft.com/office/drawing/2014/main" id="{7F7A9E88-3868-7632-4D9F-0D4BFB2A112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1" name="Vrije vorm: vorm 220">
                  <a:extLst>
                    <a:ext uri="{FF2B5EF4-FFF2-40B4-BE49-F238E27FC236}">
                      <a16:creationId xmlns:a16="http://schemas.microsoft.com/office/drawing/2014/main" id="{FDC59274-3EE9-9F20-5474-1C43B30362E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9" name="Groep 198">
                <a:extLst>
                  <a:ext uri="{FF2B5EF4-FFF2-40B4-BE49-F238E27FC236}">
                    <a16:creationId xmlns:a16="http://schemas.microsoft.com/office/drawing/2014/main" id="{14260FFE-45D8-C278-EA3B-3695AB1139EF}"/>
                  </a:ext>
                </a:extLst>
              </p:cNvPr>
              <p:cNvGrpSpPr/>
              <p:nvPr/>
            </p:nvGrpSpPr>
            <p:grpSpPr>
              <a:xfrm>
                <a:off x="3825401" y="1930399"/>
                <a:ext cx="944504" cy="809593"/>
                <a:chOff x="5696016" y="3086100"/>
                <a:chExt cx="800080" cy="685799"/>
              </a:xfrm>
              <a:grpFill/>
            </p:grpSpPr>
            <p:sp>
              <p:nvSpPr>
                <p:cNvPr id="218" name="Vrije vorm: vorm 217">
                  <a:extLst>
                    <a:ext uri="{FF2B5EF4-FFF2-40B4-BE49-F238E27FC236}">
                      <a16:creationId xmlns:a16="http://schemas.microsoft.com/office/drawing/2014/main" id="{722C73C7-51A8-A838-8D28-84B0D891A2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9" name="Vrije vorm: vorm 218">
                  <a:extLst>
                    <a:ext uri="{FF2B5EF4-FFF2-40B4-BE49-F238E27FC236}">
                      <a16:creationId xmlns:a16="http://schemas.microsoft.com/office/drawing/2014/main" id="{D0FF2A1E-F934-8151-B48C-930AD0AAE76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 name="Groep 199">
                <a:extLst>
                  <a:ext uri="{FF2B5EF4-FFF2-40B4-BE49-F238E27FC236}">
                    <a16:creationId xmlns:a16="http://schemas.microsoft.com/office/drawing/2014/main" id="{33CEEE62-E90A-834E-FF50-31ED5061EDF3}"/>
                  </a:ext>
                </a:extLst>
              </p:cNvPr>
              <p:cNvGrpSpPr/>
              <p:nvPr/>
            </p:nvGrpSpPr>
            <p:grpSpPr>
              <a:xfrm>
                <a:off x="4877736" y="1930399"/>
                <a:ext cx="944504" cy="809593"/>
                <a:chOff x="5696016" y="3086100"/>
                <a:chExt cx="800080" cy="685799"/>
              </a:xfrm>
              <a:grpFill/>
            </p:grpSpPr>
            <p:sp>
              <p:nvSpPr>
                <p:cNvPr id="216" name="Vrije vorm: vorm 215">
                  <a:extLst>
                    <a:ext uri="{FF2B5EF4-FFF2-40B4-BE49-F238E27FC236}">
                      <a16:creationId xmlns:a16="http://schemas.microsoft.com/office/drawing/2014/main" id="{849BAFEC-3C35-770A-890F-05D6F4FC0B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7" name="Vrije vorm: vorm 216">
                  <a:extLst>
                    <a:ext uri="{FF2B5EF4-FFF2-40B4-BE49-F238E27FC236}">
                      <a16:creationId xmlns:a16="http://schemas.microsoft.com/office/drawing/2014/main" id="{67209F2B-3E79-6AE9-F0A7-903CE4011C2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 name="Groep 200">
                <a:extLst>
                  <a:ext uri="{FF2B5EF4-FFF2-40B4-BE49-F238E27FC236}">
                    <a16:creationId xmlns:a16="http://schemas.microsoft.com/office/drawing/2014/main" id="{DBE66D65-0691-A019-6063-68B3CC73DE0E}"/>
                  </a:ext>
                </a:extLst>
              </p:cNvPr>
              <p:cNvGrpSpPr/>
              <p:nvPr/>
            </p:nvGrpSpPr>
            <p:grpSpPr>
              <a:xfrm>
                <a:off x="5930071" y="1930399"/>
                <a:ext cx="944504" cy="809593"/>
                <a:chOff x="5696016" y="3086100"/>
                <a:chExt cx="800080" cy="685799"/>
              </a:xfrm>
              <a:grpFill/>
            </p:grpSpPr>
            <p:sp>
              <p:nvSpPr>
                <p:cNvPr id="214" name="Vrije vorm: vorm 213">
                  <a:extLst>
                    <a:ext uri="{FF2B5EF4-FFF2-40B4-BE49-F238E27FC236}">
                      <a16:creationId xmlns:a16="http://schemas.microsoft.com/office/drawing/2014/main" id="{E3472AD3-BE96-FDB2-59E0-DA92ABAA853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5" name="Vrije vorm: vorm 214">
                  <a:extLst>
                    <a:ext uri="{FF2B5EF4-FFF2-40B4-BE49-F238E27FC236}">
                      <a16:creationId xmlns:a16="http://schemas.microsoft.com/office/drawing/2014/main" id="{14F86A0E-E0EB-0850-E476-571C386766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 name="Groep 201">
                <a:extLst>
                  <a:ext uri="{FF2B5EF4-FFF2-40B4-BE49-F238E27FC236}">
                    <a16:creationId xmlns:a16="http://schemas.microsoft.com/office/drawing/2014/main" id="{EA9AE955-726F-7F9A-1B6D-3E387114714D}"/>
                  </a:ext>
                </a:extLst>
              </p:cNvPr>
              <p:cNvGrpSpPr/>
              <p:nvPr/>
            </p:nvGrpSpPr>
            <p:grpSpPr>
              <a:xfrm>
                <a:off x="6982406" y="1930399"/>
                <a:ext cx="944504" cy="809593"/>
                <a:chOff x="5696016" y="3086100"/>
                <a:chExt cx="800080" cy="685799"/>
              </a:xfrm>
              <a:grpFill/>
            </p:grpSpPr>
            <p:sp>
              <p:nvSpPr>
                <p:cNvPr id="212" name="Vrije vorm: vorm 211">
                  <a:extLst>
                    <a:ext uri="{FF2B5EF4-FFF2-40B4-BE49-F238E27FC236}">
                      <a16:creationId xmlns:a16="http://schemas.microsoft.com/office/drawing/2014/main" id="{9E6DF589-3A9A-0BFA-C07C-88D01EB7221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3" name="Vrije vorm: vorm 212">
                  <a:extLst>
                    <a:ext uri="{FF2B5EF4-FFF2-40B4-BE49-F238E27FC236}">
                      <a16:creationId xmlns:a16="http://schemas.microsoft.com/office/drawing/2014/main" id="{0296CC0A-D70D-CA4F-3727-CCAF20152A8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 name="Groep 202">
                <a:extLst>
                  <a:ext uri="{FF2B5EF4-FFF2-40B4-BE49-F238E27FC236}">
                    <a16:creationId xmlns:a16="http://schemas.microsoft.com/office/drawing/2014/main" id="{4CB2EC32-1B1E-D5AC-629D-34DC5D47F66E}"/>
                  </a:ext>
                </a:extLst>
              </p:cNvPr>
              <p:cNvGrpSpPr/>
              <p:nvPr/>
            </p:nvGrpSpPr>
            <p:grpSpPr>
              <a:xfrm>
                <a:off x="8034741" y="1930399"/>
                <a:ext cx="944504" cy="809593"/>
                <a:chOff x="5696016" y="3086100"/>
                <a:chExt cx="800080" cy="685799"/>
              </a:xfrm>
              <a:grpFill/>
            </p:grpSpPr>
            <p:sp>
              <p:nvSpPr>
                <p:cNvPr id="210" name="Vrije vorm: vorm 209">
                  <a:extLst>
                    <a:ext uri="{FF2B5EF4-FFF2-40B4-BE49-F238E27FC236}">
                      <a16:creationId xmlns:a16="http://schemas.microsoft.com/office/drawing/2014/main" id="{03DCC67C-3D01-C070-1F13-8A37B61053D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1" name="Vrije vorm: vorm 210">
                  <a:extLst>
                    <a:ext uri="{FF2B5EF4-FFF2-40B4-BE49-F238E27FC236}">
                      <a16:creationId xmlns:a16="http://schemas.microsoft.com/office/drawing/2014/main" id="{F50835BF-54FD-9058-848A-9AE13B90EF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4" name="Groep 203">
                <a:extLst>
                  <a:ext uri="{FF2B5EF4-FFF2-40B4-BE49-F238E27FC236}">
                    <a16:creationId xmlns:a16="http://schemas.microsoft.com/office/drawing/2014/main" id="{C61738AD-D9A8-979F-16F5-9303709AACD7}"/>
                  </a:ext>
                </a:extLst>
              </p:cNvPr>
              <p:cNvGrpSpPr/>
              <p:nvPr/>
            </p:nvGrpSpPr>
            <p:grpSpPr>
              <a:xfrm>
                <a:off x="9087076" y="1930399"/>
                <a:ext cx="944504" cy="809593"/>
                <a:chOff x="5696016" y="3086100"/>
                <a:chExt cx="800080" cy="685799"/>
              </a:xfrm>
              <a:grpFill/>
            </p:grpSpPr>
            <p:sp>
              <p:nvSpPr>
                <p:cNvPr id="208" name="Vrije vorm: vorm 207">
                  <a:extLst>
                    <a:ext uri="{FF2B5EF4-FFF2-40B4-BE49-F238E27FC236}">
                      <a16:creationId xmlns:a16="http://schemas.microsoft.com/office/drawing/2014/main" id="{A28863A4-7891-92D9-E62A-418BFF118C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9" name="Vrije vorm: vorm 208">
                  <a:extLst>
                    <a:ext uri="{FF2B5EF4-FFF2-40B4-BE49-F238E27FC236}">
                      <a16:creationId xmlns:a16="http://schemas.microsoft.com/office/drawing/2014/main" id="{8CEA2D76-52E4-BC4D-F397-F8AFDAF346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5" name="Groep 204">
                <a:extLst>
                  <a:ext uri="{FF2B5EF4-FFF2-40B4-BE49-F238E27FC236}">
                    <a16:creationId xmlns:a16="http://schemas.microsoft.com/office/drawing/2014/main" id="{0EC34F76-48FC-7441-80A4-AFE7ABE39651}"/>
                  </a:ext>
                </a:extLst>
              </p:cNvPr>
              <p:cNvGrpSpPr/>
              <p:nvPr/>
            </p:nvGrpSpPr>
            <p:grpSpPr>
              <a:xfrm>
                <a:off x="10139413" y="1930399"/>
                <a:ext cx="944504" cy="809593"/>
                <a:chOff x="5696016" y="3086100"/>
                <a:chExt cx="800080" cy="685799"/>
              </a:xfrm>
              <a:grpFill/>
            </p:grpSpPr>
            <p:sp>
              <p:nvSpPr>
                <p:cNvPr id="206" name="Vrije vorm: vorm 205">
                  <a:extLst>
                    <a:ext uri="{FF2B5EF4-FFF2-40B4-BE49-F238E27FC236}">
                      <a16:creationId xmlns:a16="http://schemas.microsoft.com/office/drawing/2014/main" id="{5E845C49-8B94-97F4-A75E-8048781AF99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7" name="Vrije vorm: vorm 206">
                  <a:extLst>
                    <a:ext uri="{FF2B5EF4-FFF2-40B4-BE49-F238E27FC236}">
                      <a16:creationId xmlns:a16="http://schemas.microsoft.com/office/drawing/2014/main" id="{9892E3C1-B0F9-2ECB-CA48-CDBD7AD77D5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0" name="Groep 9">
              <a:extLst>
                <a:ext uri="{FF2B5EF4-FFF2-40B4-BE49-F238E27FC236}">
                  <a16:creationId xmlns:a16="http://schemas.microsoft.com/office/drawing/2014/main" id="{47EFBA83-BFE7-E2D5-27C5-1AA00AC391BD}"/>
                </a:ext>
              </a:extLst>
            </p:cNvPr>
            <p:cNvGrpSpPr/>
            <p:nvPr/>
          </p:nvGrpSpPr>
          <p:grpSpPr>
            <a:xfrm>
              <a:off x="649432" y="754734"/>
              <a:ext cx="2409536" cy="187292"/>
              <a:chOff x="668396" y="1930399"/>
              <a:chExt cx="10415521" cy="809593"/>
            </a:xfrm>
            <a:grpFill/>
          </p:grpSpPr>
          <p:grpSp>
            <p:nvGrpSpPr>
              <p:cNvPr id="166" name="Groep 165">
                <a:extLst>
                  <a:ext uri="{FF2B5EF4-FFF2-40B4-BE49-F238E27FC236}">
                    <a16:creationId xmlns:a16="http://schemas.microsoft.com/office/drawing/2014/main" id="{C02F9AA2-8C0E-E985-0BCA-E27AB4B0A82A}"/>
                  </a:ext>
                </a:extLst>
              </p:cNvPr>
              <p:cNvGrpSpPr/>
              <p:nvPr/>
            </p:nvGrpSpPr>
            <p:grpSpPr>
              <a:xfrm>
                <a:off x="668396" y="1930399"/>
                <a:ext cx="944504" cy="809593"/>
                <a:chOff x="5696016" y="3086100"/>
                <a:chExt cx="800080" cy="685799"/>
              </a:xfrm>
              <a:grpFill/>
            </p:grpSpPr>
            <p:sp>
              <p:nvSpPr>
                <p:cNvPr id="194" name="Vrije vorm: vorm 193">
                  <a:extLst>
                    <a:ext uri="{FF2B5EF4-FFF2-40B4-BE49-F238E27FC236}">
                      <a16:creationId xmlns:a16="http://schemas.microsoft.com/office/drawing/2014/main" id="{1B968E12-6A09-9AC8-80E9-5EA84547967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95" name="Vrije vorm: vorm 194">
                  <a:extLst>
                    <a:ext uri="{FF2B5EF4-FFF2-40B4-BE49-F238E27FC236}">
                      <a16:creationId xmlns:a16="http://schemas.microsoft.com/office/drawing/2014/main" id="{92638E80-9D30-C598-054B-E16F821504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7" name="Groep 166">
                <a:extLst>
                  <a:ext uri="{FF2B5EF4-FFF2-40B4-BE49-F238E27FC236}">
                    <a16:creationId xmlns:a16="http://schemas.microsoft.com/office/drawing/2014/main" id="{24105658-6A01-608E-D9CF-C5D7DB2FDCFA}"/>
                  </a:ext>
                </a:extLst>
              </p:cNvPr>
              <p:cNvGrpSpPr/>
              <p:nvPr/>
            </p:nvGrpSpPr>
            <p:grpSpPr>
              <a:xfrm>
                <a:off x="1720731" y="1930399"/>
                <a:ext cx="944504" cy="809593"/>
                <a:chOff x="5696016" y="3086100"/>
                <a:chExt cx="800080" cy="685799"/>
              </a:xfrm>
              <a:grpFill/>
            </p:grpSpPr>
            <p:sp>
              <p:nvSpPr>
                <p:cNvPr id="192" name="Vrije vorm: vorm 191">
                  <a:extLst>
                    <a:ext uri="{FF2B5EF4-FFF2-40B4-BE49-F238E27FC236}">
                      <a16:creationId xmlns:a16="http://schemas.microsoft.com/office/drawing/2014/main" id="{FBB66E1A-6287-F169-364A-CE393F3F5A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93" name="Vrije vorm: vorm 192">
                  <a:extLst>
                    <a:ext uri="{FF2B5EF4-FFF2-40B4-BE49-F238E27FC236}">
                      <a16:creationId xmlns:a16="http://schemas.microsoft.com/office/drawing/2014/main" id="{83F9B35B-7852-2C8B-643A-64692551AE3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8" name="Groep 167">
                <a:extLst>
                  <a:ext uri="{FF2B5EF4-FFF2-40B4-BE49-F238E27FC236}">
                    <a16:creationId xmlns:a16="http://schemas.microsoft.com/office/drawing/2014/main" id="{4DD160B4-AA71-5DA9-C473-394B637EC242}"/>
                  </a:ext>
                </a:extLst>
              </p:cNvPr>
              <p:cNvGrpSpPr/>
              <p:nvPr/>
            </p:nvGrpSpPr>
            <p:grpSpPr>
              <a:xfrm>
                <a:off x="2773066" y="1930399"/>
                <a:ext cx="944504" cy="809593"/>
                <a:chOff x="5696016" y="3086100"/>
                <a:chExt cx="800080" cy="685799"/>
              </a:xfrm>
              <a:grpFill/>
            </p:grpSpPr>
            <p:sp>
              <p:nvSpPr>
                <p:cNvPr id="190" name="Vrije vorm: vorm 189">
                  <a:extLst>
                    <a:ext uri="{FF2B5EF4-FFF2-40B4-BE49-F238E27FC236}">
                      <a16:creationId xmlns:a16="http://schemas.microsoft.com/office/drawing/2014/main" id="{60A00FCC-5893-C114-465E-BABBEE7206B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91" name="Vrije vorm: vorm 190">
                  <a:extLst>
                    <a:ext uri="{FF2B5EF4-FFF2-40B4-BE49-F238E27FC236}">
                      <a16:creationId xmlns:a16="http://schemas.microsoft.com/office/drawing/2014/main" id="{5F0586CC-BECE-650C-DAA7-527A16DDEFE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9" name="Groep 168">
                <a:extLst>
                  <a:ext uri="{FF2B5EF4-FFF2-40B4-BE49-F238E27FC236}">
                    <a16:creationId xmlns:a16="http://schemas.microsoft.com/office/drawing/2014/main" id="{8D8963B2-FBE8-2315-B38E-2CAADF668BF6}"/>
                  </a:ext>
                </a:extLst>
              </p:cNvPr>
              <p:cNvGrpSpPr/>
              <p:nvPr/>
            </p:nvGrpSpPr>
            <p:grpSpPr>
              <a:xfrm>
                <a:off x="3825401" y="1930399"/>
                <a:ext cx="944504" cy="809593"/>
                <a:chOff x="5696016" y="3086100"/>
                <a:chExt cx="800080" cy="685799"/>
              </a:xfrm>
              <a:grpFill/>
            </p:grpSpPr>
            <p:sp>
              <p:nvSpPr>
                <p:cNvPr id="188" name="Vrije vorm: vorm 187">
                  <a:extLst>
                    <a:ext uri="{FF2B5EF4-FFF2-40B4-BE49-F238E27FC236}">
                      <a16:creationId xmlns:a16="http://schemas.microsoft.com/office/drawing/2014/main" id="{2A98DA9F-E6D6-1ABD-4783-59B761EACC0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9" name="Vrije vorm: vorm 188">
                  <a:extLst>
                    <a:ext uri="{FF2B5EF4-FFF2-40B4-BE49-F238E27FC236}">
                      <a16:creationId xmlns:a16="http://schemas.microsoft.com/office/drawing/2014/main" id="{3A4B1173-E0DA-603F-D6DE-4634BE4504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0" name="Groep 169">
                <a:extLst>
                  <a:ext uri="{FF2B5EF4-FFF2-40B4-BE49-F238E27FC236}">
                    <a16:creationId xmlns:a16="http://schemas.microsoft.com/office/drawing/2014/main" id="{56E067D2-F5ED-9D2F-C99D-FE5EE59D9DBF}"/>
                  </a:ext>
                </a:extLst>
              </p:cNvPr>
              <p:cNvGrpSpPr/>
              <p:nvPr/>
            </p:nvGrpSpPr>
            <p:grpSpPr>
              <a:xfrm>
                <a:off x="4877736" y="1930399"/>
                <a:ext cx="944504" cy="809593"/>
                <a:chOff x="5696016" y="3086100"/>
                <a:chExt cx="800080" cy="685799"/>
              </a:xfrm>
              <a:grpFill/>
            </p:grpSpPr>
            <p:sp>
              <p:nvSpPr>
                <p:cNvPr id="186" name="Vrije vorm: vorm 185">
                  <a:extLst>
                    <a:ext uri="{FF2B5EF4-FFF2-40B4-BE49-F238E27FC236}">
                      <a16:creationId xmlns:a16="http://schemas.microsoft.com/office/drawing/2014/main" id="{F39B2CD5-A970-2491-AF83-C9F4CCFB5DD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7" name="Vrije vorm: vorm 186">
                  <a:extLst>
                    <a:ext uri="{FF2B5EF4-FFF2-40B4-BE49-F238E27FC236}">
                      <a16:creationId xmlns:a16="http://schemas.microsoft.com/office/drawing/2014/main" id="{C0A08E6D-2D10-25F8-93CB-D6016D1070F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1" name="Groep 170">
                <a:extLst>
                  <a:ext uri="{FF2B5EF4-FFF2-40B4-BE49-F238E27FC236}">
                    <a16:creationId xmlns:a16="http://schemas.microsoft.com/office/drawing/2014/main" id="{4C079722-ADB0-6E4A-6623-7535E1AD4D53}"/>
                  </a:ext>
                </a:extLst>
              </p:cNvPr>
              <p:cNvGrpSpPr/>
              <p:nvPr/>
            </p:nvGrpSpPr>
            <p:grpSpPr>
              <a:xfrm>
                <a:off x="5930071" y="1930399"/>
                <a:ext cx="944504" cy="809593"/>
                <a:chOff x="5696016" y="3086100"/>
                <a:chExt cx="800080" cy="685799"/>
              </a:xfrm>
              <a:grpFill/>
            </p:grpSpPr>
            <p:sp>
              <p:nvSpPr>
                <p:cNvPr id="184" name="Vrije vorm: vorm 183">
                  <a:extLst>
                    <a:ext uri="{FF2B5EF4-FFF2-40B4-BE49-F238E27FC236}">
                      <a16:creationId xmlns:a16="http://schemas.microsoft.com/office/drawing/2014/main" id="{8A52BC5B-48A6-C4ED-1419-4AD7C04D5A1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5" name="Vrije vorm: vorm 184">
                  <a:extLst>
                    <a:ext uri="{FF2B5EF4-FFF2-40B4-BE49-F238E27FC236}">
                      <a16:creationId xmlns:a16="http://schemas.microsoft.com/office/drawing/2014/main" id="{AE0C8C65-0845-DF41-2B34-1B2C9244F83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2" name="Groep 171">
                <a:extLst>
                  <a:ext uri="{FF2B5EF4-FFF2-40B4-BE49-F238E27FC236}">
                    <a16:creationId xmlns:a16="http://schemas.microsoft.com/office/drawing/2014/main" id="{8C753D20-F43B-B48D-42B7-820C6A5EED54}"/>
                  </a:ext>
                </a:extLst>
              </p:cNvPr>
              <p:cNvGrpSpPr/>
              <p:nvPr/>
            </p:nvGrpSpPr>
            <p:grpSpPr>
              <a:xfrm>
                <a:off x="6982406" y="1930399"/>
                <a:ext cx="944504" cy="809593"/>
                <a:chOff x="5696016" y="3086100"/>
                <a:chExt cx="800080" cy="685799"/>
              </a:xfrm>
              <a:grpFill/>
            </p:grpSpPr>
            <p:sp>
              <p:nvSpPr>
                <p:cNvPr id="182" name="Vrije vorm: vorm 181">
                  <a:extLst>
                    <a:ext uri="{FF2B5EF4-FFF2-40B4-BE49-F238E27FC236}">
                      <a16:creationId xmlns:a16="http://schemas.microsoft.com/office/drawing/2014/main" id="{5B124AAE-BCFE-B2D6-0A5F-514D087B3E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3" name="Vrije vorm: vorm 182">
                  <a:extLst>
                    <a:ext uri="{FF2B5EF4-FFF2-40B4-BE49-F238E27FC236}">
                      <a16:creationId xmlns:a16="http://schemas.microsoft.com/office/drawing/2014/main" id="{E25ECCAB-A042-9195-BC15-69B803EA854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3" name="Groep 172">
                <a:extLst>
                  <a:ext uri="{FF2B5EF4-FFF2-40B4-BE49-F238E27FC236}">
                    <a16:creationId xmlns:a16="http://schemas.microsoft.com/office/drawing/2014/main" id="{B79E9546-F43A-A5B9-6C58-096EBDB10B95}"/>
                  </a:ext>
                </a:extLst>
              </p:cNvPr>
              <p:cNvGrpSpPr/>
              <p:nvPr/>
            </p:nvGrpSpPr>
            <p:grpSpPr>
              <a:xfrm>
                <a:off x="8034741" y="1930399"/>
                <a:ext cx="944504" cy="809593"/>
                <a:chOff x="5696016" y="3086100"/>
                <a:chExt cx="800080" cy="685799"/>
              </a:xfrm>
              <a:grpFill/>
            </p:grpSpPr>
            <p:sp>
              <p:nvSpPr>
                <p:cNvPr id="180" name="Vrije vorm: vorm 179">
                  <a:extLst>
                    <a:ext uri="{FF2B5EF4-FFF2-40B4-BE49-F238E27FC236}">
                      <a16:creationId xmlns:a16="http://schemas.microsoft.com/office/drawing/2014/main" id="{26E746B7-54CA-63B7-6A15-C42389C85BA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1" name="Vrije vorm: vorm 180">
                  <a:extLst>
                    <a:ext uri="{FF2B5EF4-FFF2-40B4-BE49-F238E27FC236}">
                      <a16:creationId xmlns:a16="http://schemas.microsoft.com/office/drawing/2014/main" id="{D89596C9-FFC0-272D-6F63-6856302F0EF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 name="Groep 173">
                <a:extLst>
                  <a:ext uri="{FF2B5EF4-FFF2-40B4-BE49-F238E27FC236}">
                    <a16:creationId xmlns:a16="http://schemas.microsoft.com/office/drawing/2014/main" id="{004DDDF1-82F9-6ABE-B4E2-2BA8151F0B84}"/>
                  </a:ext>
                </a:extLst>
              </p:cNvPr>
              <p:cNvGrpSpPr/>
              <p:nvPr/>
            </p:nvGrpSpPr>
            <p:grpSpPr>
              <a:xfrm>
                <a:off x="9087076" y="1930399"/>
                <a:ext cx="944504" cy="809593"/>
                <a:chOff x="5696016" y="3086100"/>
                <a:chExt cx="800080" cy="685799"/>
              </a:xfrm>
              <a:grpFill/>
            </p:grpSpPr>
            <p:sp>
              <p:nvSpPr>
                <p:cNvPr id="178" name="Vrije vorm: vorm 177">
                  <a:extLst>
                    <a:ext uri="{FF2B5EF4-FFF2-40B4-BE49-F238E27FC236}">
                      <a16:creationId xmlns:a16="http://schemas.microsoft.com/office/drawing/2014/main" id="{E88019D4-DB90-D235-BB90-D315052801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9" name="Vrije vorm: vorm 178">
                  <a:extLst>
                    <a:ext uri="{FF2B5EF4-FFF2-40B4-BE49-F238E27FC236}">
                      <a16:creationId xmlns:a16="http://schemas.microsoft.com/office/drawing/2014/main" id="{E0EBF0F2-169B-96F5-F300-3049B6C2EFF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 name="Groep 174">
                <a:extLst>
                  <a:ext uri="{FF2B5EF4-FFF2-40B4-BE49-F238E27FC236}">
                    <a16:creationId xmlns:a16="http://schemas.microsoft.com/office/drawing/2014/main" id="{95C5558C-2EA7-F47F-256B-030D04C58C2B}"/>
                  </a:ext>
                </a:extLst>
              </p:cNvPr>
              <p:cNvGrpSpPr/>
              <p:nvPr/>
            </p:nvGrpSpPr>
            <p:grpSpPr>
              <a:xfrm>
                <a:off x="10139413" y="1930399"/>
                <a:ext cx="944504" cy="809593"/>
                <a:chOff x="5696016" y="3086100"/>
                <a:chExt cx="800080" cy="685799"/>
              </a:xfrm>
              <a:grpFill/>
            </p:grpSpPr>
            <p:sp>
              <p:nvSpPr>
                <p:cNvPr id="176" name="Vrije vorm: vorm 175">
                  <a:extLst>
                    <a:ext uri="{FF2B5EF4-FFF2-40B4-BE49-F238E27FC236}">
                      <a16:creationId xmlns:a16="http://schemas.microsoft.com/office/drawing/2014/main" id="{22F0DB32-32B6-23C0-2D2E-CA955057D24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7" name="Vrije vorm: vorm 176">
                  <a:extLst>
                    <a:ext uri="{FF2B5EF4-FFF2-40B4-BE49-F238E27FC236}">
                      <a16:creationId xmlns:a16="http://schemas.microsoft.com/office/drawing/2014/main" id="{4FD49EE7-5621-C602-D1FD-06B1C27E0F3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1" name="Groep 10">
              <a:extLst>
                <a:ext uri="{FF2B5EF4-FFF2-40B4-BE49-F238E27FC236}">
                  <a16:creationId xmlns:a16="http://schemas.microsoft.com/office/drawing/2014/main" id="{57D91FDC-ECC5-CA78-F7BF-EBEC4D08B2E5}"/>
                </a:ext>
              </a:extLst>
            </p:cNvPr>
            <p:cNvGrpSpPr/>
            <p:nvPr/>
          </p:nvGrpSpPr>
          <p:grpSpPr>
            <a:xfrm>
              <a:off x="649432" y="988768"/>
              <a:ext cx="2409536" cy="187292"/>
              <a:chOff x="668396" y="1930399"/>
              <a:chExt cx="10415521" cy="809593"/>
            </a:xfrm>
            <a:grpFill/>
          </p:grpSpPr>
          <p:grpSp>
            <p:nvGrpSpPr>
              <p:cNvPr id="136" name="Groep 135">
                <a:extLst>
                  <a:ext uri="{FF2B5EF4-FFF2-40B4-BE49-F238E27FC236}">
                    <a16:creationId xmlns:a16="http://schemas.microsoft.com/office/drawing/2014/main" id="{6B56EBE3-70E8-F5F3-F2E8-472FCB98A955}"/>
                  </a:ext>
                </a:extLst>
              </p:cNvPr>
              <p:cNvGrpSpPr/>
              <p:nvPr/>
            </p:nvGrpSpPr>
            <p:grpSpPr>
              <a:xfrm>
                <a:off x="668396" y="1930399"/>
                <a:ext cx="944504" cy="809593"/>
                <a:chOff x="5696016" y="3086100"/>
                <a:chExt cx="800080" cy="685799"/>
              </a:xfrm>
              <a:grpFill/>
            </p:grpSpPr>
            <p:sp>
              <p:nvSpPr>
                <p:cNvPr id="164" name="Vrije vorm: vorm 163">
                  <a:extLst>
                    <a:ext uri="{FF2B5EF4-FFF2-40B4-BE49-F238E27FC236}">
                      <a16:creationId xmlns:a16="http://schemas.microsoft.com/office/drawing/2014/main" id="{C324F48A-FD0E-979A-469E-0284C24C27F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5" name="Vrije vorm: vorm 164">
                  <a:extLst>
                    <a:ext uri="{FF2B5EF4-FFF2-40B4-BE49-F238E27FC236}">
                      <a16:creationId xmlns:a16="http://schemas.microsoft.com/office/drawing/2014/main" id="{FE1291C2-1DC8-C140-494E-3BA797DF04B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 name="Groep 136">
                <a:extLst>
                  <a:ext uri="{FF2B5EF4-FFF2-40B4-BE49-F238E27FC236}">
                    <a16:creationId xmlns:a16="http://schemas.microsoft.com/office/drawing/2014/main" id="{FA3EE0AD-1F20-3C9C-CDB8-1A9DF6C204EC}"/>
                  </a:ext>
                </a:extLst>
              </p:cNvPr>
              <p:cNvGrpSpPr/>
              <p:nvPr/>
            </p:nvGrpSpPr>
            <p:grpSpPr>
              <a:xfrm>
                <a:off x="1720731" y="1930399"/>
                <a:ext cx="944504" cy="809593"/>
                <a:chOff x="5696016" y="3086100"/>
                <a:chExt cx="800080" cy="685799"/>
              </a:xfrm>
              <a:grpFill/>
            </p:grpSpPr>
            <p:sp>
              <p:nvSpPr>
                <p:cNvPr id="162" name="Vrije vorm: vorm 161">
                  <a:extLst>
                    <a:ext uri="{FF2B5EF4-FFF2-40B4-BE49-F238E27FC236}">
                      <a16:creationId xmlns:a16="http://schemas.microsoft.com/office/drawing/2014/main" id="{537FF6C6-4307-1DCB-823D-0F6EF9B30D7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3" name="Vrije vorm: vorm 162">
                  <a:extLst>
                    <a:ext uri="{FF2B5EF4-FFF2-40B4-BE49-F238E27FC236}">
                      <a16:creationId xmlns:a16="http://schemas.microsoft.com/office/drawing/2014/main" id="{40233993-A5C6-29FB-6746-860B19974BA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 name="Groep 137">
                <a:extLst>
                  <a:ext uri="{FF2B5EF4-FFF2-40B4-BE49-F238E27FC236}">
                    <a16:creationId xmlns:a16="http://schemas.microsoft.com/office/drawing/2014/main" id="{A6BD1469-CACE-E68A-09A4-8B486F5E96D8}"/>
                  </a:ext>
                </a:extLst>
              </p:cNvPr>
              <p:cNvGrpSpPr/>
              <p:nvPr/>
            </p:nvGrpSpPr>
            <p:grpSpPr>
              <a:xfrm>
                <a:off x="2773066" y="1930399"/>
                <a:ext cx="944504" cy="809593"/>
                <a:chOff x="5696016" y="3086100"/>
                <a:chExt cx="800080" cy="685799"/>
              </a:xfrm>
              <a:grpFill/>
            </p:grpSpPr>
            <p:sp>
              <p:nvSpPr>
                <p:cNvPr id="160" name="Vrije vorm: vorm 159">
                  <a:extLst>
                    <a:ext uri="{FF2B5EF4-FFF2-40B4-BE49-F238E27FC236}">
                      <a16:creationId xmlns:a16="http://schemas.microsoft.com/office/drawing/2014/main" id="{C860CE86-3249-76BD-CC3F-1237A4CAC10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1" name="Vrije vorm: vorm 160">
                  <a:extLst>
                    <a:ext uri="{FF2B5EF4-FFF2-40B4-BE49-F238E27FC236}">
                      <a16:creationId xmlns:a16="http://schemas.microsoft.com/office/drawing/2014/main" id="{E0A98D98-DBE9-84FD-A0DD-1BC7213F722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 name="Groep 138">
                <a:extLst>
                  <a:ext uri="{FF2B5EF4-FFF2-40B4-BE49-F238E27FC236}">
                    <a16:creationId xmlns:a16="http://schemas.microsoft.com/office/drawing/2014/main" id="{B1F3A632-82F5-0E3E-660B-EE1584B1E81C}"/>
                  </a:ext>
                </a:extLst>
              </p:cNvPr>
              <p:cNvGrpSpPr/>
              <p:nvPr/>
            </p:nvGrpSpPr>
            <p:grpSpPr>
              <a:xfrm>
                <a:off x="3825401" y="1930399"/>
                <a:ext cx="944504" cy="809593"/>
                <a:chOff x="5696016" y="3086100"/>
                <a:chExt cx="800080" cy="685799"/>
              </a:xfrm>
              <a:grpFill/>
            </p:grpSpPr>
            <p:sp>
              <p:nvSpPr>
                <p:cNvPr id="158" name="Vrije vorm: vorm 157">
                  <a:extLst>
                    <a:ext uri="{FF2B5EF4-FFF2-40B4-BE49-F238E27FC236}">
                      <a16:creationId xmlns:a16="http://schemas.microsoft.com/office/drawing/2014/main" id="{9837BE34-8711-0742-8555-C9011023E34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9" name="Vrije vorm: vorm 158">
                  <a:extLst>
                    <a:ext uri="{FF2B5EF4-FFF2-40B4-BE49-F238E27FC236}">
                      <a16:creationId xmlns:a16="http://schemas.microsoft.com/office/drawing/2014/main" id="{CF63FAC3-6011-5951-AF0F-0723D48CA4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0" name="Groep 139">
                <a:extLst>
                  <a:ext uri="{FF2B5EF4-FFF2-40B4-BE49-F238E27FC236}">
                    <a16:creationId xmlns:a16="http://schemas.microsoft.com/office/drawing/2014/main" id="{C3556A1B-C6A2-CE10-7906-71C531F4EA17}"/>
                  </a:ext>
                </a:extLst>
              </p:cNvPr>
              <p:cNvGrpSpPr/>
              <p:nvPr/>
            </p:nvGrpSpPr>
            <p:grpSpPr>
              <a:xfrm>
                <a:off x="4877736" y="1930399"/>
                <a:ext cx="944504" cy="809593"/>
                <a:chOff x="5696016" y="3086100"/>
                <a:chExt cx="800080" cy="685799"/>
              </a:xfrm>
              <a:grpFill/>
            </p:grpSpPr>
            <p:sp>
              <p:nvSpPr>
                <p:cNvPr id="156" name="Vrije vorm: vorm 155">
                  <a:extLst>
                    <a:ext uri="{FF2B5EF4-FFF2-40B4-BE49-F238E27FC236}">
                      <a16:creationId xmlns:a16="http://schemas.microsoft.com/office/drawing/2014/main" id="{02CA672F-1AF9-8506-05BC-88B62949530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7" name="Vrije vorm: vorm 156">
                  <a:extLst>
                    <a:ext uri="{FF2B5EF4-FFF2-40B4-BE49-F238E27FC236}">
                      <a16:creationId xmlns:a16="http://schemas.microsoft.com/office/drawing/2014/main" id="{AD9E256E-41DA-E8DB-6E40-9D18847B933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1" name="Groep 140">
                <a:extLst>
                  <a:ext uri="{FF2B5EF4-FFF2-40B4-BE49-F238E27FC236}">
                    <a16:creationId xmlns:a16="http://schemas.microsoft.com/office/drawing/2014/main" id="{23524ED8-4018-391C-B8AD-31FE66D07A8D}"/>
                  </a:ext>
                </a:extLst>
              </p:cNvPr>
              <p:cNvGrpSpPr/>
              <p:nvPr/>
            </p:nvGrpSpPr>
            <p:grpSpPr>
              <a:xfrm>
                <a:off x="5930071" y="1930399"/>
                <a:ext cx="944504" cy="809593"/>
                <a:chOff x="5696016" y="3086100"/>
                <a:chExt cx="800080" cy="685799"/>
              </a:xfrm>
              <a:grpFill/>
            </p:grpSpPr>
            <p:sp>
              <p:nvSpPr>
                <p:cNvPr id="154" name="Vrije vorm: vorm 153">
                  <a:extLst>
                    <a:ext uri="{FF2B5EF4-FFF2-40B4-BE49-F238E27FC236}">
                      <a16:creationId xmlns:a16="http://schemas.microsoft.com/office/drawing/2014/main" id="{66136FA7-F835-3013-5DB7-8FB1937286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5" name="Vrije vorm: vorm 154">
                  <a:extLst>
                    <a:ext uri="{FF2B5EF4-FFF2-40B4-BE49-F238E27FC236}">
                      <a16:creationId xmlns:a16="http://schemas.microsoft.com/office/drawing/2014/main" id="{D2DC9E64-B140-EFC9-FE84-2455DC23F23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2" name="Groep 141">
                <a:extLst>
                  <a:ext uri="{FF2B5EF4-FFF2-40B4-BE49-F238E27FC236}">
                    <a16:creationId xmlns:a16="http://schemas.microsoft.com/office/drawing/2014/main" id="{A392659D-8EE0-DECE-35D6-A4D626B6C544}"/>
                  </a:ext>
                </a:extLst>
              </p:cNvPr>
              <p:cNvGrpSpPr/>
              <p:nvPr/>
            </p:nvGrpSpPr>
            <p:grpSpPr>
              <a:xfrm>
                <a:off x="6982406" y="1930399"/>
                <a:ext cx="944504" cy="809593"/>
                <a:chOff x="5696016" y="3086100"/>
                <a:chExt cx="800080" cy="685799"/>
              </a:xfrm>
              <a:grpFill/>
            </p:grpSpPr>
            <p:sp>
              <p:nvSpPr>
                <p:cNvPr id="152" name="Vrije vorm: vorm 151">
                  <a:extLst>
                    <a:ext uri="{FF2B5EF4-FFF2-40B4-BE49-F238E27FC236}">
                      <a16:creationId xmlns:a16="http://schemas.microsoft.com/office/drawing/2014/main" id="{E4904D42-9339-5A2D-4B40-17E478C7574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3" name="Vrije vorm: vorm 152">
                  <a:extLst>
                    <a:ext uri="{FF2B5EF4-FFF2-40B4-BE49-F238E27FC236}">
                      <a16:creationId xmlns:a16="http://schemas.microsoft.com/office/drawing/2014/main" id="{F396545D-B876-EF7D-687B-2DD21B95FDF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3" name="Groep 142">
                <a:extLst>
                  <a:ext uri="{FF2B5EF4-FFF2-40B4-BE49-F238E27FC236}">
                    <a16:creationId xmlns:a16="http://schemas.microsoft.com/office/drawing/2014/main" id="{02D3D5AC-3D77-6F64-092F-42FDF44D209C}"/>
                  </a:ext>
                </a:extLst>
              </p:cNvPr>
              <p:cNvGrpSpPr/>
              <p:nvPr/>
            </p:nvGrpSpPr>
            <p:grpSpPr>
              <a:xfrm>
                <a:off x="8034741" y="1930399"/>
                <a:ext cx="944504" cy="809593"/>
                <a:chOff x="5696016" y="3086100"/>
                <a:chExt cx="800080" cy="685799"/>
              </a:xfrm>
              <a:grpFill/>
            </p:grpSpPr>
            <p:sp>
              <p:nvSpPr>
                <p:cNvPr id="150" name="Vrije vorm: vorm 149">
                  <a:extLst>
                    <a:ext uri="{FF2B5EF4-FFF2-40B4-BE49-F238E27FC236}">
                      <a16:creationId xmlns:a16="http://schemas.microsoft.com/office/drawing/2014/main" id="{510F5F81-93D7-2C63-4400-65D951BF9FC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1" name="Vrije vorm: vorm 150">
                  <a:extLst>
                    <a:ext uri="{FF2B5EF4-FFF2-40B4-BE49-F238E27FC236}">
                      <a16:creationId xmlns:a16="http://schemas.microsoft.com/office/drawing/2014/main" id="{CE546D77-7405-865B-19CA-73B3BE98589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4" name="Groep 143">
                <a:extLst>
                  <a:ext uri="{FF2B5EF4-FFF2-40B4-BE49-F238E27FC236}">
                    <a16:creationId xmlns:a16="http://schemas.microsoft.com/office/drawing/2014/main" id="{7C1D8EF7-0BBB-5AB7-BA6B-C5A694F5E2FE}"/>
                  </a:ext>
                </a:extLst>
              </p:cNvPr>
              <p:cNvGrpSpPr/>
              <p:nvPr/>
            </p:nvGrpSpPr>
            <p:grpSpPr>
              <a:xfrm>
                <a:off x="9087076" y="1930399"/>
                <a:ext cx="944504" cy="809593"/>
                <a:chOff x="5696016" y="3086100"/>
                <a:chExt cx="800080" cy="685799"/>
              </a:xfrm>
              <a:grpFill/>
            </p:grpSpPr>
            <p:sp>
              <p:nvSpPr>
                <p:cNvPr id="148" name="Vrije vorm: vorm 147">
                  <a:extLst>
                    <a:ext uri="{FF2B5EF4-FFF2-40B4-BE49-F238E27FC236}">
                      <a16:creationId xmlns:a16="http://schemas.microsoft.com/office/drawing/2014/main" id="{FB623714-ACEA-8E02-F731-576E283F4DA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9" name="Vrije vorm: vorm 148">
                  <a:extLst>
                    <a:ext uri="{FF2B5EF4-FFF2-40B4-BE49-F238E27FC236}">
                      <a16:creationId xmlns:a16="http://schemas.microsoft.com/office/drawing/2014/main" id="{317B7D0F-AA09-CE62-0F53-4E2006F9756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5" name="Groep 144">
                <a:extLst>
                  <a:ext uri="{FF2B5EF4-FFF2-40B4-BE49-F238E27FC236}">
                    <a16:creationId xmlns:a16="http://schemas.microsoft.com/office/drawing/2014/main" id="{962A2B51-7F5B-92C0-87A3-5CFFA1BFFEB1}"/>
                  </a:ext>
                </a:extLst>
              </p:cNvPr>
              <p:cNvGrpSpPr/>
              <p:nvPr/>
            </p:nvGrpSpPr>
            <p:grpSpPr>
              <a:xfrm>
                <a:off x="10139413" y="1930399"/>
                <a:ext cx="944504" cy="809593"/>
                <a:chOff x="5696016" y="3086100"/>
                <a:chExt cx="800080" cy="685799"/>
              </a:xfrm>
              <a:grpFill/>
            </p:grpSpPr>
            <p:sp>
              <p:nvSpPr>
                <p:cNvPr id="146" name="Vrije vorm: vorm 145">
                  <a:extLst>
                    <a:ext uri="{FF2B5EF4-FFF2-40B4-BE49-F238E27FC236}">
                      <a16:creationId xmlns:a16="http://schemas.microsoft.com/office/drawing/2014/main" id="{DEB8314A-51FE-8FC2-E5F7-D91B60FFBF4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7" name="Vrije vorm: vorm 146">
                  <a:extLst>
                    <a:ext uri="{FF2B5EF4-FFF2-40B4-BE49-F238E27FC236}">
                      <a16:creationId xmlns:a16="http://schemas.microsoft.com/office/drawing/2014/main" id="{9FF52C5B-6B08-3BA8-435E-BA6CB12689B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2" name="Groep 11">
              <a:extLst>
                <a:ext uri="{FF2B5EF4-FFF2-40B4-BE49-F238E27FC236}">
                  <a16:creationId xmlns:a16="http://schemas.microsoft.com/office/drawing/2014/main" id="{2DAF7AD7-D98E-60AE-FD6D-210B1E414C88}"/>
                </a:ext>
              </a:extLst>
            </p:cNvPr>
            <p:cNvGrpSpPr/>
            <p:nvPr/>
          </p:nvGrpSpPr>
          <p:grpSpPr>
            <a:xfrm>
              <a:off x="649432" y="1222801"/>
              <a:ext cx="2409536" cy="187292"/>
              <a:chOff x="668396" y="1930399"/>
              <a:chExt cx="10415521" cy="809593"/>
            </a:xfrm>
            <a:grpFill/>
          </p:grpSpPr>
          <p:grpSp>
            <p:nvGrpSpPr>
              <p:cNvPr id="106" name="Groep 105">
                <a:extLst>
                  <a:ext uri="{FF2B5EF4-FFF2-40B4-BE49-F238E27FC236}">
                    <a16:creationId xmlns:a16="http://schemas.microsoft.com/office/drawing/2014/main" id="{8BF58EB1-45A7-36D0-FDBF-8004C8200DE8}"/>
                  </a:ext>
                </a:extLst>
              </p:cNvPr>
              <p:cNvGrpSpPr/>
              <p:nvPr/>
            </p:nvGrpSpPr>
            <p:grpSpPr>
              <a:xfrm>
                <a:off x="668396" y="1930399"/>
                <a:ext cx="944504" cy="809593"/>
                <a:chOff x="5696016" y="3086100"/>
                <a:chExt cx="800080" cy="685799"/>
              </a:xfrm>
              <a:grpFill/>
            </p:grpSpPr>
            <p:sp>
              <p:nvSpPr>
                <p:cNvPr id="134" name="Vrije vorm: vorm 133">
                  <a:extLst>
                    <a:ext uri="{FF2B5EF4-FFF2-40B4-BE49-F238E27FC236}">
                      <a16:creationId xmlns:a16="http://schemas.microsoft.com/office/drawing/2014/main" id="{1FB9D403-B5D7-82F4-20B2-684E45D0A9A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5" name="Vrije vorm: vorm 134">
                  <a:extLst>
                    <a:ext uri="{FF2B5EF4-FFF2-40B4-BE49-F238E27FC236}">
                      <a16:creationId xmlns:a16="http://schemas.microsoft.com/office/drawing/2014/main" id="{3E1EB0E2-A904-EA00-DEB1-E77CE4D762A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07" name="Groep 106">
                <a:extLst>
                  <a:ext uri="{FF2B5EF4-FFF2-40B4-BE49-F238E27FC236}">
                    <a16:creationId xmlns:a16="http://schemas.microsoft.com/office/drawing/2014/main" id="{4EF77CFD-C732-B5EE-D078-7FEF4ADF0BDB}"/>
                  </a:ext>
                </a:extLst>
              </p:cNvPr>
              <p:cNvGrpSpPr/>
              <p:nvPr/>
            </p:nvGrpSpPr>
            <p:grpSpPr>
              <a:xfrm>
                <a:off x="1720731" y="1930399"/>
                <a:ext cx="944504" cy="809593"/>
                <a:chOff x="5696016" y="3086100"/>
                <a:chExt cx="800080" cy="685799"/>
              </a:xfrm>
              <a:grpFill/>
            </p:grpSpPr>
            <p:sp>
              <p:nvSpPr>
                <p:cNvPr id="132" name="Vrije vorm: vorm 131">
                  <a:extLst>
                    <a:ext uri="{FF2B5EF4-FFF2-40B4-BE49-F238E27FC236}">
                      <a16:creationId xmlns:a16="http://schemas.microsoft.com/office/drawing/2014/main" id="{552EB2BB-1531-06C4-BFEB-0B60D14EEA9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3" name="Vrije vorm: vorm 132">
                  <a:extLst>
                    <a:ext uri="{FF2B5EF4-FFF2-40B4-BE49-F238E27FC236}">
                      <a16:creationId xmlns:a16="http://schemas.microsoft.com/office/drawing/2014/main" id="{5FDCCB1D-48F4-4A2B-144F-724B24EA0F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08" name="Groep 107">
                <a:extLst>
                  <a:ext uri="{FF2B5EF4-FFF2-40B4-BE49-F238E27FC236}">
                    <a16:creationId xmlns:a16="http://schemas.microsoft.com/office/drawing/2014/main" id="{841DC93B-E5F4-F1F0-9CBB-2E3F07CD3BAC}"/>
                  </a:ext>
                </a:extLst>
              </p:cNvPr>
              <p:cNvGrpSpPr/>
              <p:nvPr/>
            </p:nvGrpSpPr>
            <p:grpSpPr>
              <a:xfrm>
                <a:off x="2773066" y="1930399"/>
                <a:ext cx="944504" cy="809593"/>
                <a:chOff x="5696016" y="3086100"/>
                <a:chExt cx="800080" cy="685799"/>
              </a:xfrm>
              <a:grpFill/>
            </p:grpSpPr>
            <p:sp>
              <p:nvSpPr>
                <p:cNvPr id="130" name="Vrije vorm: vorm 129">
                  <a:extLst>
                    <a:ext uri="{FF2B5EF4-FFF2-40B4-BE49-F238E27FC236}">
                      <a16:creationId xmlns:a16="http://schemas.microsoft.com/office/drawing/2014/main" id="{C4CEA757-9038-86C0-B1B5-B30A4AD0729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1" name="Vrije vorm: vorm 130">
                  <a:extLst>
                    <a:ext uri="{FF2B5EF4-FFF2-40B4-BE49-F238E27FC236}">
                      <a16:creationId xmlns:a16="http://schemas.microsoft.com/office/drawing/2014/main" id="{E34926A1-83FC-C29A-0005-AE7032F7115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09" name="Groep 108">
                <a:extLst>
                  <a:ext uri="{FF2B5EF4-FFF2-40B4-BE49-F238E27FC236}">
                    <a16:creationId xmlns:a16="http://schemas.microsoft.com/office/drawing/2014/main" id="{45A29EAA-7EF5-8EE1-A58A-A85E325B6AAB}"/>
                  </a:ext>
                </a:extLst>
              </p:cNvPr>
              <p:cNvGrpSpPr/>
              <p:nvPr/>
            </p:nvGrpSpPr>
            <p:grpSpPr>
              <a:xfrm>
                <a:off x="3825401" y="1930399"/>
                <a:ext cx="944504" cy="809593"/>
                <a:chOff x="5696016" y="3086100"/>
                <a:chExt cx="800080" cy="685799"/>
              </a:xfrm>
              <a:grpFill/>
            </p:grpSpPr>
            <p:sp>
              <p:nvSpPr>
                <p:cNvPr id="128" name="Vrije vorm: vorm 127">
                  <a:extLst>
                    <a:ext uri="{FF2B5EF4-FFF2-40B4-BE49-F238E27FC236}">
                      <a16:creationId xmlns:a16="http://schemas.microsoft.com/office/drawing/2014/main" id="{011B84A9-15E4-D141-156A-A77FD3F7F37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9" name="Vrije vorm: vorm 128">
                  <a:extLst>
                    <a:ext uri="{FF2B5EF4-FFF2-40B4-BE49-F238E27FC236}">
                      <a16:creationId xmlns:a16="http://schemas.microsoft.com/office/drawing/2014/main" id="{FAC8FCCE-4CCE-3AFC-8489-EC5AE91371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10" name="Groep 109">
                <a:extLst>
                  <a:ext uri="{FF2B5EF4-FFF2-40B4-BE49-F238E27FC236}">
                    <a16:creationId xmlns:a16="http://schemas.microsoft.com/office/drawing/2014/main" id="{F3FEB319-965B-EE8D-0922-13B625C0459F}"/>
                  </a:ext>
                </a:extLst>
              </p:cNvPr>
              <p:cNvGrpSpPr/>
              <p:nvPr/>
            </p:nvGrpSpPr>
            <p:grpSpPr>
              <a:xfrm>
                <a:off x="4877736" y="1930399"/>
                <a:ext cx="944504" cy="809593"/>
                <a:chOff x="5696016" y="3086100"/>
                <a:chExt cx="800080" cy="685799"/>
              </a:xfrm>
              <a:grpFill/>
            </p:grpSpPr>
            <p:sp>
              <p:nvSpPr>
                <p:cNvPr id="126" name="Vrije vorm: vorm 125">
                  <a:extLst>
                    <a:ext uri="{FF2B5EF4-FFF2-40B4-BE49-F238E27FC236}">
                      <a16:creationId xmlns:a16="http://schemas.microsoft.com/office/drawing/2014/main" id="{8B519D67-1C6F-6FFC-D634-B93DD95A3D7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7" name="Vrije vorm: vorm 126">
                  <a:extLst>
                    <a:ext uri="{FF2B5EF4-FFF2-40B4-BE49-F238E27FC236}">
                      <a16:creationId xmlns:a16="http://schemas.microsoft.com/office/drawing/2014/main" id="{089286FC-F06D-45A8-9152-CE480A211E6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11" name="Groep 110">
                <a:extLst>
                  <a:ext uri="{FF2B5EF4-FFF2-40B4-BE49-F238E27FC236}">
                    <a16:creationId xmlns:a16="http://schemas.microsoft.com/office/drawing/2014/main" id="{482E139F-8E25-65F7-40B9-CCE14BBBE6A9}"/>
                  </a:ext>
                </a:extLst>
              </p:cNvPr>
              <p:cNvGrpSpPr/>
              <p:nvPr/>
            </p:nvGrpSpPr>
            <p:grpSpPr>
              <a:xfrm>
                <a:off x="5930071" y="1930399"/>
                <a:ext cx="944504" cy="809593"/>
                <a:chOff x="5696016" y="3086100"/>
                <a:chExt cx="800080" cy="685799"/>
              </a:xfrm>
              <a:grpFill/>
            </p:grpSpPr>
            <p:sp>
              <p:nvSpPr>
                <p:cNvPr id="124" name="Vrije vorm: vorm 123">
                  <a:extLst>
                    <a:ext uri="{FF2B5EF4-FFF2-40B4-BE49-F238E27FC236}">
                      <a16:creationId xmlns:a16="http://schemas.microsoft.com/office/drawing/2014/main" id="{C78DABE9-8FAF-6C89-FCB1-475DFB2279E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5" name="Vrije vorm: vorm 124">
                  <a:extLst>
                    <a:ext uri="{FF2B5EF4-FFF2-40B4-BE49-F238E27FC236}">
                      <a16:creationId xmlns:a16="http://schemas.microsoft.com/office/drawing/2014/main" id="{CE508D9C-0A5A-47A5-2787-F8BA71A9C39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12" name="Groep 111">
                <a:extLst>
                  <a:ext uri="{FF2B5EF4-FFF2-40B4-BE49-F238E27FC236}">
                    <a16:creationId xmlns:a16="http://schemas.microsoft.com/office/drawing/2014/main" id="{F44FEB64-4C3B-93AA-91F9-A561EC9E8006}"/>
                  </a:ext>
                </a:extLst>
              </p:cNvPr>
              <p:cNvGrpSpPr/>
              <p:nvPr/>
            </p:nvGrpSpPr>
            <p:grpSpPr>
              <a:xfrm>
                <a:off x="6982406" y="1930399"/>
                <a:ext cx="944504" cy="809593"/>
                <a:chOff x="5696016" y="3086100"/>
                <a:chExt cx="800080" cy="685799"/>
              </a:xfrm>
              <a:grpFill/>
            </p:grpSpPr>
            <p:sp>
              <p:nvSpPr>
                <p:cNvPr id="122" name="Vrije vorm: vorm 121">
                  <a:extLst>
                    <a:ext uri="{FF2B5EF4-FFF2-40B4-BE49-F238E27FC236}">
                      <a16:creationId xmlns:a16="http://schemas.microsoft.com/office/drawing/2014/main" id="{740A7CE7-0D1C-BC2B-AE1D-72ABF905319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3" name="Vrije vorm: vorm 122">
                  <a:extLst>
                    <a:ext uri="{FF2B5EF4-FFF2-40B4-BE49-F238E27FC236}">
                      <a16:creationId xmlns:a16="http://schemas.microsoft.com/office/drawing/2014/main" id="{41A4DF40-8D2F-D3E6-6B62-09BAD7CEE9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13" name="Groep 112">
                <a:extLst>
                  <a:ext uri="{FF2B5EF4-FFF2-40B4-BE49-F238E27FC236}">
                    <a16:creationId xmlns:a16="http://schemas.microsoft.com/office/drawing/2014/main" id="{0B924A18-2EED-E34B-3036-1B4EE36268AF}"/>
                  </a:ext>
                </a:extLst>
              </p:cNvPr>
              <p:cNvGrpSpPr/>
              <p:nvPr/>
            </p:nvGrpSpPr>
            <p:grpSpPr>
              <a:xfrm>
                <a:off x="8034741" y="1930399"/>
                <a:ext cx="944504" cy="809593"/>
                <a:chOff x="5696016" y="3086100"/>
                <a:chExt cx="800080" cy="685799"/>
              </a:xfrm>
              <a:grpFill/>
            </p:grpSpPr>
            <p:sp>
              <p:nvSpPr>
                <p:cNvPr id="120" name="Vrije vorm: vorm 119">
                  <a:extLst>
                    <a:ext uri="{FF2B5EF4-FFF2-40B4-BE49-F238E27FC236}">
                      <a16:creationId xmlns:a16="http://schemas.microsoft.com/office/drawing/2014/main" id="{E7665A80-A468-35C0-D248-E6470440CF7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1" name="Vrije vorm: vorm 120">
                  <a:extLst>
                    <a:ext uri="{FF2B5EF4-FFF2-40B4-BE49-F238E27FC236}">
                      <a16:creationId xmlns:a16="http://schemas.microsoft.com/office/drawing/2014/main" id="{55391324-5550-EE1E-348A-57600FBFD3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14" name="Groep 113">
                <a:extLst>
                  <a:ext uri="{FF2B5EF4-FFF2-40B4-BE49-F238E27FC236}">
                    <a16:creationId xmlns:a16="http://schemas.microsoft.com/office/drawing/2014/main" id="{884E9F3E-202E-22D4-25B4-D52D63AAB963}"/>
                  </a:ext>
                </a:extLst>
              </p:cNvPr>
              <p:cNvGrpSpPr/>
              <p:nvPr/>
            </p:nvGrpSpPr>
            <p:grpSpPr>
              <a:xfrm>
                <a:off x="9087076" y="1930399"/>
                <a:ext cx="944504" cy="809593"/>
                <a:chOff x="5696016" y="3086100"/>
                <a:chExt cx="800080" cy="685799"/>
              </a:xfrm>
              <a:grpFill/>
            </p:grpSpPr>
            <p:sp>
              <p:nvSpPr>
                <p:cNvPr id="118" name="Vrije vorm: vorm 117">
                  <a:extLst>
                    <a:ext uri="{FF2B5EF4-FFF2-40B4-BE49-F238E27FC236}">
                      <a16:creationId xmlns:a16="http://schemas.microsoft.com/office/drawing/2014/main" id="{978F049A-B1A6-BFE8-6AD8-E6F0C343DD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19" name="Vrije vorm: vorm 118">
                  <a:extLst>
                    <a:ext uri="{FF2B5EF4-FFF2-40B4-BE49-F238E27FC236}">
                      <a16:creationId xmlns:a16="http://schemas.microsoft.com/office/drawing/2014/main" id="{1466084B-4E1D-5F2F-7CF6-B9BB09C8B07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15" name="Groep 114">
                <a:extLst>
                  <a:ext uri="{FF2B5EF4-FFF2-40B4-BE49-F238E27FC236}">
                    <a16:creationId xmlns:a16="http://schemas.microsoft.com/office/drawing/2014/main" id="{90F6ED14-1740-09C4-3203-4E131C752966}"/>
                  </a:ext>
                </a:extLst>
              </p:cNvPr>
              <p:cNvGrpSpPr/>
              <p:nvPr/>
            </p:nvGrpSpPr>
            <p:grpSpPr>
              <a:xfrm>
                <a:off x="10139413" y="1930399"/>
                <a:ext cx="944504" cy="809593"/>
                <a:chOff x="5696016" y="3086100"/>
                <a:chExt cx="800080" cy="685799"/>
              </a:xfrm>
              <a:grpFill/>
            </p:grpSpPr>
            <p:sp>
              <p:nvSpPr>
                <p:cNvPr id="116" name="Vrije vorm: vorm 115">
                  <a:extLst>
                    <a:ext uri="{FF2B5EF4-FFF2-40B4-BE49-F238E27FC236}">
                      <a16:creationId xmlns:a16="http://schemas.microsoft.com/office/drawing/2014/main" id="{0A98484A-5367-552E-A7AC-FB1E0E2A6BC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17" name="Vrije vorm: vorm 116">
                  <a:extLst>
                    <a:ext uri="{FF2B5EF4-FFF2-40B4-BE49-F238E27FC236}">
                      <a16:creationId xmlns:a16="http://schemas.microsoft.com/office/drawing/2014/main" id="{0B3B36EF-2D59-99FE-29FC-A12BD3307E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3" name="Groep 12">
              <a:extLst>
                <a:ext uri="{FF2B5EF4-FFF2-40B4-BE49-F238E27FC236}">
                  <a16:creationId xmlns:a16="http://schemas.microsoft.com/office/drawing/2014/main" id="{06FCC6A0-BF0B-9579-A7CE-7B6A4F0775F2}"/>
                </a:ext>
              </a:extLst>
            </p:cNvPr>
            <p:cNvGrpSpPr/>
            <p:nvPr/>
          </p:nvGrpSpPr>
          <p:grpSpPr>
            <a:xfrm>
              <a:off x="649432" y="1456834"/>
              <a:ext cx="2409536" cy="187292"/>
              <a:chOff x="668396" y="1930399"/>
              <a:chExt cx="10415521" cy="809593"/>
            </a:xfrm>
            <a:grpFill/>
          </p:grpSpPr>
          <p:grpSp>
            <p:nvGrpSpPr>
              <p:cNvPr id="76" name="Groep 75">
                <a:extLst>
                  <a:ext uri="{FF2B5EF4-FFF2-40B4-BE49-F238E27FC236}">
                    <a16:creationId xmlns:a16="http://schemas.microsoft.com/office/drawing/2014/main" id="{6B2BE8B4-0F27-7AB8-2AB6-C9D4DC039DC3}"/>
                  </a:ext>
                </a:extLst>
              </p:cNvPr>
              <p:cNvGrpSpPr/>
              <p:nvPr/>
            </p:nvGrpSpPr>
            <p:grpSpPr>
              <a:xfrm>
                <a:off x="668396" y="1930399"/>
                <a:ext cx="944504" cy="809593"/>
                <a:chOff x="5696016" y="3086100"/>
                <a:chExt cx="800080" cy="685799"/>
              </a:xfrm>
              <a:grpFill/>
            </p:grpSpPr>
            <p:sp>
              <p:nvSpPr>
                <p:cNvPr id="104" name="Vrije vorm: vorm 103">
                  <a:extLst>
                    <a:ext uri="{FF2B5EF4-FFF2-40B4-BE49-F238E27FC236}">
                      <a16:creationId xmlns:a16="http://schemas.microsoft.com/office/drawing/2014/main" id="{D15331F2-54D6-ED38-3FF4-FC3C4E10D7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5" name="Vrije vorm: vorm 104">
                  <a:extLst>
                    <a:ext uri="{FF2B5EF4-FFF2-40B4-BE49-F238E27FC236}">
                      <a16:creationId xmlns:a16="http://schemas.microsoft.com/office/drawing/2014/main" id="{94C62C1B-AFD2-BD2C-CC1C-D26D64E0F4A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 name="Groep 76">
                <a:extLst>
                  <a:ext uri="{FF2B5EF4-FFF2-40B4-BE49-F238E27FC236}">
                    <a16:creationId xmlns:a16="http://schemas.microsoft.com/office/drawing/2014/main" id="{40A2F49E-5FDD-BC39-6904-347E4BFAD89E}"/>
                  </a:ext>
                </a:extLst>
              </p:cNvPr>
              <p:cNvGrpSpPr/>
              <p:nvPr/>
            </p:nvGrpSpPr>
            <p:grpSpPr>
              <a:xfrm>
                <a:off x="1720731" y="1930399"/>
                <a:ext cx="944504" cy="809593"/>
                <a:chOff x="5696016" y="3086100"/>
                <a:chExt cx="800080" cy="685799"/>
              </a:xfrm>
              <a:grpFill/>
            </p:grpSpPr>
            <p:sp>
              <p:nvSpPr>
                <p:cNvPr id="102" name="Vrije vorm: vorm 101">
                  <a:extLst>
                    <a:ext uri="{FF2B5EF4-FFF2-40B4-BE49-F238E27FC236}">
                      <a16:creationId xmlns:a16="http://schemas.microsoft.com/office/drawing/2014/main" id="{A78CB7F2-E834-6386-FF1D-3C531745BF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3" name="Vrije vorm: vorm 102">
                  <a:extLst>
                    <a:ext uri="{FF2B5EF4-FFF2-40B4-BE49-F238E27FC236}">
                      <a16:creationId xmlns:a16="http://schemas.microsoft.com/office/drawing/2014/main" id="{655478C9-003B-8E47-A00E-3F5378C175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8" name="Groep 77">
                <a:extLst>
                  <a:ext uri="{FF2B5EF4-FFF2-40B4-BE49-F238E27FC236}">
                    <a16:creationId xmlns:a16="http://schemas.microsoft.com/office/drawing/2014/main" id="{07D40288-A68B-F87D-68E0-2B4CD27D76F5}"/>
                  </a:ext>
                </a:extLst>
              </p:cNvPr>
              <p:cNvGrpSpPr/>
              <p:nvPr/>
            </p:nvGrpSpPr>
            <p:grpSpPr>
              <a:xfrm>
                <a:off x="2773066" y="1930399"/>
                <a:ext cx="944504" cy="809593"/>
                <a:chOff x="5696016" y="3086100"/>
                <a:chExt cx="800080" cy="685799"/>
              </a:xfrm>
              <a:grpFill/>
            </p:grpSpPr>
            <p:sp>
              <p:nvSpPr>
                <p:cNvPr id="100" name="Vrije vorm: vorm 99">
                  <a:extLst>
                    <a:ext uri="{FF2B5EF4-FFF2-40B4-BE49-F238E27FC236}">
                      <a16:creationId xmlns:a16="http://schemas.microsoft.com/office/drawing/2014/main" id="{B0921E22-CCB9-2E9D-E5EA-3DADF2E19D8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1" name="Vrije vorm: vorm 100">
                  <a:extLst>
                    <a:ext uri="{FF2B5EF4-FFF2-40B4-BE49-F238E27FC236}">
                      <a16:creationId xmlns:a16="http://schemas.microsoft.com/office/drawing/2014/main" id="{663EB88B-C0E9-F8B8-DCB7-505968CEDC1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 name="Groep 78">
                <a:extLst>
                  <a:ext uri="{FF2B5EF4-FFF2-40B4-BE49-F238E27FC236}">
                    <a16:creationId xmlns:a16="http://schemas.microsoft.com/office/drawing/2014/main" id="{45C930DF-B946-F252-7CAE-128DDE85262D}"/>
                  </a:ext>
                </a:extLst>
              </p:cNvPr>
              <p:cNvGrpSpPr/>
              <p:nvPr/>
            </p:nvGrpSpPr>
            <p:grpSpPr>
              <a:xfrm>
                <a:off x="3825401" y="1930399"/>
                <a:ext cx="944504" cy="809593"/>
                <a:chOff x="5696016" y="3086100"/>
                <a:chExt cx="800080" cy="685799"/>
              </a:xfrm>
              <a:grpFill/>
            </p:grpSpPr>
            <p:sp>
              <p:nvSpPr>
                <p:cNvPr id="98" name="Vrije vorm: vorm 97">
                  <a:extLst>
                    <a:ext uri="{FF2B5EF4-FFF2-40B4-BE49-F238E27FC236}">
                      <a16:creationId xmlns:a16="http://schemas.microsoft.com/office/drawing/2014/main" id="{5619864D-62FE-CFAC-659A-8E5EAB704CB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 name="Vrije vorm: vorm 98">
                  <a:extLst>
                    <a:ext uri="{FF2B5EF4-FFF2-40B4-BE49-F238E27FC236}">
                      <a16:creationId xmlns:a16="http://schemas.microsoft.com/office/drawing/2014/main" id="{39E3EA21-8E35-B871-1DF1-A7BA790C4A6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 name="Groep 79">
                <a:extLst>
                  <a:ext uri="{FF2B5EF4-FFF2-40B4-BE49-F238E27FC236}">
                    <a16:creationId xmlns:a16="http://schemas.microsoft.com/office/drawing/2014/main" id="{E7CFD716-B874-E796-A651-5AF1C0BFFB96}"/>
                  </a:ext>
                </a:extLst>
              </p:cNvPr>
              <p:cNvGrpSpPr/>
              <p:nvPr/>
            </p:nvGrpSpPr>
            <p:grpSpPr>
              <a:xfrm>
                <a:off x="4877736" y="1930399"/>
                <a:ext cx="944504" cy="809593"/>
                <a:chOff x="5696016" y="3086100"/>
                <a:chExt cx="800080" cy="685799"/>
              </a:xfrm>
              <a:grpFill/>
            </p:grpSpPr>
            <p:sp>
              <p:nvSpPr>
                <p:cNvPr id="96" name="Vrije vorm: vorm 95">
                  <a:extLst>
                    <a:ext uri="{FF2B5EF4-FFF2-40B4-BE49-F238E27FC236}">
                      <a16:creationId xmlns:a16="http://schemas.microsoft.com/office/drawing/2014/main" id="{BAB17F1D-22CC-E2EB-B434-DC94F467988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 name="Vrije vorm: vorm 96">
                  <a:extLst>
                    <a:ext uri="{FF2B5EF4-FFF2-40B4-BE49-F238E27FC236}">
                      <a16:creationId xmlns:a16="http://schemas.microsoft.com/office/drawing/2014/main" id="{D6FAF055-9473-8DFE-2408-0F1642145F5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1" name="Groep 80">
                <a:extLst>
                  <a:ext uri="{FF2B5EF4-FFF2-40B4-BE49-F238E27FC236}">
                    <a16:creationId xmlns:a16="http://schemas.microsoft.com/office/drawing/2014/main" id="{CC477912-DD54-8A50-19FA-C94153B1047E}"/>
                  </a:ext>
                </a:extLst>
              </p:cNvPr>
              <p:cNvGrpSpPr/>
              <p:nvPr/>
            </p:nvGrpSpPr>
            <p:grpSpPr>
              <a:xfrm>
                <a:off x="5930071" y="1930399"/>
                <a:ext cx="944504" cy="809593"/>
                <a:chOff x="5696016" y="3086100"/>
                <a:chExt cx="800080" cy="685799"/>
              </a:xfrm>
              <a:grpFill/>
            </p:grpSpPr>
            <p:sp>
              <p:nvSpPr>
                <p:cNvPr id="94" name="Vrije vorm: vorm 93">
                  <a:extLst>
                    <a:ext uri="{FF2B5EF4-FFF2-40B4-BE49-F238E27FC236}">
                      <a16:creationId xmlns:a16="http://schemas.microsoft.com/office/drawing/2014/main" id="{5F789FCD-3EE9-C732-495B-02B966112E7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 name="Vrije vorm: vorm 94">
                  <a:extLst>
                    <a:ext uri="{FF2B5EF4-FFF2-40B4-BE49-F238E27FC236}">
                      <a16:creationId xmlns:a16="http://schemas.microsoft.com/office/drawing/2014/main" id="{A28E3E0E-3EB4-327B-04A5-E7121F0C6E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 name="Groep 81">
                <a:extLst>
                  <a:ext uri="{FF2B5EF4-FFF2-40B4-BE49-F238E27FC236}">
                    <a16:creationId xmlns:a16="http://schemas.microsoft.com/office/drawing/2014/main" id="{6C02391A-4470-AE77-C24A-808D9062EDF4}"/>
                  </a:ext>
                </a:extLst>
              </p:cNvPr>
              <p:cNvGrpSpPr/>
              <p:nvPr/>
            </p:nvGrpSpPr>
            <p:grpSpPr>
              <a:xfrm>
                <a:off x="6982406" y="1930399"/>
                <a:ext cx="944504" cy="809593"/>
                <a:chOff x="5696016" y="3086100"/>
                <a:chExt cx="800080" cy="685799"/>
              </a:xfrm>
              <a:grpFill/>
            </p:grpSpPr>
            <p:sp>
              <p:nvSpPr>
                <p:cNvPr id="92" name="Vrije vorm: vorm 91">
                  <a:extLst>
                    <a:ext uri="{FF2B5EF4-FFF2-40B4-BE49-F238E27FC236}">
                      <a16:creationId xmlns:a16="http://schemas.microsoft.com/office/drawing/2014/main" id="{8BEE4BBF-8A68-C5FB-9C68-BB9E380ECC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 name="Vrije vorm: vorm 92">
                  <a:extLst>
                    <a:ext uri="{FF2B5EF4-FFF2-40B4-BE49-F238E27FC236}">
                      <a16:creationId xmlns:a16="http://schemas.microsoft.com/office/drawing/2014/main" id="{1B146FE8-186B-DD14-AB19-25C14C197C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 name="Groep 82">
                <a:extLst>
                  <a:ext uri="{FF2B5EF4-FFF2-40B4-BE49-F238E27FC236}">
                    <a16:creationId xmlns:a16="http://schemas.microsoft.com/office/drawing/2014/main" id="{2A948725-618B-0D51-CEE1-AA231C0C1AC5}"/>
                  </a:ext>
                </a:extLst>
              </p:cNvPr>
              <p:cNvGrpSpPr/>
              <p:nvPr/>
            </p:nvGrpSpPr>
            <p:grpSpPr>
              <a:xfrm>
                <a:off x="8034741" y="1930399"/>
                <a:ext cx="944504" cy="809593"/>
                <a:chOff x="5696016" y="3086100"/>
                <a:chExt cx="800080" cy="685799"/>
              </a:xfrm>
              <a:grpFill/>
            </p:grpSpPr>
            <p:sp>
              <p:nvSpPr>
                <p:cNvPr id="90" name="Vrije vorm: vorm 89">
                  <a:extLst>
                    <a:ext uri="{FF2B5EF4-FFF2-40B4-BE49-F238E27FC236}">
                      <a16:creationId xmlns:a16="http://schemas.microsoft.com/office/drawing/2014/main" id="{EE1C4C96-9231-C626-DB18-4F31F5E2EAB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1" name="Vrije vorm: vorm 90">
                  <a:extLst>
                    <a:ext uri="{FF2B5EF4-FFF2-40B4-BE49-F238E27FC236}">
                      <a16:creationId xmlns:a16="http://schemas.microsoft.com/office/drawing/2014/main" id="{4A14548E-5CB6-F112-C28C-9934B537411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4" name="Groep 83">
                <a:extLst>
                  <a:ext uri="{FF2B5EF4-FFF2-40B4-BE49-F238E27FC236}">
                    <a16:creationId xmlns:a16="http://schemas.microsoft.com/office/drawing/2014/main" id="{B7065D0E-CCAF-663A-C69D-1349637C2FD2}"/>
                  </a:ext>
                </a:extLst>
              </p:cNvPr>
              <p:cNvGrpSpPr/>
              <p:nvPr/>
            </p:nvGrpSpPr>
            <p:grpSpPr>
              <a:xfrm>
                <a:off x="9087076" y="1930399"/>
                <a:ext cx="944504" cy="809593"/>
                <a:chOff x="5696016" y="3086100"/>
                <a:chExt cx="800080" cy="685799"/>
              </a:xfrm>
              <a:grpFill/>
            </p:grpSpPr>
            <p:sp>
              <p:nvSpPr>
                <p:cNvPr id="88" name="Vrije vorm: vorm 87">
                  <a:extLst>
                    <a:ext uri="{FF2B5EF4-FFF2-40B4-BE49-F238E27FC236}">
                      <a16:creationId xmlns:a16="http://schemas.microsoft.com/office/drawing/2014/main" id="{6C91EA40-6C71-8BB3-3021-E9349BDAF0B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9" name="Vrije vorm: vorm 88">
                  <a:extLst>
                    <a:ext uri="{FF2B5EF4-FFF2-40B4-BE49-F238E27FC236}">
                      <a16:creationId xmlns:a16="http://schemas.microsoft.com/office/drawing/2014/main" id="{22C9470C-E12E-A90A-E983-D68C697FAD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 name="Groep 84">
                <a:extLst>
                  <a:ext uri="{FF2B5EF4-FFF2-40B4-BE49-F238E27FC236}">
                    <a16:creationId xmlns:a16="http://schemas.microsoft.com/office/drawing/2014/main" id="{C506B13F-FBC8-76E3-0E70-1A35A63F8552}"/>
                  </a:ext>
                </a:extLst>
              </p:cNvPr>
              <p:cNvGrpSpPr/>
              <p:nvPr/>
            </p:nvGrpSpPr>
            <p:grpSpPr>
              <a:xfrm>
                <a:off x="10139413" y="1930399"/>
                <a:ext cx="944504" cy="809593"/>
                <a:chOff x="5696016" y="3086100"/>
                <a:chExt cx="800080" cy="685799"/>
              </a:xfrm>
              <a:grpFill/>
            </p:grpSpPr>
            <p:sp>
              <p:nvSpPr>
                <p:cNvPr id="86" name="Vrije vorm: vorm 85">
                  <a:extLst>
                    <a:ext uri="{FF2B5EF4-FFF2-40B4-BE49-F238E27FC236}">
                      <a16:creationId xmlns:a16="http://schemas.microsoft.com/office/drawing/2014/main" id="{14C77707-9F1F-F11D-FF21-DB0D425CE48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 name="Vrije vorm: vorm 86">
                  <a:extLst>
                    <a:ext uri="{FF2B5EF4-FFF2-40B4-BE49-F238E27FC236}">
                      <a16:creationId xmlns:a16="http://schemas.microsoft.com/office/drawing/2014/main" id="{E9FEB339-C06B-8682-EC01-79983A90041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4" name="Groep 13">
              <a:extLst>
                <a:ext uri="{FF2B5EF4-FFF2-40B4-BE49-F238E27FC236}">
                  <a16:creationId xmlns:a16="http://schemas.microsoft.com/office/drawing/2014/main" id="{F1E126DD-2E2B-8749-4773-E082CE89B8CA}"/>
                </a:ext>
              </a:extLst>
            </p:cNvPr>
            <p:cNvGrpSpPr/>
            <p:nvPr/>
          </p:nvGrpSpPr>
          <p:grpSpPr>
            <a:xfrm>
              <a:off x="649432" y="1690867"/>
              <a:ext cx="2409536" cy="187292"/>
              <a:chOff x="668396" y="1930399"/>
              <a:chExt cx="10415521" cy="809593"/>
            </a:xfrm>
            <a:grpFill/>
          </p:grpSpPr>
          <p:grpSp>
            <p:nvGrpSpPr>
              <p:cNvPr id="46" name="Groep 45">
                <a:extLst>
                  <a:ext uri="{FF2B5EF4-FFF2-40B4-BE49-F238E27FC236}">
                    <a16:creationId xmlns:a16="http://schemas.microsoft.com/office/drawing/2014/main" id="{F46F5E3B-5774-36C2-24BB-281914275426}"/>
                  </a:ext>
                </a:extLst>
              </p:cNvPr>
              <p:cNvGrpSpPr/>
              <p:nvPr/>
            </p:nvGrpSpPr>
            <p:grpSpPr>
              <a:xfrm>
                <a:off x="668396" y="1930399"/>
                <a:ext cx="944504" cy="809593"/>
                <a:chOff x="5696016" y="3086100"/>
                <a:chExt cx="800080" cy="685799"/>
              </a:xfrm>
              <a:grpFill/>
            </p:grpSpPr>
            <p:sp>
              <p:nvSpPr>
                <p:cNvPr id="74" name="Vrije vorm: vorm 73">
                  <a:extLst>
                    <a:ext uri="{FF2B5EF4-FFF2-40B4-BE49-F238E27FC236}">
                      <a16:creationId xmlns:a16="http://schemas.microsoft.com/office/drawing/2014/main" id="{61CA136A-EFA6-EA39-64B6-8145FFCC951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 name="Vrije vorm: vorm 74">
                  <a:extLst>
                    <a:ext uri="{FF2B5EF4-FFF2-40B4-BE49-F238E27FC236}">
                      <a16:creationId xmlns:a16="http://schemas.microsoft.com/office/drawing/2014/main" id="{FDA739B7-8584-A9AC-AE7F-FEDB51B5C2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7" name="Groep 46">
                <a:extLst>
                  <a:ext uri="{FF2B5EF4-FFF2-40B4-BE49-F238E27FC236}">
                    <a16:creationId xmlns:a16="http://schemas.microsoft.com/office/drawing/2014/main" id="{F3AB3CB8-DE4D-3AAA-C661-6D8E62ACFE5E}"/>
                  </a:ext>
                </a:extLst>
              </p:cNvPr>
              <p:cNvGrpSpPr/>
              <p:nvPr/>
            </p:nvGrpSpPr>
            <p:grpSpPr>
              <a:xfrm>
                <a:off x="1720731" y="1930399"/>
                <a:ext cx="944504" cy="809593"/>
                <a:chOff x="5696016" y="3086100"/>
                <a:chExt cx="800080" cy="685799"/>
              </a:xfrm>
              <a:grpFill/>
            </p:grpSpPr>
            <p:sp>
              <p:nvSpPr>
                <p:cNvPr id="72" name="Vrije vorm: vorm 71">
                  <a:extLst>
                    <a:ext uri="{FF2B5EF4-FFF2-40B4-BE49-F238E27FC236}">
                      <a16:creationId xmlns:a16="http://schemas.microsoft.com/office/drawing/2014/main" id="{09FB3CBE-576C-7227-FDEE-FC906BBBA6A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3" name="Vrije vorm: vorm 72">
                  <a:extLst>
                    <a:ext uri="{FF2B5EF4-FFF2-40B4-BE49-F238E27FC236}">
                      <a16:creationId xmlns:a16="http://schemas.microsoft.com/office/drawing/2014/main" id="{84E7AED2-6F94-5FAB-3EE9-843B683237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 name="Groep 47">
                <a:extLst>
                  <a:ext uri="{FF2B5EF4-FFF2-40B4-BE49-F238E27FC236}">
                    <a16:creationId xmlns:a16="http://schemas.microsoft.com/office/drawing/2014/main" id="{6ED2E3F0-E58C-571D-CF0B-6A15FD4920B1}"/>
                  </a:ext>
                </a:extLst>
              </p:cNvPr>
              <p:cNvGrpSpPr/>
              <p:nvPr/>
            </p:nvGrpSpPr>
            <p:grpSpPr>
              <a:xfrm>
                <a:off x="2773066" y="1930399"/>
                <a:ext cx="944504" cy="809593"/>
                <a:chOff x="5696016" y="3086100"/>
                <a:chExt cx="800080" cy="685799"/>
              </a:xfrm>
              <a:grpFill/>
            </p:grpSpPr>
            <p:sp>
              <p:nvSpPr>
                <p:cNvPr id="70" name="Vrije vorm: vorm 69">
                  <a:extLst>
                    <a:ext uri="{FF2B5EF4-FFF2-40B4-BE49-F238E27FC236}">
                      <a16:creationId xmlns:a16="http://schemas.microsoft.com/office/drawing/2014/main" id="{BDC518A5-D568-E68E-8612-C672E4FA905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 name="Vrije vorm: vorm 70">
                  <a:extLst>
                    <a:ext uri="{FF2B5EF4-FFF2-40B4-BE49-F238E27FC236}">
                      <a16:creationId xmlns:a16="http://schemas.microsoft.com/office/drawing/2014/main" id="{D140120B-3D62-FCB2-00C3-CB1A305E38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 name="Groep 48">
                <a:extLst>
                  <a:ext uri="{FF2B5EF4-FFF2-40B4-BE49-F238E27FC236}">
                    <a16:creationId xmlns:a16="http://schemas.microsoft.com/office/drawing/2014/main" id="{B1455371-D351-78A8-5669-4D8C4E86063A}"/>
                  </a:ext>
                </a:extLst>
              </p:cNvPr>
              <p:cNvGrpSpPr/>
              <p:nvPr/>
            </p:nvGrpSpPr>
            <p:grpSpPr>
              <a:xfrm>
                <a:off x="3825401" y="1930399"/>
                <a:ext cx="944504" cy="809593"/>
                <a:chOff x="5696016" y="3086100"/>
                <a:chExt cx="800080" cy="685799"/>
              </a:xfrm>
              <a:grpFill/>
            </p:grpSpPr>
            <p:sp>
              <p:nvSpPr>
                <p:cNvPr id="68" name="Vrije vorm: vorm 67">
                  <a:extLst>
                    <a:ext uri="{FF2B5EF4-FFF2-40B4-BE49-F238E27FC236}">
                      <a16:creationId xmlns:a16="http://schemas.microsoft.com/office/drawing/2014/main" id="{095EF323-7503-9AF6-1EA6-324A37EDDBC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 name="Vrije vorm: vorm 68">
                  <a:extLst>
                    <a:ext uri="{FF2B5EF4-FFF2-40B4-BE49-F238E27FC236}">
                      <a16:creationId xmlns:a16="http://schemas.microsoft.com/office/drawing/2014/main" id="{4397C49B-0740-1964-8471-F3858D24A7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0" name="Groep 49">
                <a:extLst>
                  <a:ext uri="{FF2B5EF4-FFF2-40B4-BE49-F238E27FC236}">
                    <a16:creationId xmlns:a16="http://schemas.microsoft.com/office/drawing/2014/main" id="{6DE60D8F-E7CB-67C9-CD8A-5289D5443AE3}"/>
                  </a:ext>
                </a:extLst>
              </p:cNvPr>
              <p:cNvGrpSpPr/>
              <p:nvPr/>
            </p:nvGrpSpPr>
            <p:grpSpPr>
              <a:xfrm>
                <a:off x="4877736" y="1930399"/>
                <a:ext cx="944504" cy="809593"/>
                <a:chOff x="5696016" y="3086100"/>
                <a:chExt cx="800080" cy="685799"/>
              </a:xfrm>
              <a:grpFill/>
            </p:grpSpPr>
            <p:sp>
              <p:nvSpPr>
                <p:cNvPr id="66" name="Vrije vorm: vorm 65">
                  <a:extLst>
                    <a:ext uri="{FF2B5EF4-FFF2-40B4-BE49-F238E27FC236}">
                      <a16:creationId xmlns:a16="http://schemas.microsoft.com/office/drawing/2014/main" id="{38CD925B-C7DB-44C6-599F-279233E2E3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7" name="Vrije vorm: vorm 66">
                  <a:extLst>
                    <a:ext uri="{FF2B5EF4-FFF2-40B4-BE49-F238E27FC236}">
                      <a16:creationId xmlns:a16="http://schemas.microsoft.com/office/drawing/2014/main" id="{59983784-1F50-9EC2-8C12-8ED5F847262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 name="Groep 50">
                <a:extLst>
                  <a:ext uri="{FF2B5EF4-FFF2-40B4-BE49-F238E27FC236}">
                    <a16:creationId xmlns:a16="http://schemas.microsoft.com/office/drawing/2014/main" id="{FA393FA1-60AC-B01A-1C58-91B85434BFD8}"/>
                  </a:ext>
                </a:extLst>
              </p:cNvPr>
              <p:cNvGrpSpPr/>
              <p:nvPr/>
            </p:nvGrpSpPr>
            <p:grpSpPr>
              <a:xfrm>
                <a:off x="5930071" y="1930399"/>
                <a:ext cx="944504" cy="809593"/>
                <a:chOff x="5696016" y="3086100"/>
                <a:chExt cx="800080" cy="685799"/>
              </a:xfrm>
              <a:grpFill/>
            </p:grpSpPr>
            <p:sp>
              <p:nvSpPr>
                <p:cNvPr id="64" name="Vrije vorm: vorm 63">
                  <a:extLst>
                    <a:ext uri="{FF2B5EF4-FFF2-40B4-BE49-F238E27FC236}">
                      <a16:creationId xmlns:a16="http://schemas.microsoft.com/office/drawing/2014/main" id="{4A31678B-2C0A-0000-A3D8-702E0E0860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 name="Vrije vorm: vorm 64">
                  <a:extLst>
                    <a:ext uri="{FF2B5EF4-FFF2-40B4-BE49-F238E27FC236}">
                      <a16:creationId xmlns:a16="http://schemas.microsoft.com/office/drawing/2014/main" id="{559B7EEC-B7F6-B3C9-6A48-0FE6B35D73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 name="Groep 51">
                <a:extLst>
                  <a:ext uri="{FF2B5EF4-FFF2-40B4-BE49-F238E27FC236}">
                    <a16:creationId xmlns:a16="http://schemas.microsoft.com/office/drawing/2014/main" id="{739D3E65-C4EF-FCDE-0724-50A2342E2AFD}"/>
                  </a:ext>
                </a:extLst>
              </p:cNvPr>
              <p:cNvGrpSpPr/>
              <p:nvPr/>
            </p:nvGrpSpPr>
            <p:grpSpPr>
              <a:xfrm>
                <a:off x="6982406" y="1930399"/>
                <a:ext cx="944504" cy="809593"/>
                <a:chOff x="5696016" y="3086100"/>
                <a:chExt cx="800080" cy="685799"/>
              </a:xfrm>
              <a:grpFill/>
            </p:grpSpPr>
            <p:sp>
              <p:nvSpPr>
                <p:cNvPr id="62" name="Vrije vorm: vorm 61">
                  <a:extLst>
                    <a:ext uri="{FF2B5EF4-FFF2-40B4-BE49-F238E27FC236}">
                      <a16:creationId xmlns:a16="http://schemas.microsoft.com/office/drawing/2014/main" id="{6BAAA50B-8C9E-DEFE-A411-DB31C54C757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 name="Vrije vorm: vorm 62">
                  <a:extLst>
                    <a:ext uri="{FF2B5EF4-FFF2-40B4-BE49-F238E27FC236}">
                      <a16:creationId xmlns:a16="http://schemas.microsoft.com/office/drawing/2014/main" id="{A32AF0C8-639D-44C7-254B-4D5E0756286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3" name="Groep 52">
                <a:extLst>
                  <a:ext uri="{FF2B5EF4-FFF2-40B4-BE49-F238E27FC236}">
                    <a16:creationId xmlns:a16="http://schemas.microsoft.com/office/drawing/2014/main" id="{7E295E2D-3117-99A8-A94E-6FCAFAB80C81}"/>
                  </a:ext>
                </a:extLst>
              </p:cNvPr>
              <p:cNvGrpSpPr/>
              <p:nvPr/>
            </p:nvGrpSpPr>
            <p:grpSpPr>
              <a:xfrm>
                <a:off x="8034741" y="1930399"/>
                <a:ext cx="944504" cy="809593"/>
                <a:chOff x="5696016" y="3086100"/>
                <a:chExt cx="800080" cy="685799"/>
              </a:xfrm>
              <a:grpFill/>
            </p:grpSpPr>
            <p:sp>
              <p:nvSpPr>
                <p:cNvPr id="60" name="Vrije vorm: vorm 59">
                  <a:extLst>
                    <a:ext uri="{FF2B5EF4-FFF2-40B4-BE49-F238E27FC236}">
                      <a16:creationId xmlns:a16="http://schemas.microsoft.com/office/drawing/2014/main" id="{0C4F47D9-CDC5-4331-B92D-71A9471635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1" name="Vrije vorm: vorm 60">
                  <a:extLst>
                    <a:ext uri="{FF2B5EF4-FFF2-40B4-BE49-F238E27FC236}">
                      <a16:creationId xmlns:a16="http://schemas.microsoft.com/office/drawing/2014/main" id="{33A585F1-B743-3A69-CBC4-9200C93B878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 name="Groep 53">
                <a:extLst>
                  <a:ext uri="{FF2B5EF4-FFF2-40B4-BE49-F238E27FC236}">
                    <a16:creationId xmlns:a16="http://schemas.microsoft.com/office/drawing/2014/main" id="{EDF734DB-568E-4DB7-E527-883DF308BE6F}"/>
                  </a:ext>
                </a:extLst>
              </p:cNvPr>
              <p:cNvGrpSpPr/>
              <p:nvPr/>
            </p:nvGrpSpPr>
            <p:grpSpPr>
              <a:xfrm>
                <a:off x="9087076" y="1930399"/>
                <a:ext cx="944504" cy="809593"/>
                <a:chOff x="5696016" y="3086100"/>
                <a:chExt cx="800080" cy="685799"/>
              </a:xfrm>
              <a:grpFill/>
            </p:grpSpPr>
            <p:sp>
              <p:nvSpPr>
                <p:cNvPr id="58" name="Vrije vorm: vorm 57">
                  <a:extLst>
                    <a:ext uri="{FF2B5EF4-FFF2-40B4-BE49-F238E27FC236}">
                      <a16:creationId xmlns:a16="http://schemas.microsoft.com/office/drawing/2014/main" id="{99739382-9893-A4F6-72E2-A36D1A8197B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 name="Vrije vorm: vorm 58">
                  <a:extLst>
                    <a:ext uri="{FF2B5EF4-FFF2-40B4-BE49-F238E27FC236}">
                      <a16:creationId xmlns:a16="http://schemas.microsoft.com/office/drawing/2014/main" id="{20A4C56C-3159-5F25-2D63-921876D9E9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 name="Groep 54">
                <a:extLst>
                  <a:ext uri="{FF2B5EF4-FFF2-40B4-BE49-F238E27FC236}">
                    <a16:creationId xmlns:a16="http://schemas.microsoft.com/office/drawing/2014/main" id="{DC74D769-8FE5-1A08-570B-B3D6C9F2D298}"/>
                  </a:ext>
                </a:extLst>
              </p:cNvPr>
              <p:cNvGrpSpPr/>
              <p:nvPr/>
            </p:nvGrpSpPr>
            <p:grpSpPr>
              <a:xfrm>
                <a:off x="10139413" y="1930399"/>
                <a:ext cx="944504" cy="809593"/>
                <a:chOff x="5696016" y="3086100"/>
                <a:chExt cx="800080" cy="685799"/>
              </a:xfrm>
              <a:grpFill/>
            </p:grpSpPr>
            <p:sp>
              <p:nvSpPr>
                <p:cNvPr id="56" name="Vrije vorm: vorm 55">
                  <a:extLst>
                    <a:ext uri="{FF2B5EF4-FFF2-40B4-BE49-F238E27FC236}">
                      <a16:creationId xmlns:a16="http://schemas.microsoft.com/office/drawing/2014/main" id="{F551B22F-1FAF-A449-E687-4D85B66E960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 name="Vrije vorm: vorm 56">
                  <a:extLst>
                    <a:ext uri="{FF2B5EF4-FFF2-40B4-BE49-F238E27FC236}">
                      <a16:creationId xmlns:a16="http://schemas.microsoft.com/office/drawing/2014/main" id="{76C068F9-2353-23EB-85B2-47D8925BC5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5" name="Groep 14">
              <a:extLst>
                <a:ext uri="{FF2B5EF4-FFF2-40B4-BE49-F238E27FC236}">
                  <a16:creationId xmlns:a16="http://schemas.microsoft.com/office/drawing/2014/main" id="{DDFB773F-F90C-C6F5-2DB9-2EE3C2E86C17}"/>
                </a:ext>
              </a:extLst>
            </p:cNvPr>
            <p:cNvGrpSpPr/>
            <p:nvPr/>
          </p:nvGrpSpPr>
          <p:grpSpPr>
            <a:xfrm>
              <a:off x="649432" y="1924901"/>
              <a:ext cx="2409536" cy="187292"/>
              <a:chOff x="668396" y="1930399"/>
              <a:chExt cx="10415521" cy="809593"/>
            </a:xfrm>
            <a:grpFill/>
          </p:grpSpPr>
          <p:grpSp>
            <p:nvGrpSpPr>
              <p:cNvPr id="16" name="Groep 15">
                <a:extLst>
                  <a:ext uri="{FF2B5EF4-FFF2-40B4-BE49-F238E27FC236}">
                    <a16:creationId xmlns:a16="http://schemas.microsoft.com/office/drawing/2014/main" id="{F0513F33-8D4A-DD5D-65AC-14FD3BF074C3}"/>
                  </a:ext>
                </a:extLst>
              </p:cNvPr>
              <p:cNvGrpSpPr/>
              <p:nvPr/>
            </p:nvGrpSpPr>
            <p:grpSpPr>
              <a:xfrm>
                <a:off x="668396" y="1930399"/>
                <a:ext cx="944504" cy="809593"/>
                <a:chOff x="5696016" y="3086100"/>
                <a:chExt cx="800080" cy="685799"/>
              </a:xfrm>
              <a:grpFill/>
            </p:grpSpPr>
            <p:sp>
              <p:nvSpPr>
                <p:cNvPr id="44" name="Vrije vorm: vorm 43">
                  <a:extLst>
                    <a:ext uri="{FF2B5EF4-FFF2-40B4-BE49-F238E27FC236}">
                      <a16:creationId xmlns:a16="http://schemas.microsoft.com/office/drawing/2014/main" id="{BB2963A4-8DC1-EFB0-19ED-B3F030B7035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5" name="Vrije vorm: vorm 44">
                  <a:extLst>
                    <a:ext uri="{FF2B5EF4-FFF2-40B4-BE49-F238E27FC236}">
                      <a16:creationId xmlns:a16="http://schemas.microsoft.com/office/drawing/2014/main" id="{F0EFD09B-9F16-5026-A0AC-4A4816B2976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 name="Groep 16">
                <a:extLst>
                  <a:ext uri="{FF2B5EF4-FFF2-40B4-BE49-F238E27FC236}">
                    <a16:creationId xmlns:a16="http://schemas.microsoft.com/office/drawing/2014/main" id="{07CD165E-7A70-41D4-8D2B-48DD296127B3}"/>
                  </a:ext>
                </a:extLst>
              </p:cNvPr>
              <p:cNvGrpSpPr/>
              <p:nvPr/>
            </p:nvGrpSpPr>
            <p:grpSpPr>
              <a:xfrm>
                <a:off x="1720731" y="1930399"/>
                <a:ext cx="944504" cy="809593"/>
                <a:chOff x="5696016" y="3086100"/>
                <a:chExt cx="800080" cy="685799"/>
              </a:xfrm>
              <a:grpFill/>
            </p:grpSpPr>
            <p:sp>
              <p:nvSpPr>
                <p:cNvPr id="42" name="Vrije vorm: vorm 41">
                  <a:extLst>
                    <a:ext uri="{FF2B5EF4-FFF2-40B4-BE49-F238E27FC236}">
                      <a16:creationId xmlns:a16="http://schemas.microsoft.com/office/drawing/2014/main" id="{72AB11EF-B53A-EA4B-89F7-D5D6AA2AD63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 name="Vrije vorm: vorm 42">
                  <a:extLst>
                    <a:ext uri="{FF2B5EF4-FFF2-40B4-BE49-F238E27FC236}">
                      <a16:creationId xmlns:a16="http://schemas.microsoft.com/office/drawing/2014/main" id="{53BBFC26-4195-2512-EC8E-AAC1D27B8BA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8" name="Groep 17">
                <a:extLst>
                  <a:ext uri="{FF2B5EF4-FFF2-40B4-BE49-F238E27FC236}">
                    <a16:creationId xmlns:a16="http://schemas.microsoft.com/office/drawing/2014/main" id="{17D6B1D2-A3F2-70C0-D1DB-B1FBE13DEF7C}"/>
                  </a:ext>
                </a:extLst>
              </p:cNvPr>
              <p:cNvGrpSpPr/>
              <p:nvPr/>
            </p:nvGrpSpPr>
            <p:grpSpPr>
              <a:xfrm>
                <a:off x="2773066" y="1930399"/>
                <a:ext cx="944504" cy="809593"/>
                <a:chOff x="5696016" y="3086100"/>
                <a:chExt cx="800080" cy="685799"/>
              </a:xfrm>
              <a:grpFill/>
            </p:grpSpPr>
            <p:sp>
              <p:nvSpPr>
                <p:cNvPr id="40" name="Vrije vorm: vorm 39">
                  <a:extLst>
                    <a:ext uri="{FF2B5EF4-FFF2-40B4-BE49-F238E27FC236}">
                      <a16:creationId xmlns:a16="http://schemas.microsoft.com/office/drawing/2014/main" id="{E4E6F517-6C19-17FF-B574-C63DA14390A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 name="Vrije vorm: vorm 40">
                  <a:extLst>
                    <a:ext uri="{FF2B5EF4-FFF2-40B4-BE49-F238E27FC236}">
                      <a16:creationId xmlns:a16="http://schemas.microsoft.com/office/drawing/2014/main" id="{DCE8C69D-DD82-AF38-E37D-35B47E50DF6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 name="Groep 18">
                <a:extLst>
                  <a:ext uri="{FF2B5EF4-FFF2-40B4-BE49-F238E27FC236}">
                    <a16:creationId xmlns:a16="http://schemas.microsoft.com/office/drawing/2014/main" id="{3A57CD7D-059E-2C4A-A56D-93C0FE1CCDD8}"/>
                  </a:ext>
                </a:extLst>
              </p:cNvPr>
              <p:cNvGrpSpPr/>
              <p:nvPr/>
            </p:nvGrpSpPr>
            <p:grpSpPr>
              <a:xfrm>
                <a:off x="3825401" y="1930399"/>
                <a:ext cx="944504" cy="809593"/>
                <a:chOff x="5696016" y="3086100"/>
                <a:chExt cx="800080" cy="685799"/>
              </a:xfrm>
              <a:grpFill/>
            </p:grpSpPr>
            <p:sp>
              <p:nvSpPr>
                <p:cNvPr id="38" name="Vrije vorm: vorm 37">
                  <a:extLst>
                    <a:ext uri="{FF2B5EF4-FFF2-40B4-BE49-F238E27FC236}">
                      <a16:creationId xmlns:a16="http://schemas.microsoft.com/office/drawing/2014/main" id="{52064804-8B73-0AD0-A52F-4965B8B4828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9" name="Vrije vorm: vorm 38">
                  <a:extLst>
                    <a:ext uri="{FF2B5EF4-FFF2-40B4-BE49-F238E27FC236}">
                      <a16:creationId xmlns:a16="http://schemas.microsoft.com/office/drawing/2014/main" id="{82703D87-BA51-891E-8A1A-44C769A6815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 name="Groep 19">
                <a:extLst>
                  <a:ext uri="{FF2B5EF4-FFF2-40B4-BE49-F238E27FC236}">
                    <a16:creationId xmlns:a16="http://schemas.microsoft.com/office/drawing/2014/main" id="{F6886925-1839-9C55-C9E5-628B8B8375CB}"/>
                  </a:ext>
                </a:extLst>
              </p:cNvPr>
              <p:cNvGrpSpPr/>
              <p:nvPr/>
            </p:nvGrpSpPr>
            <p:grpSpPr>
              <a:xfrm>
                <a:off x="4877736" y="1930399"/>
                <a:ext cx="944504" cy="809593"/>
                <a:chOff x="5696016" y="3086100"/>
                <a:chExt cx="800080" cy="685799"/>
              </a:xfrm>
              <a:grpFill/>
            </p:grpSpPr>
            <p:sp>
              <p:nvSpPr>
                <p:cNvPr id="36" name="Vrije vorm: vorm 35">
                  <a:extLst>
                    <a:ext uri="{FF2B5EF4-FFF2-40B4-BE49-F238E27FC236}">
                      <a16:creationId xmlns:a16="http://schemas.microsoft.com/office/drawing/2014/main" id="{07D0D6BF-F1A8-B061-6BB4-2BD9F8AF67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 name="Vrije vorm: vorm 36">
                  <a:extLst>
                    <a:ext uri="{FF2B5EF4-FFF2-40B4-BE49-F238E27FC236}">
                      <a16:creationId xmlns:a16="http://schemas.microsoft.com/office/drawing/2014/main" id="{E391BA4C-DC99-8076-991B-1C9742F63B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 name="Groep 20">
                <a:extLst>
                  <a:ext uri="{FF2B5EF4-FFF2-40B4-BE49-F238E27FC236}">
                    <a16:creationId xmlns:a16="http://schemas.microsoft.com/office/drawing/2014/main" id="{B79B8AD4-2CFC-0BCE-257C-4415682F83E3}"/>
                  </a:ext>
                </a:extLst>
              </p:cNvPr>
              <p:cNvGrpSpPr/>
              <p:nvPr/>
            </p:nvGrpSpPr>
            <p:grpSpPr>
              <a:xfrm>
                <a:off x="5930071" y="1930399"/>
                <a:ext cx="944504" cy="809593"/>
                <a:chOff x="5696016" y="3086100"/>
                <a:chExt cx="800080" cy="685799"/>
              </a:xfrm>
              <a:grpFill/>
            </p:grpSpPr>
            <p:sp>
              <p:nvSpPr>
                <p:cNvPr id="34" name="Vrije vorm: vorm 33">
                  <a:extLst>
                    <a:ext uri="{FF2B5EF4-FFF2-40B4-BE49-F238E27FC236}">
                      <a16:creationId xmlns:a16="http://schemas.microsoft.com/office/drawing/2014/main" id="{851CE2DA-B54F-E92E-81B1-FF8BFA1145B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 name="Vrije vorm: vorm 34">
                  <a:extLst>
                    <a:ext uri="{FF2B5EF4-FFF2-40B4-BE49-F238E27FC236}">
                      <a16:creationId xmlns:a16="http://schemas.microsoft.com/office/drawing/2014/main" id="{5F9D1E2A-BBFA-1890-626C-6C6540298EF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 name="Groep 21">
                <a:extLst>
                  <a:ext uri="{FF2B5EF4-FFF2-40B4-BE49-F238E27FC236}">
                    <a16:creationId xmlns:a16="http://schemas.microsoft.com/office/drawing/2014/main" id="{716BF5BF-B7CD-6A10-D9C7-35F19A9EE481}"/>
                  </a:ext>
                </a:extLst>
              </p:cNvPr>
              <p:cNvGrpSpPr/>
              <p:nvPr/>
            </p:nvGrpSpPr>
            <p:grpSpPr>
              <a:xfrm>
                <a:off x="6982406" y="1930399"/>
                <a:ext cx="944504" cy="809593"/>
                <a:chOff x="5696016" y="3086100"/>
                <a:chExt cx="800080" cy="685799"/>
              </a:xfrm>
              <a:grpFill/>
            </p:grpSpPr>
            <p:sp>
              <p:nvSpPr>
                <p:cNvPr id="32" name="Vrije vorm: vorm 31">
                  <a:extLst>
                    <a:ext uri="{FF2B5EF4-FFF2-40B4-BE49-F238E27FC236}">
                      <a16:creationId xmlns:a16="http://schemas.microsoft.com/office/drawing/2014/main" id="{4E8D680C-695B-99F6-46B2-AC7F3E655CF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3" name="Vrije vorm: vorm 32">
                  <a:extLst>
                    <a:ext uri="{FF2B5EF4-FFF2-40B4-BE49-F238E27FC236}">
                      <a16:creationId xmlns:a16="http://schemas.microsoft.com/office/drawing/2014/main" id="{D5AE1B48-ADED-BF07-E2F6-CE10225188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 name="Groep 22">
                <a:extLst>
                  <a:ext uri="{FF2B5EF4-FFF2-40B4-BE49-F238E27FC236}">
                    <a16:creationId xmlns:a16="http://schemas.microsoft.com/office/drawing/2014/main" id="{F775FC5D-B880-7150-5554-C40F44AB9843}"/>
                  </a:ext>
                </a:extLst>
              </p:cNvPr>
              <p:cNvGrpSpPr/>
              <p:nvPr/>
            </p:nvGrpSpPr>
            <p:grpSpPr>
              <a:xfrm>
                <a:off x="8034741" y="1930399"/>
                <a:ext cx="944504" cy="809593"/>
                <a:chOff x="5696016" y="3086100"/>
                <a:chExt cx="800080" cy="685799"/>
              </a:xfrm>
              <a:grpFill/>
            </p:grpSpPr>
            <p:sp>
              <p:nvSpPr>
                <p:cNvPr id="30" name="Vrije vorm: vorm 29">
                  <a:extLst>
                    <a:ext uri="{FF2B5EF4-FFF2-40B4-BE49-F238E27FC236}">
                      <a16:creationId xmlns:a16="http://schemas.microsoft.com/office/drawing/2014/main" id="{889B60FD-1D9E-7346-A98A-A6F6F126F64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 name="Vrije vorm: vorm 30">
                  <a:extLst>
                    <a:ext uri="{FF2B5EF4-FFF2-40B4-BE49-F238E27FC236}">
                      <a16:creationId xmlns:a16="http://schemas.microsoft.com/office/drawing/2014/main" id="{C4CEA3A7-9931-BB9D-9517-0BDE7CB4148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 name="Groep 23">
                <a:extLst>
                  <a:ext uri="{FF2B5EF4-FFF2-40B4-BE49-F238E27FC236}">
                    <a16:creationId xmlns:a16="http://schemas.microsoft.com/office/drawing/2014/main" id="{86F86797-8536-1BA0-2DE7-E55F33ED2AD5}"/>
                  </a:ext>
                </a:extLst>
              </p:cNvPr>
              <p:cNvGrpSpPr/>
              <p:nvPr/>
            </p:nvGrpSpPr>
            <p:grpSpPr>
              <a:xfrm>
                <a:off x="9087076" y="1930399"/>
                <a:ext cx="944504" cy="809593"/>
                <a:chOff x="5696016" y="3086100"/>
                <a:chExt cx="800080" cy="685799"/>
              </a:xfrm>
              <a:grpFill/>
            </p:grpSpPr>
            <p:sp>
              <p:nvSpPr>
                <p:cNvPr id="28" name="Vrije vorm: vorm 27">
                  <a:extLst>
                    <a:ext uri="{FF2B5EF4-FFF2-40B4-BE49-F238E27FC236}">
                      <a16:creationId xmlns:a16="http://schemas.microsoft.com/office/drawing/2014/main" id="{43B9B066-B9B0-EBF7-3735-DE8EB549B45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 name="Vrije vorm: vorm 28">
                  <a:extLst>
                    <a:ext uri="{FF2B5EF4-FFF2-40B4-BE49-F238E27FC236}">
                      <a16:creationId xmlns:a16="http://schemas.microsoft.com/office/drawing/2014/main" id="{E95D4B15-C08A-C26C-3B0F-8E1418A3EEE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5" name="Groep 24">
                <a:extLst>
                  <a:ext uri="{FF2B5EF4-FFF2-40B4-BE49-F238E27FC236}">
                    <a16:creationId xmlns:a16="http://schemas.microsoft.com/office/drawing/2014/main" id="{3C5E6123-8604-28BE-B373-D0CBEDB2B914}"/>
                  </a:ext>
                </a:extLst>
              </p:cNvPr>
              <p:cNvGrpSpPr/>
              <p:nvPr/>
            </p:nvGrpSpPr>
            <p:grpSpPr>
              <a:xfrm>
                <a:off x="10139413" y="1930399"/>
                <a:ext cx="944504" cy="809593"/>
                <a:chOff x="5696016" y="3086100"/>
                <a:chExt cx="800080" cy="685799"/>
              </a:xfrm>
              <a:grpFill/>
            </p:grpSpPr>
            <p:sp>
              <p:nvSpPr>
                <p:cNvPr id="26" name="Vrije vorm: vorm 25">
                  <a:extLst>
                    <a:ext uri="{FF2B5EF4-FFF2-40B4-BE49-F238E27FC236}">
                      <a16:creationId xmlns:a16="http://schemas.microsoft.com/office/drawing/2014/main" id="{F78E3D01-E153-6487-8A22-AFA6714A623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7" name="Vrije vorm: vorm 26">
                  <a:extLst>
                    <a:ext uri="{FF2B5EF4-FFF2-40B4-BE49-F238E27FC236}">
                      <a16:creationId xmlns:a16="http://schemas.microsoft.com/office/drawing/2014/main" id="{169E1F10-F890-9A04-184B-FD2C96788BC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230" name="Groep 229">
            <a:extLst>
              <a:ext uri="{FF2B5EF4-FFF2-40B4-BE49-F238E27FC236}">
                <a16:creationId xmlns:a16="http://schemas.microsoft.com/office/drawing/2014/main" id="{4114FD2D-0D6F-A4FF-5E44-1851B7B4198C}"/>
              </a:ext>
            </a:extLst>
          </p:cNvPr>
          <p:cNvGrpSpPr/>
          <p:nvPr/>
        </p:nvGrpSpPr>
        <p:grpSpPr>
          <a:xfrm>
            <a:off x="3279583" y="3796569"/>
            <a:ext cx="2590164" cy="1710798"/>
            <a:chOff x="649432" y="520700"/>
            <a:chExt cx="2409536" cy="1591493"/>
          </a:xfrm>
          <a:solidFill>
            <a:schemeClr val="accent2"/>
          </a:solidFill>
        </p:grpSpPr>
        <p:grpSp>
          <p:nvGrpSpPr>
            <p:cNvPr id="231" name="Groep 230">
              <a:extLst>
                <a:ext uri="{FF2B5EF4-FFF2-40B4-BE49-F238E27FC236}">
                  <a16:creationId xmlns:a16="http://schemas.microsoft.com/office/drawing/2014/main" id="{BDFD4F89-C3BE-65F8-2E20-0D7CB09FB551}"/>
                </a:ext>
              </a:extLst>
            </p:cNvPr>
            <p:cNvGrpSpPr/>
            <p:nvPr/>
          </p:nvGrpSpPr>
          <p:grpSpPr>
            <a:xfrm>
              <a:off x="649432" y="520700"/>
              <a:ext cx="2409536" cy="187292"/>
              <a:chOff x="668396" y="1930399"/>
              <a:chExt cx="10415521" cy="809593"/>
            </a:xfrm>
            <a:grpFill/>
          </p:grpSpPr>
          <p:grpSp>
            <p:nvGrpSpPr>
              <p:cNvPr id="418" name="Groep 417">
                <a:extLst>
                  <a:ext uri="{FF2B5EF4-FFF2-40B4-BE49-F238E27FC236}">
                    <a16:creationId xmlns:a16="http://schemas.microsoft.com/office/drawing/2014/main" id="{41032CF2-1C9C-5B41-699F-F81AA6E56702}"/>
                  </a:ext>
                </a:extLst>
              </p:cNvPr>
              <p:cNvGrpSpPr/>
              <p:nvPr/>
            </p:nvGrpSpPr>
            <p:grpSpPr>
              <a:xfrm>
                <a:off x="668396" y="1930399"/>
                <a:ext cx="944504" cy="809593"/>
                <a:chOff x="5696016" y="3086100"/>
                <a:chExt cx="800080" cy="685799"/>
              </a:xfrm>
              <a:grpFill/>
            </p:grpSpPr>
            <p:sp>
              <p:nvSpPr>
                <p:cNvPr id="446" name="Vrije vorm: vorm 445">
                  <a:extLst>
                    <a:ext uri="{FF2B5EF4-FFF2-40B4-BE49-F238E27FC236}">
                      <a16:creationId xmlns:a16="http://schemas.microsoft.com/office/drawing/2014/main" id="{74C8E01A-9109-D94D-37DA-37F6B803860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7" name="Vrije vorm: vorm 446">
                  <a:extLst>
                    <a:ext uri="{FF2B5EF4-FFF2-40B4-BE49-F238E27FC236}">
                      <a16:creationId xmlns:a16="http://schemas.microsoft.com/office/drawing/2014/main" id="{0F60E66D-BA02-876F-D970-18F302A4AC7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19" name="Groep 418">
                <a:extLst>
                  <a:ext uri="{FF2B5EF4-FFF2-40B4-BE49-F238E27FC236}">
                    <a16:creationId xmlns:a16="http://schemas.microsoft.com/office/drawing/2014/main" id="{A7B46D55-0F9C-C32A-DD60-C042AE5C0C5B}"/>
                  </a:ext>
                </a:extLst>
              </p:cNvPr>
              <p:cNvGrpSpPr/>
              <p:nvPr/>
            </p:nvGrpSpPr>
            <p:grpSpPr>
              <a:xfrm>
                <a:off x="1720731" y="1930399"/>
                <a:ext cx="944504" cy="809593"/>
                <a:chOff x="5696016" y="3086100"/>
                <a:chExt cx="800080" cy="685799"/>
              </a:xfrm>
              <a:grpFill/>
            </p:grpSpPr>
            <p:sp>
              <p:nvSpPr>
                <p:cNvPr id="444" name="Vrije vorm: vorm 443">
                  <a:extLst>
                    <a:ext uri="{FF2B5EF4-FFF2-40B4-BE49-F238E27FC236}">
                      <a16:creationId xmlns:a16="http://schemas.microsoft.com/office/drawing/2014/main" id="{EDED3F77-EA8A-36A4-9590-6736DA56445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5" name="Vrije vorm: vorm 444">
                  <a:extLst>
                    <a:ext uri="{FF2B5EF4-FFF2-40B4-BE49-F238E27FC236}">
                      <a16:creationId xmlns:a16="http://schemas.microsoft.com/office/drawing/2014/main" id="{93368C46-5209-E227-981C-4398927559E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0" name="Groep 419">
                <a:extLst>
                  <a:ext uri="{FF2B5EF4-FFF2-40B4-BE49-F238E27FC236}">
                    <a16:creationId xmlns:a16="http://schemas.microsoft.com/office/drawing/2014/main" id="{E4B3703E-8484-5D3D-E827-149FDFECFEF7}"/>
                  </a:ext>
                </a:extLst>
              </p:cNvPr>
              <p:cNvGrpSpPr/>
              <p:nvPr/>
            </p:nvGrpSpPr>
            <p:grpSpPr>
              <a:xfrm>
                <a:off x="2773066" y="1930399"/>
                <a:ext cx="944504" cy="809593"/>
                <a:chOff x="5696016" y="3086100"/>
                <a:chExt cx="800080" cy="685799"/>
              </a:xfrm>
              <a:grpFill/>
            </p:grpSpPr>
            <p:sp>
              <p:nvSpPr>
                <p:cNvPr id="442" name="Vrije vorm: vorm 441">
                  <a:extLst>
                    <a:ext uri="{FF2B5EF4-FFF2-40B4-BE49-F238E27FC236}">
                      <a16:creationId xmlns:a16="http://schemas.microsoft.com/office/drawing/2014/main" id="{3C36D665-BA23-62E7-198B-93DA20BD77D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3" name="Vrije vorm: vorm 442">
                  <a:extLst>
                    <a:ext uri="{FF2B5EF4-FFF2-40B4-BE49-F238E27FC236}">
                      <a16:creationId xmlns:a16="http://schemas.microsoft.com/office/drawing/2014/main" id="{BA42A07C-BC10-30C7-7209-BA3D242AD6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1" name="Groep 420">
                <a:extLst>
                  <a:ext uri="{FF2B5EF4-FFF2-40B4-BE49-F238E27FC236}">
                    <a16:creationId xmlns:a16="http://schemas.microsoft.com/office/drawing/2014/main" id="{688CA646-8927-1A0E-E929-AC0F4CB91FCE}"/>
                  </a:ext>
                </a:extLst>
              </p:cNvPr>
              <p:cNvGrpSpPr/>
              <p:nvPr/>
            </p:nvGrpSpPr>
            <p:grpSpPr>
              <a:xfrm>
                <a:off x="3825401" y="1930399"/>
                <a:ext cx="944504" cy="809593"/>
                <a:chOff x="5696016" y="3086100"/>
                <a:chExt cx="800080" cy="685799"/>
              </a:xfrm>
              <a:grpFill/>
            </p:grpSpPr>
            <p:sp>
              <p:nvSpPr>
                <p:cNvPr id="440" name="Vrije vorm: vorm 439">
                  <a:extLst>
                    <a:ext uri="{FF2B5EF4-FFF2-40B4-BE49-F238E27FC236}">
                      <a16:creationId xmlns:a16="http://schemas.microsoft.com/office/drawing/2014/main" id="{F544546A-7DB0-B423-4321-F1675EBE654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41" name="Vrije vorm: vorm 440">
                  <a:extLst>
                    <a:ext uri="{FF2B5EF4-FFF2-40B4-BE49-F238E27FC236}">
                      <a16:creationId xmlns:a16="http://schemas.microsoft.com/office/drawing/2014/main" id="{1952C348-57C6-72BF-3AA5-0A9441E0F7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2" name="Groep 421">
                <a:extLst>
                  <a:ext uri="{FF2B5EF4-FFF2-40B4-BE49-F238E27FC236}">
                    <a16:creationId xmlns:a16="http://schemas.microsoft.com/office/drawing/2014/main" id="{603E962F-D27C-5D45-D3A4-64EE025C8EF7}"/>
                  </a:ext>
                </a:extLst>
              </p:cNvPr>
              <p:cNvGrpSpPr/>
              <p:nvPr/>
            </p:nvGrpSpPr>
            <p:grpSpPr>
              <a:xfrm>
                <a:off x="4877736" y="1930399"/>
                <a:ext cx="944504" cy="809593"/>
                <a:chOff x="5696016" y="3086100"/>
                <a:chExt cx="800080" cy="685799"/>
              </a:xfrm>
              <a:grpFill/>
            </p:grpSpPr>
            <p:sp>
              <p:nvSpPr>
                <p:cNvPr id="438" name="Vrije vorm: vorm 437">
                  <a:extLst>
                    <a:ext uri="{FF2B5EF4-FFF2-40B4-BE49-F238E27FC236}">
                      <a16:creationId xmlns:a16="http://schemas.microsoft.com/office/drawing/2014/main" id="{B4CCDC3E-6FA9-ECDC-F9F0-AF0FA825C02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9" name="Vrije vorm: vorm 438">
                  <a:extLst>
                    <a:ext uri="{FF2B5EF4-FFF2-40B4-BE49-F238E27FC236}">
                      <a16:creationId xmlns:a16="http://schemas.microsoft.com/office/drawing/2014/main" id="{3891EE73-70E7-8CCB-26D8-11F2B5B2142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3" name="Groep 422">
                <a:extLst>
                  <a:ext uri="{FF2B5EF4-FFF2-40B4-BE49-F238E27FC236}">
                    <a16:creationId xmlns:a16="http://schemas.microsoft.com/office/drawing/2014/main" id="{C03FDAD0-B9CE-2781-8981-76C020D2C6A4}"/>
                  </a:ext>
                </a:extLst>
              </p:cNvPr>
              <p:cNvGrpSpPr/>
              <p:nvPr/>
            </p:nvGrpSpPr>
            <p:grpSpPr>
              <a:xfrm>
                <a:off x="5930071" y="1930399"/>
                <a:ext cx="944504" cy="809593"/>
                <a:chOff x="5696016" y="3086100"/>
                <a:chExt cx="800080" cy="685799"/>
              </a:xfrm>
              <a:grpFill/>
            </p:grpSpPr>
            <p:sp>
              <p:nvSpPr>
                <p:cNvPr id="436" name="Vrije vorm: vorm 435">
                  <a:extLst>
                    <a:ext uri="{FF2B5EF4-FFF2-40B4-BE49-F238E27FC236}">
                      <a16:creationId xmlns:a16="http://schemas.microsoft.com/office/drawing/2014/main" id="{9959D621-83BD-0920-1285-5E66DEB3BD6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7" name="Vrije vorm: vorm 436">
                  <a:extLst>
                    <a:ext uri="{FF2B5EF4-FFF2-40B4-BE49-F238E27FC236}">
                      <a16:creationId xmlns:a16="http://schemas.microsoft.com/office/drawing/2014/main" id="{1C713BC2-C194-F114-5F85-9E83F90BD92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4" name="Groep 423">
                <a:extLst>
                  <a:ext uri="{FF2B5EF4-FFF2-40B4-BE49-F238E27FC236}">
                    <a16:creationId xmlns:a16="http://schemas.microsoft.com/office/drawing/2014/main" id="{75930592-815D-4BA8-D90B-C0FC8FD990CE}"/>
                  </a:ext>
                </a:extLst>
              </p:cNvPr>
              <p:cNvGrpSpPr/>
              <p:nvPr/>
            </p:nvGrpSpPr>
            <p:grpSpPr>
              <a:xfrm>
                <a:off x="6982406" y="1930399"/>
                <a:ext cx="944504" cy="809593"/>
                <a:chOff x="5696016" y="3086100"/>
                <a:chExt cx="800080" cy="685799"/>
              </a:xfrm>
              <a:grpFill/>
            </p:grpSpPr>
            <p:sp>
              <p:nvSpPr>
                <p:cNvPr id="434" name="Vrije vorm: vorm 433">
                  <a:extLst>
                    <a:ext uri="{FF2B5EF4-FFF2-40B4-BE49-F238E27FC236}">
                      <a16:creationId xmlns:a16="http://schemas.microsoft.com/office/drawing/2014/main" id="{322F070E-E7DA-6AD9-22BE-4232E27C3CD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5" name="Vrije vorm: vorm 434">
                  <a:extLst>
                    <a:ext uri="{FF2B5EF4-FFF2-40B4-BE49-F238E27FC236}">
                      <a16:creationId xmlns:a16="http://schemas.microsoft.com/office/drawing/2014/main" id="{2AF624EB-5FCD-46B8-8DA8-FF210D78B2C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5" name="Groep 424">
                <a:extLst>
                  <a:ext uri="{FF2B5EF4-FFF2-40B4-BE49-F238E27FC236}">
                    <a16:creationId xmlns:a16="http://schemas.microsoft.com/office/drawing/2014/main" id="{D79FD506-D8D8-399D-ED7A-489A63F1B6AA}"/>
                  </a:ext>
                </a:extLst>
              </p:cNvPr>
              <p:cNvGrpSpPr/>
              <p:nvPr/>
            </p:nvGrpSpPr>
            <p:grpSpPr>
              <a:xfrm>
                <a:off x="8034741" y="1930399"/>
                <a:ext cx="944504" cy="809593"/>
                <a:chOff x="5696016" y="3086100"/>
                <a:chExt cx="800080" cy="685799"/>
              </a:xfrm>
              <a:grpFill/>
            </p:grpSpPr>
            <p:sp>
              <p:nvSpPr>
                <p:cNvPr id="432" name="Vrije vorm: vorm 431">
                  <a:extLst>
                    <a:ext uri="{FF2B5EF4-FFF2-40B4-BE49-F238E27FC236}">
                      <a16:creationId xmlns:a16="http://schemas.microsoft.com/office/drawing/2014/main" id="{E302B880-74FA-C90A-0B7A-FA60804D8A0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3" name="Vrije vorm: vorm 432">
                  <a:extLst>
                    <a:ext uri="{FF2B5EF4-FFF2-40B4-BE49-F238E27FC236}">
                      <a16:creationId xmlns:a16="http://schemas.microsoft.com/office/drawing/2014/main" id="{650241E0-9916-8A81-6BB4-DB746947A7D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6" name="Groep 425">
                <a:extLst>
                  <a:ext uri="{FF2B5EF4-FFF2-40B4-BE49-F238E27FC236}">
                    <a16:creationId xmlns:a16="http://schemas.microsoft.com/office/drawing/2014/main" id="{5BE21725-205D-966B-84F1-521B4E026135}"/>
                  </a:ext>
                </a:extLst>
              </p:cNvPr>
              <p:cNvGrpSpPr/>
              <p:nvPr/>
            </p:nvGrpSpPr>
            <p:grpSpPr>
              <a:xfrm>
                <a:off x="9087076" y="1930399"/>
                <a:ext cx="944504" cy="809593"/>
                <a:chOff x="5696016" y="3086100"/>
                <a:chExt cx="800080" cy="685799"/>
              </a:xfrm>
              <a:grpFill/>
            </p:grpSpPr>
            <p:sp>
              <p:nvSpPr>
                <p:cNvPr id="430" name="Vrije vorm: vorm 429">
                  <a:extLst>
                    <a:ext uri="{FF2B5EF4-FFF2-40B4-BE49-F238E27FC236}">
                      <a16:creationId xmlns:a16="http://schemas.microsoft.com/office/drawing/2014/main" id="{33AD4D09-4EB5-06A2-639F-3B1F8647B44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31" name="Vrije vorm: vorm 430">
                  <a:extLst>
                    <a:ext uri="{FF2B5EF4-FFF2-40B4-BE49-F238E27FC236}">
                      <a16:creationId xmlns:a16="http://schemas.microsoft.com/office/drawing/2014/main" id="{262792B7-9820-50A0-A0DD-B91073CFD3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27" name="Groep 426">
                <a:extLst>
                  <a:ext uri="{FF2B5EF4-FFF2-40B4-BE49-F238E27FC236}">
                    <a16:creationId xmlns:a16="http://schemas.microsoft.com/office/drawing/2014/main" id="{C8082A7B-4E9A-9A97-1FC1-EE2D961276A5}"/>
                  </a:ext>
                </a:extLst>
              </p:cNvPr>
              <p:cNvGrpSpPr/>
              <p:nvPr/>
            </p:nvGrpSpPr>
            <p:grpSpPr>
              <a:xfrm>
                <a:off x="10139413" y="1930399"/>
                <a:ext cx="944504" cy="809593"/>
                <a:chOff x="5696016" y="3086100"/>
                <a:chExt cx="800080" cy="685799"/>
              </a:xfrm>
              <a:grpFill/>
            </p:grpSpPr>
            <p:sp>
              <p:nvSpPr>
                <p:cNvPr id="428" name="Vrije vorm: vorm 427">
                  <a:extLst>
                    <a:ext uri="{FF2B5EF4-FFF2-40B4-BE49-F238E27FC236}">
                      <a16:creationId xmlns:a16="http://schemas.microsoft.com/office/drawing/2014/main" id="{980D67AB-A342-589C-64D6-1A04EEDEB8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29" name="Vrije vorm: vorm 428">
                  <a:extLst>
                    <a:ext uri="{FF2B5EF4-FFF2-40B4-BE49-F238E27FC236}">
                      <a16:creationId xmlns:a16="http://schemas.microsoft.com/office/drawing/2014/main" id="{44EA910B-6D35-10B6-9C4E-03F48437DD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2" name="Groep 231">
              <a:extLst>
                <a:ext uri="{FF2B5EF4-FFF2-40B4-BE49-F238E27FC236}">
                  <a16:creationId xmlns:a16="http://schemas.microsoft.com/office/drawing/2014/main" id="{939F49D7-1466-D0C5-3237-0866F307FC5E}"/>
                </a:ext>
              </a:extLst>
            </p:cNvPr>
            <p:cNvGrpSpPr/>
            <p:nvPr/>
          </p:nvGrpSpPr>
          <p:grpSpPr>
            <a:xfrm>
              <a:off x="649432" y="754734"/>
              <a:ext cx="2409536" cy="187292"/>
              <a:chOff x="668396" y="1930399"/>
              <a:chExt cx="10415521" cy="809593"/>
            </a:xfrm>
            <a:grpFill/>
          </p:grpSpPr>
          <p:grpSp>
            <p:nvGrpSpPr>
              <p:cNvPr id="388" name="Groep 387">
                <a:extLst>
                  <a:ext uri="{FF2B5EF4-FFF2-40B4-BE49-F238E27FC236}">
                    <a16:creationId xmlns:a16="http://schemas.microsoft.com/office/drawing/2014/main" id="{742D476D-AC0A-3D7F-DE03-F1BF9E00EE1E}"/>
                  </a:ext>
                </a:extLst>
              </p:cNvPr>
              <p:cNvGrpSpPr/>
              <p:nvPr/>
            </p:nvGrpSpPr>
            <p:grpSpPr>
              <a:xfrm>
                <a:off x="668396" y="1930399"/>
                <a:ext cx="944504" cy="809593"/>
                <a:chOff x="5696016" y="3086100"/>
                <a:chExt cx="800080" cy="685799"/>
              </a:xfrm>
              <a:grpFill/>
            </p:grpSpPr>
            <p:sp>
              <p:nvSpPr>
                <p:cNvPr id="416" name="Vrije vorm: vorm 415">
                  <a:extLst>
                    <a:ext uri="{FF2B5EF4-FFF2-40B4-BE49-F238E27FC236}">
                      <a16:creationId xmlns:a16="http://schemas.microsoft.com/office/drawing/2014/main" id="{8603E229-0B20-6725-D566-4CF7F9A89BC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7" name="Vrije vorm: vorm 416">
                  <a:extLst>
                    <a:ext uri="{FF2B5EF4-FFF2-40B4-BE49-F238E27FC236}">
                      <a16:creationId xmlns:a16="http://schemas.microsoft.com/office/drawing/2014/main" id="{C36707C1-A950-E5F8-FED2-76CB75A26F4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89" name="Groep 388">
                <a:extLst>
                  <a:ext uri="{FF2B5EF4-FFF2-40B4-BE49-F238E27FC236}">
                    <a16:creationId xmlns:a16="http://schemas.microsoft.com/office/drawing/2014/main" id="{63C639C3-E5AD-8D43-33DF-F9F0F43AF671}"/>
                  </a:ext>
                </a:extLst>
              </p:cNvPr>
              <p:cNvGrpSpPr/>
              <p:nvPr/>
            </p:nvGrpSpPr>
            <p:grpSpPr>
              <a:xfrm>
                <a:off x="1720731" y="1930399"/>
                <a:ext cx="944504" cy="809593"/>
                <a:chOff x="5696016" y="3086100"/>
                <a:chExt cx="800080" cy="685799"/>
              </a:xfrm>
              <a:grpFill/>
            </p:grpSpPr>
            <p:sp>
              <p:nvSpPr>
                <p:cNvPr id="414" name="Vrije vorm: vorm 413">
                  <a:extLst>
                    <a:ext uri="{FF2B5EF4-FFF2-40B4-BE49-F238E27FC236}">
                      <a16:creationId xmlns:a16="http://schemas.microsoft.com/office/drawing/2014/main" id="{7490E06F-DB96-9540-48B4-9ED23B48CC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5" name="Vrije vorm: vorm 414">
                  <a:extLst>
                    <a:ext uri="{FF2B5EF4-FFF2-40B4-BE49-F238E27FC236}">
                      <a16:creationId xmlns:a16="http://schemas.microsoft.com/office/drawing/2014/main" id="{F353A1D8-511C-19CC-5B93-90ABAE56C3E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0" name="Groep 389">
                <a:extLst>
                  <a:ext uri="{FF2B5EF4-FFF2-40B4-BE49-F238E27FC236}">
                    <a16:creationId xmlns:a16="http://schemas.microsoft.com/office/drawing/2014/main" id="{CBC37C6C-68DC-7014-2929-F9173473E3AD}"/>
                  </a:ext>
                </a:extLst>
              </p:cNvPr>
              <p:cNvGrpSpPr/>
              <p:nvPr/>
            </p:nvGrpSpPr>
            <p:grpSpPr>
              <a:xfrm>
                <a:off x="2773066" y="1930399"/>
                <a:ext cx="944504" cy="809593"/>
                <a:chOff x="5696016" y="3086100"/>
                <a:chExt cx="800080" cy="685799"/>
              </a:xfrm>
              <a:grpFill/>
            </p:grpSpPr>
            <p:sp>
              <p:nvSpPr>
                <p:cNvPr id="412" name="Vrije vorm: vorm 411">
                  <a:extLst>
                    <a:ext uri="{FF2B5EF4-FFF2-40B4-BE49-F238E27FC236}">
                      <a16:creationId xmlns:a16="http://schemas.microsoft.com/office/drawing/2014/main" id="{B8286EC8-CF3C-4F56-FE74-E55BFA7A000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3" name="Vrije vorm: vorm 412">
                  <a:extLst>
                    <a:ext uri="{FF2B5EF4-FFF2-40B4-BE49-F238E27FC236}">
                      <a16:creationId xmlns:a16="http://schemas.microsoft.com/office/drawing/2014/main" id="{33C247E0-1EFE-052F-9DC6-6C364BC87BC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1" name="Groep 390">
                <a:extLst>
                  <a:ext uri="{FF2B5EF4-FFF2-40B4-BE49-F238E27FC236}">
                    <a16:creationId xmlns:a16="http://schemas.microsoft.com/office/drawing/2014/main" id="{A28FA71F-937B-75CE-920C-AF75E6C51159}"/>
                  </a:ext>
                </a:extLst>
              </p:cNvPr>
              <p:cNvGrpSpPr/>
              <p:nvPr/>
            </p:nvGrpSpPr>
            <p:grpSpPr>
              <a:xfrm>
                <a:off x="3825401" y="1930399"/>
                <a:ext cx="944504" cy="809593"/>
                <a:chOff x="5696016" y="3086100"/>
                <a:chExt cx="800080" cy="685799"/>
              </a:xfrm>
              <a:grpFill/>
            </p:grpSpPr>
            <p:sp>
              <p:nvSpPr>
                <p:cNvPr id="410" name="Vrije vorm: vorm 409">
                  <a:extLst>
                    <a:ext uri="{FF2B5EF4-FFF2-40B4-BE49-F238E27FC236}">
                      <a16:creationId xmlns:a16="http://schemas.microsoft.com/office/drawing/2014/main" id="{52970562-2EA4-2E18-5918-9E19130A7AD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11" name="Vrije vorm: vorm 410">
                  <a:extLst>
                    <a:ext uri="{FF2B5EF4-FFF2-40B4-BE49-F238E27FC236}">
                      <a16:creationId xmlns:a16="http://schemas.microsoft.com/office/drawing/2014/main" id="{57074425-DCE4-6487-C47F-C7A6BD95D50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2" name="Groep 391">
                <a:extLst>
                  <a:ext uri="{FF2B5EF4-FFF2-40B4-BE49-F238E27FC236}">
                    <a16:creationId xmlns:a16="http://schemas.microsoft.com/office/drawing/2014/main" id="{D7497852-921E-1D86-02B6-9E4EDA08C9E3}"/>
                  </a:ext>
                </a:extLst>
              </p:cNvPr>
              <p:cNvGrpSpPr/>
              <p:nvPr/>
            </p:nvGrpSpPr>
            <p:grpSpPr>
              <a:xfrm>
                <a:off x="4877736" y="1930399"/>
                <a:ext cx="944504" cy="809593"/>
                <a:chOff x="5696016" y="3086100"/>
                <a:chExt cx="800080" cy="685799"/>
              </a:xfrm>
              <a:grpFill/>
            </p:grpSpPr>
            <p:sp>
              <p:nvSpPr>
                <p:cNvPr id="408" name="Vrije vorm: vorm 407">
                  <a:extLst>
                    <a:ext uri="{FF2B5EF4-FFF2-40B4-BE49-F238E27FC236}">
                      <a16:creationId xmlns:a16="http://schemas.microsoft.com/office/drawing/2014/main" id="{C535D9B9-8B7C-3E04-7301-B1746D2E416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9" name="Vrije vorm: vorm 408">
                  <a:extLst>
                    <a:ext uri="{FF2B5EF4-FFF2-40B4-BE49-F238E27FC236}">
                      <a16:creationId xmlns:a16="http://schemas.microsoft.com/office/drawing/2014/main" id="{F3093199-CD89-E9E6-15E7-9AD72614080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3" name="Groep 392">
                <a:extLst>
                  <a:ext uri="{FF2B5EF4-FFF2-40B4-BE49-F238E27FC236}">
                    <a16:creationId xmlns:a16="http://schemas.microsoft.com/office/drawing/2014/main" id="{36E9E31D-459F-0A61-4293-C47D4B612BC4}"/>
                  </a:ext>
                </a:extLst>
              </p:cNvPr>
              <p:cNvGrpSpPr/>
              <p:nvPr/>
            </p:nvGrpSpPr>
            <p:grpSpPr>
              <a:xfrm>
                <a:off x="5930071" y="1930399"/>
                <a:ext cx="944504" cy="809593"/>
                <a:chOff x="5696016" y="3086100"/>
                <a:chExt cx="800080" cy="685799"/>
              </a:xfrm>
              <a:grpFill/>
            </p:grpSpPr>
            <p:sp>
              <p:nvSpPr>
                <p:cNvPr id="406" name="Vrije vorm: vorm 405">
                  <a:extLst>
                    <a:ext uri="{FF2B5EF4-FFF2-40B4-BE49-F238E27FC236}">
                      <a16:creationId xmlns:a16="http://schemas.microsoft.com/office/drawing/2014/main" id="{02A1630D-BFB1-A2E7-BE8B-1872ED7E658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7" name="Vrije vorm: vorm 406">
                  <a:extLst>
                    <a:ext uri="{FF2B5EF4-FFF2-40B4-BE49-F238E27FC236}">
                      <a16:creationId xmlns:a16="http://schemas.microsoft.com/office/drawing/2014/main" id="{358D20DF-D2B8-B040-23A9-753993B23B2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4" name="Groep 393">
                <a:extLst>
                  <a:ext uri="{FF2B5EF4-FFF2-40B4-BE49-F238E27FC236}">
                    <a16:creationId xmlns:a16="http://schemas.microsoft.com/office/drawing/2014/main" id="{6E0C7B4F-A753-DD68-1836-688924FA869E}"/>
                  </a:ext>
                </a:extLst>
              </p:cNvPr>
              <p:cNvGrpSpPr/>
              <p:nvPr/>
            </p:nvGrpSpPr>
            <p:grpSpPr>
              <a:xfrm>
                <a:off x="6982406" y="1930399"/>
                <a:ext cx="944504" cy="809593"/>
                <a:chOff x="5696016" y="3086100"/>
                <a:chExt cx="800080" cy="685799"/>
              </a:xfrm>
              <a:grpFill/>
            </p:grpSpPr>
            <p:sp>
              <p:nvSpPr>
                <p:cNvPr id="404" name="Vrije vorm: vorm 403">
                  <a:extLst>
                    <a:ext uri="{FF2B5EF4-FFF2-40B4-BE49-F238E27FC236}">
                      <a16:creationId xmlns:a16="http://schemas.microsoft.com/office/drawing/2014/main" id="{18C7E23D-85CE-DDF6-BD34-105C54DDBE2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5" name="Vrije vorm: vorm 404">
                  <a:extLst>
                    <a:ext uri="{FF2B5EF4-FFF2-40B4-BE49-F238E27FC236}">
                      <a16:creationId xmlns:a16="http://schemas.microsoft.com/office/drawing/2014/main" id="{E08E8D56-A22F-B4D5-EA3D-E8BCC9DDFF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5" name="Groep 394">
                <a:extLst>
                  <a:ext uri="{FF2B5EF4-FFF2-40B4-BE49-F238E27FC236}">
                    <a16:creationId xmlns:a16="http://schemas.microsoft.com/office/drawing/2014/main" id="{D14EF91E-FF59-DCC8-90E3-AB7D2B29E9AD}"/>
                  </a:ext>
                </a:extLst>
              </p:cNvPr>
              <p:cNvGrpSpPr/>
              <p:nvPr/>
            </p:nvGrpSpPr>
            <p:grpSpPr>
              <a:xfrm>
                <a:off x="8034741" y="1930399"/>
                <a:ext cx="944504" cy="809593"/>
                <a:chOff x="5696016" y="3086100"/>
                <a:chExt cx="800080" cy="685799"/>
              </a:xfrm>
              <a:grpFill/>
            </p:grpSpPr>
            <p:sp>
              <p:nvSpPr>
                <p:cNvPr id="402" name="Vrije vorm: vorm 401">
                  <a:extLst>
                    <a:ext uri="{FF2B5EF4-FFF2-40B4-BE49-F238E27FC236}">
                      <a16:creationId xmlns:a16="http://schemas.microsoft.com/office/drawing/2014/main" id="{97E0FC6B-319A-1E01-55BE-85CD4B1D12D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3" name="Vrije vorm: vorm 402">
                  <a:extLst>
                    <a:ext uri="{FF2B5EF4-FFF2-40B4-BE49-F238E27FC236}">
                      <a16:creationId xmlns:a16="http://schemas.microsoft.com/office/drawing/2014/main" id="{17D456EC-3AFF-353D-ABAA-B5E324CED9D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6" name="Groep 395">
                <a:extLst>
                  <a:ext uri="{FF2B5EF4-FFF2-40B4-BE49-F238E27FC236}">
                    <a16:creationId xmlns:a16="http://schemas.microsoft.com/office/drawing/2014/main" id="{6CBB9FC8-117E-5D24-4812-408109B2B951}"/>
                  </a:ext>
                </a:extLst>
              </p:cNvPr>
              <p:cNvGrpSpPr/>
              <p:nvPr/>
            </p:nvGrpSpPr>
            <p:grpSpPr>
              <a:xfrm>
                <a:off x="9087076" y="1930399"/>
                <a:ext cx="944504" cy="809593"/>
                <a:chOff x="5696016" y="3086100"/>
                <a:chExt cx="800080" cy="685799"/>
              </a:xfrm>
              <a:grpFill/>
            </p:grpSpPr>
            <p:sp>
              <p:nvSpPr>
                <p:cNvPr id="400" name="Vrije vorm: vorm 399">
                  <a:extLst>
                    <a:ext uri="{FF2B5EF4-FFF2-40B4-BE49-F238E27FC236}">
                      <a16:creationId xmlns:a16="http://schemas.microsoft.com/office/drawing/2014/main" id="{FB1F90F8-0F84-D8D9-6F3D-D910263459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01" name="Vrije vorm: vorm 400">
                  <a:extLst>
                    <a:ext uri="{FF2B5EF4-FFF2-40B4-BE49-F238E27FC236}">
                      <a16:creationId xmlns:a16="http://schemas.microsoft.com/office/drawing/2014/main" id="{9F7F031D-F2AF-24EB-A7AD-01361BA54F6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97" name="Groep 396">
                <a:extLst>
                  <a:ext uri="{FF2B5EF4-FFF2-40B4-BE49-F238E27FC236}">
                    <a16:creationId xmlns:a16="http://schemas.microsoft.com/office/drawing/2014/main" id="{310E218F-ECA1-BC64-8DD5-F844547023AB}"/>
                  </a:ext>
                </a:extLst>
              </p:cNvPr>
              <p:cNvGrpSpPr/>
              <p:nvPr/>
            </p:nvGrpSpPr>
            <p:grpSpPr>
              <a:xfrm>
                <a:off x="10139413" y="1930399"/>
                <a:ext cx="944504" cy="809593"/>
                <a:chOff x="5696016" y="3086100"/>
                <a:chExt cx="800080" cy="685799"/>
              </a:xfrm>
              <a:grpFill/>
            </p:grpSpPr>
            <p:sp>
              <p:nvSpPr>
                <p:cNvPr id="398" name="Vrije vorm: vorm 397">
                  <a:extLst>
                    <a:ext uri="{FF2B5EF4-FFF2-40B4-BE49-F238E27FC236}">
                      <a16:creationId xmlns:a16="http://schemas.microsoft.com/office/drawing/2014/main" id="{EA5C3190-AD72-F197-5D98-2214641B8D3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99" name="Vrije vorm: vorm 398">
                  <a:extLst>
                    <a:ext uri="{FF2B5EF4-FFF2-40B4-BE49-F238E27FC236}">
                      <a16:creationId xmlns:a16="http://schemas.microsoft.com/office/drawing/2014/main" id="{CF3DEE96-F1E1-599B-8E32-93A2DE37627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3" name="Groep 232">
              <a:extLst>
                <a:ext uri="{FF2B5EF4-FFF2-40B4-BE49-F238E27FC236}">
                  <a16:creationId xmlns:a16="http://schemas.microsoft.com/office/drawing/2014/main" id="{84C340F8-EC3F-E560-4F36-467CB75649C2}"/>
                </a:ext>
              </a:extLst>
            </p:cNvPr>
            <p:cNvGrpSpPr/>
            <p:nvPr/>
          </p:nvGrpSpPr>
          <p:grpSpPr>
            <a:xfrm>
              <a:off x="649432" y="988768"/>
              <a:ext cx="2409536" cy="187292"/>
              <a:chOff x="668396" y="1930399"/>
              <a:chExt cx="10415521" cy="809593"/>
            </a:xfrm>
            <a:grpFill/>
          </p:grpSpPr>
          <p:grpSp>
            <p:nvGrpSpPr>
              <p:cNvPr id="358" name="Groep 357">
                <a:extLst>
                  <a:ext uri="{FF2B5EF4-FFF2-40B4-BE49-F238E27FC236}">
                    <a16:creationId xmlns:a16="http://schemas.microsoft.com/office/drawing/2014/main" id="{CAF757A5-72A4-F9B8-8DEA-75CBFF194EC3}"/>
                  </a:ext>
                </a:extLst>
              </p:cNvPr>
              <p:cNvGrpSpPr/>
              <p:nvPr/>
            </p:nvGrpSpPr>
            <p:grpSpPr>
              <a:xfrm>
                <a:off x="668396" y="1930399"/>
                <a:ext cx="944504" cy="809593"/>
                <a:chOff x="5696016" y="3086100"/>
                <a:chExt cx="800080" cy="685799"/>
              </a:xfrm>
              <a:grpFill/>
            </p:grpSpPr>
            <p:sp>
              <p:nvSpPr>
                <p:cNvPr id="386" name="Vrije vorm: vorm 385">
                  <a:extLst>
                    <a:ext uri="{FF2B5EF4-FFF2-40B4-BE49-F238E27FC236}">
                      <a16:creationId xmlns:a16="http://schemas.microsoft.com/office/drawing/2014/main" id="{F287093A-33A4-4A8F-E06D-642439E4B3A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7" name="Vrije vorm: vorm 386">
                  <a:extLst>
                    <a:ext uri="{FF2B5EF4-FFF2-40B4-BE49-F238E27FC236}">
                      <a16:creationId xmlns:a16="http://schemas.microsoft.com/office/drawing/2014/main" id="{02638E11-7675-4E78-6E65-7146DD537F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59" name="Groep 358">
                <a:extLst>
                  <a:ext uri="{FF2B5EF4-FFF2-40B4-BE49-F238E27FC236}">
                    <a16:creationId xmlns:a16="http://schemas.microsoft.com/office/drawing/2014/main" id="{0D83731B-FBFC-A5F6-AEC9-3890624CF7B7}"/>
                  </a:ext>
                </a:extLst>
              </p:cNvPr>
              <p:cNvGrpSpPr/>
              <p:nvPr/>
            </p:nvGrpSpPr>
            <p:grpSpPr>
              <a:xfrm>
                <a:off x="1720731" y="1930399"/>
                <a:ext cx="944504" cy="809593"/>
                <a:chOff x="5696016" y="3086100"/>
                <a:chExt cx="800080" cy="685799"/>
              </a:xfrm>
              <a:grpFill/>
            </p:grpSpPr>
            <p:sp>
              <p:nvSpPr>
                <p:cNvPr id="384" name="Vrije vorm: vorm 383">
                  <a:extLst>
                    <a:ext uri="{FF2B5EF4-FFF2-40B4-BE49-F238E27FC236}">
                      <a16:creationId xmlns:a16="http://schemas.microsoft.com/office/drawing/2014/main" id="{EB51A2A7-4532-A9E7-8ED1-482CE51E0B4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5" name="Vrije vorm: vorm 384">
                  <a:extLst>
                    <a:ext uri="{FF2B5EF4-FFF2-40B4-BE49-F238E27FC236}">
                      <a16:creationId xmlns:a16="http://schemas.microsoft.com/office/drawing/2014/main" id="{A153F551-2069-8520-1CA9-0714EC32C3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0" name="Groep 359">
                <a:extLst>
                  <a:ext uri="{FF2B5EF4-FFF2-40B4-BE49-F238E27FC236}">
                    <a16:creationId xmlns:a16="http://schemas.microsoft.com/office/drawing/2014/main" id="{4048703A-4619-B1C5-D444-9D86BAF3FE07}"/>
                  </a:ext>
                </a:extLst>
              </p:cNvPr>
              <p:cNvGrpSpPr/>
              <p:nvPr/>
            </p:nvGrpSpPr>
            <p:grpSpPr>
              <a:xfrm>
                <a:off x="2773066" y="1930399"/>
                <a:ext cx="944504" cy="809593"/>
                <a:chOff x="5696016" y="3086100"/>
                <a:chExt cx="800080" cy="685799"/>
              </a:xfrm>
              <a:grpFill/>
            </p:grpSpPr>
            <p:sp>
              <p:nvSpPr>
                <p:cNvPr id="382" name="Vrije vorm: vorm 381">
                  <a:extLst>
                    <a:ext uri="{FF2B5EF4-FFF2-40B4-BE49-F238E27FC236}">
                      <a16:creationId xmlns:a16="http://schemas.microsoft.com/office/drawing/2014/main" id="{5577B133-38D4-73C4-B6D9-905E6578D4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3" name="Vrije vorm: vorm 382">
                  <a:extLst>
                    <a:ext uri="{FF2B5EF4-FFF2-40B4-BE49-F238E27FC236}">
                      <a16:creationId xmlns:a16="http://schemas.microsoft.com/office/drawing/2014/main" id="{38667791-148D-FC9C-A17A-060D826833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1" name="Groep 360">
                <a:extLst>
                  <a:ext uri="{FF2B5EF4-FFF2-40B4-BE49-F238E27FC236}">
                    <a16:creationId xmlns:a16="http://schemas.microsoft.com/office/drawing/2014/main" id="{76E1BD85-7320-4AAE-C086-C3275C9C0F05}"/>
                  </a:ext>
                </a:extLst>
              </p:cNvPr>
              <p:cNvGrpSpPr/>
              <p:nvPr/>
            </p:nvGrpSpPr>
            <p:grpSpPr>
              <a:xfrm>
                <a:off x="3825401" y="1930399"/>
                <a:ext cx="944504" cy="809593"/>
                <a:chOff x="5696016" y="3086100"/>
                <a:chExt cx="800080" cy="685799"/>
              </a:xfrm>
              <a:grpFill/>
            </p:grpSpPr>
            <p:sp>
              <p:nvSpPr>
                <p:cNvPr id="380" name="Vrije vorm: vorm 379">
                  <a:extLst>
                    <a:ext uri="{FF2B5EF4-FFF2-40B4-BE49-F238E27FC236}">
                      <a16:creationId xmlns:a16="http://schemas.microsoft.com/office/drawing/2014/main" id="{7B3F51C1-5608-B36F-46A0-76CD8F5176C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81" name="Vrije vorm: vorm 380">
                  <a:extLst>
                    <a:ext uri="{FF2B5EF4-FFF2-40B4-BE49-F238E27FC236}">
                      <a16:creationId xmlns:a16="http://schemas.microsoft.com/office/drawing/2014/main" id="{2BADB221-CEE5-9E1E-7B20-C5E5AF1B678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2" name="Groep 361">
                <a:extLst>
                  <a:ext uri="{FF2B5EF4-FFF2-40B4-BE49-F238E27FC236}">
                    <a16:creationId xmlns:a16="http://schemas.microsoft.com/office/drawing/2014/main" id="{E30E16D6-B202-CAEB-ECDB-8EA6F0C6CF46}"/>
                  </a:ext>
                </a:extLst>
              </p:cNvPr>
              <p:cNvGrpSpPr/>
              <p:nvPr/>
            </p:nvGrpSpPr>
            <p:grpSpPr>
              <a:xfrm>
                <a:off x="4877736" y="1930399"/>
                <a:ext cx="944504" cy="809593"/>
                <a:chOff x="5696016" y="3086100"/>
                <a:chExt cx="800080" cy="685799"/>
              </a:xfrm>
              <a:grpFill/>
            </p:grpSpPr>
            <p:sp>
              <p:nvSpPr>
                <p:cNvPr id="378" name="Vrije vorm: vorm 377">
                  <a:extLst>
                    <a:ext uri="{FF2B5EF4-FFF2-40B4-BE49-F238E27FC236}">
                      <a16:creationId xmlns:a16="http://schemas.microsoft.com/office/drawing/2014/main" id="{53E12D40-171B-D99D-9F87-E8A7BF8687F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9" name="Vrije vorm: vorm 378">
                  <a:extLst>
                    <a:ext uri="{FF2B5EF4-FFF2-40B4-BE49-F238E27FC236}">
                      <a16:creationId xmlns:a16="http://schemas.microsoft.com/office/drawing/2014/main" id="{65BCF750-9E44-D7C1-1B4E-0AD3A19E9B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3" name="Groep 362">
                <a:extLst>
                  <a:ext uri="{FF2B5EF4-FFF2-40B4-BE49-F238E27FC236}">
                    <a16:creationId xmlns:a16="http://schemas.microsoft.com/office/drawing/2014/main" id="{5AA8D09D-98A4-A5A7-7232-B7B2EB5137C1}"/>
                  </a:ext>
                </a:extLst>
              </p:cNvPr>
              <p:cNvGrpSpPr/>
              <p:nvPr/>
            </p:nvGrpSpPr>
            <p:grpSpPr>
              <a:xfrm>
                <a:off x="5930071" y="1930399"/>
                <a:ext cx="944504" cy="809593"/>
                <a:chOff x="5696016" y="3086100"/>
                <a:chExt cx="800080" cy="685799"/>
              </a:xfrm>
              <a:grpFill/>
            </p:grpSpPr>
            <p:sp>
              <p:nvSpPr>
                <p:cNvPr id="376" name="Vrije vorm: vorm 375">
                  <a:extLst>
                    <a:ext uri="{FF2B5EF4-FFF2-40B4-BE49-F238E27FC236}">
                      <a16:creationId xmlns:a16="http://schemas.microsoft.com/office/drawing/2014/main" id="{8DDC8B28-075D-4829-770A-DCD9423DC36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7" name="Vrije vorm: vorm 376">
                  <a:extLst>
                    <a:ext uri="{FF2B5EF4-FFF2-40B4-BE49-F238E27FC236}">
                      <a16:creationId xmlns:a16="http://schemas.microsoft.com/office/drawing/2014/main" id="{4E252B01-F688-368C-D90E-FA4AF5AA229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4" name="Groep 363">
                <a:extLst>
                  <a:ext uri="{FF2B5EF4-FFF2-40B4-BE49-F238E27FC236}">
                    <a16:creationId xmlns:a16="http://schemas.microsoft.com/office/drawing/2014/main" id="{10441D68-E0BD-C776-C4D6-A3A54172B2C7}"/>
                  </a:ext>
                </a:extLst>
              </p:cNvPr>
              <p:cNvGrpSpPr/>
              <p:nvPr/>
            </p:nvGrpSpPr>
            <p:grpSpPr>
              <a:xfrm>
                <a:off x="6982406" y="1930399"/>
                <a:ext cx="944504" cy="809593"/>
                <a:chOff x="5696016" y="3086100"/>
                <a:chExt cx="800080" cy="685799"/>
              </a:xfrm>
              <a:grpFill/>
            </p:grpSpPr>
            <p:sp>
              <p:nvSpPr>
                <p:cNvPr id="374" name="Vrije vorm: vorm 373">
                  <a:extLst>
                    <a:ext uri="{FF2B5EF4-FFF2-40B4-BE49-F238E27FC236}">
                      <a16:creationId xmlns:a16="http://schemas.microsoft.com/office/drawing/2014/main" id="{AAC2355C-95DD-96E6-F768-985439DF8D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5" name="Vrije vorm: vorm 374">
                  <a:extLst>
                    <a:ext uri="{FF2B5EF4-FFF2-40B4-BE49-F238E27FC236}">
                      <a16:creationId xmlns:a16="http://schemas.microsoft.com/office/drawing/2014/main" id="{F8CE343D-4B0C-006F-F2EB-845982E0088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5" name="Groep 364">
                <a:extLst>
                  <a:ext uri="{FF2B5EF4-FFF2-40B4-BE49-F238E27FC236}">
                    <a16:creationId xmlns:a16="http://schemas.microsoft.com/office/drawing/2014/main" id="{E959A532-7FA5-F2C4-BF0D-8A6AFE64F753}"/>
                  </a:ext>
                </a:extLst>
              </p:cNvPr>
              <p:cNvGrpSpPr/>
              <p:nvPr/>
            </p:nvGrpSpPr>
            <p:grpSpPr>
              <a:xfrm>
                <a:off x="8034741" y="1930399"/>
                <a:ext cx="944504" cy="809593"/>
                <a:chOff x="5696016" y="3086100"/>
                <a:chExt cx="800080" cy="685799"/>
              </a:xfrm>
              <a:grpFill/>
            </p:grpSpPr>
            <p:sp>
              <p:nvSpPr>
                <p:cNvPr id="372" name="Vrije vorm: vorm 371">
                  <a:extLst>
                    <a:ext uri="{FF2B5EF4-FFF2-40B4-BE49-F238E27FC236}">
                      <a16:creationId xmlns:a16="http://schemas.microsoft.com/office/drawing/2014/main" id="{52013941-BBA5-1215-A1A0-74C119B4ED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3" name="Vrije vorm: vorm 372">
                  <a:extLst>
                    <a:ext uri="{FF2B5EF4-FFF2-40B4-BE49-F238E27FC236}">
                      <a16:creationId xmlns:a16="http://schemas.microsoft.com/office/drawing/2014/main" id="{22177629-DCFA-54B4-3FA8-EBDE80A737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6" name="Groep 365">
                <a:extLst>
                  <a:ext uri="{FF2B5EF4-FFF2-40B4-BE49-F238E27FC236}">
                    <a16:creationId xmlns:a16="http://schemas.microsoft.com/office/drawing/2014/main" id="{15FF2B0F-3893-EDBC-DBD4-6527406497CD}"/>
                  </a:ext>
                </a:extLst>
              </p:cNvPr>
              <p:cNvGrpSpPr/>
              <p:nvPr/>
            </p:nvGrpSpPr>
            <p:grpSpPr>
              <a:xfrm>
                <a:off x="9087076" y="1930399"/>
                <a:ext cx="944504" cy="809593"/>
                <a:chOff x="5696016" y="3086100"/>
                <a:chExt cx="800080" cy="685799"/>
              </a:xfrm>
              <a:grpFill/>
            </p:grpSpPr>
            <p:sp>
              <p:nvSpPr>
                <p:cNvPr id="370" name="Vrije vorm: vorm 369">
                  <a:extLst>
                    <a:ext uri="{FF2B5EF4-FFF2-40B4-BE49-F238E27FC236}">
                      <a16:creationId xmlns:a16="http://schemas.microsoft.com/office/drawing/2014/main" id="{195A351D-179B-16D2-9EDD-591D9DFAF8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71" name="Vrije vorm: vorm 370">
                  <a:extLst>
                    <a:ext uri="{FF2B5EF4-FFF2-40B4-BE49-F238E27FC236}">
                      <a16:creationId xmlns:a16="http://schemas.microsoft.com/office/drawing/2014/main" id="{3F25602C-4991-E539-E084-981A01C339A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67" name="Groep 366">
                <a:extLst>
                  <a:ext uri="{FF2B5EF4-FFF2-40B4-BE49-F238E27FC236}">
                    <a16:creationId xmlns:a16="http://schemas.microsoft.com/office/drawing/2014/main" id="{412392BC-C493-00DF-6170-40A2BA1CF1A5}"/>
                  </a:ext>
                </a:extLst>
              </p:cNvPr>
              <p:cNvGrpSpPr/>
              <p:nvPr/>
            </p:nvGrpSpPr>
            <p:grpSpPr>
              <a:xfrm>
                <a:off x="10139413" y="1930399"/>
                <a:ext cx="944504" cy="809593"/>
                <a:chOff x="5696016" y="3086100"/>
                <a:chExt cx="800080" cy="685799"/>
              </a:xfrm>
              <a:grpFill/>
            </p:grpSpPr>
            <p:sp>
              <p:nvSpPr>
                <p:cNvPr id="368" name="Vrije vorm: vorm 367">
                  <a:extLst>
                    <a:ext uri="{FF2B5EF4-FFF2-40B4-BE49-F238E27FC236}">
                      <a16:creationId xmlns:a16="http://schemas.microsoft.com/office/drawing/2014/main" id="{A5413A15-3F32-B52D-A19C-3A14FF268FC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69" name="Vrije vorm: vorm 368">
                  <a:extLst>
                    <a:ext uri="{FF2B5EF4-FFF2-40B4-BE49-F238E27FC236}">
                      <a16:creationId xmlns:a16="http://schemas.microsoft.com/office/drawing/2014/main" id="{A0A88EE6-D3FD-8FA9-CC43-CE4856F8375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4" name="Groep 233">
              <a:extLst>
                <a:ext uri="{FF2B5EF4-FFF2-40B4-BE49-F238E27FC236}">
                  <a16:creationId xmlns:a16="http://schemas.microsoft.com/office/drawing/2014/main" id="{D7C0E60F-EE14-0234-A5B6-442E11AD134D}"/>
                </a:ext>
              </a:extLst>
            </p:cNvPr>
            <p:cNvGrpSpPr/>
            <p:nvPr/>
          </p:nvGrpSpPr>
          <p:grpSpPr>
            <a:xfrm>
              <a:off x="649432" y="1222801"/>
              <a:ext cx="2409536" cy="187292"/>
              <a:chOff x="668396" y="1930399"/>
              <a:chExt cx="10415521" cy="809593"/>
            </a:xfrm>
            <a:grpFill/>
          </p:grpSpPr>
          <p:grpSp>
            <p:nvGrpSpPr>
              <p:cNvPr id="328" name="Groep 327">
                <a:extLst>
                  <a:ext uri="{FF2B5EF4-FFF2-40B4-BE49-F238E27FC236}">
                    <a16:creationId xmlns:a16="http://schemas.microsoft.com/office/drawing/2014/main" id="{EA684A95-5FDB-6AD2-12F5-7F988ED676FB}"/>
                  </a:ext>
                </a:extLst>
              </p:cNvPr>
              <p:cNvGrpSpPr/>
              <p:nvPr/>
            </p:nvGrpSpPr>
            <p:grpSpPr>
              <a:xfrm>
                <a:off x="668396" y="1930399"/>
                <a:ext cx="944504" cy="809593"/>
                <a:chOff x="5696016" y="3086100"/>
                <a:chExt cx="800080" cy="685799"/>
              </a:xfrm>
              <a:grpFill/>
            </p:grpSpPr>
            <p:sp>
              <p:nvSpPr>
                <p:cNvPr id="356" name="Vrije vorm: vorm 355">
                  <a:extLst>
                    <a:ext uri="{FF2B5EF4-FFF2-40B4-BE49-F238E27FC236}">
                      <a16:creationId xmlns:a16="http://schemas.microsoft.com/office/drawing/2014/main" id="{EA2F0C88-EBBB-723A-E0A7-FEC8D206AEF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7" name="Vrije vorm: vorm 356">
                  <a:extLst>
                    <a:ext uri="{FF2B5EF4-FFF2-40B4-BE49-F238E27FC236}">
                      <a16:creationId xmlns:a16="http://schemas.microsoft.com/office/drawing/2014/main" id="{CD8868F1-AD64-8BB4-7372-3A3E43EC8B1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29" name="Groep 328">
                <a:extLst>
                  <a:ext uri="{FF2B5EF4-FFF2-40B4-BE49-F238E27FC236}">
                    <a16:creationId xmlns:a16="http://schemas.microsoft.com/office/drawing/2014/main" id="{AB10DD5C-A4C7-1F97-22BA-4B0BE71D181E}"/>
                  </a:ext>
                </a:extLst>
              </p:cNvPr>
              <p:cNvGrpSpPr/>
              <p:nvPr/>
            </p:nvGrpSpPr>
            <p:grpSpPr>
              <a:xfrm>
                <a:off x="1720731" y="1930399"/>
                <a:ext cx="944504" cy="809593"/>
                <a:chOff x="5696016" y="3086100"/>
                <a:chExt cx="800080" cy="685799"/>
              </a:xfrm>
              <a:grpFill/>
            </p:grpSpPr>
            <p:sp>
              <p:nvSpPr>
                <p:cNvPr id="354" name="Vrije vorm: vorm 353">
                  <a:extLst>
                    <a:ext uri="{FF2B5EF4-FFF2-40B4-BE49-F238E27FC236}">
                      <a16:creationId xmlns:a16="http://schemas.microsoft.com/office/drawing/2014/main" id="{44C07288-9E50-2842-2EBB-D0E326AA5D3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5" name="Vrije vorm: vorm 354">
                  <a:extLst>
                    <a:ext uri="{FF2B5EF4-FFF2-40B4-BE49-F238E27FC236}">
                      <a16:creationId xmlns:a16="http://schemas.microsoft.com/office/drawing/2014/main" id="{14F23A07-A951-1C36-80F9-0BC48ED961D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0" name="Groep 329">
                <a:extLst>
                  <a:ext uri="{FF2B5EF4-FFF2-40B4-BE49-F238E27FC236}">
                    <a16:creationId xmlns:a16="http://schemas.microsoft.com/office/drawing/2014/main" id="{8E9DFCC9-BD3B-7CF8-1611-2EFD18156B4B}"/>
                  </a:ext>
                </a:extLst>
              </p:cNvPr>
              <p:cNvGrpSpPr/>
              <p:nvPr/>
            </p:nvGrpSpPr>
            <p:grpSpPr>
              <a:xfrm>
                <a:off x="2773066" y="1930399"/>
                <a:ext cx="944504" cy="809593"/>
                <a:chOff x="5696016" y="3086100"/>
                <a:chExt cx="800080" cy="685799"/>
              </a:xfrm>
              <a:grpFill/>
            </p:grpSpPr>
            <p:sp>
              <p:nvSpPr>
                <p:cNvPr id="352" name="Vrije vorm: vorm 351">
                  <a:extLst>
                    <a:ext uri="{FF2B5EF4-FFF2-40B4-BE49-F238E27FC236}">
                      <a16:creationId xmlns:a16="http://schemas.microsoft.com/office/drawing/2014/main" id="{0B9D85B5-5F28-6DAC-36DE-26A1BC3F216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3" name="Vrije vorm: vorm 352">
                  <a:extLst>
                    <a:ext uri="{FF2B5EF4-FFF2-40B4-BE49-F238E27FC236}">
                      <a16:creationId xmlns:a16="http://schemas.microsoft.com/office/drawing/2014/main" id="{3B1DAB26-BB1F-75A0-BF6C-4DD50711C47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1" name="Groep 330">
                <a:extLst>
                  <a:ext uri="{FF2B5EF4-FFF2-40B4-BE49-F238E27FC236}">
                    <a16:creationId xmlns:a16="http://schemas.microsoft.com/office/drawing/2014/main" id="{BFD70C83-F7B5-6BE8-2A39-208BA7F73944}"/>
                  </a:ext>
                </a:extLst>
              </p:cNvPr>
              <p:cNvGrpSpPr/>
              <p:nvPr/>
            </p:nvGrpSpPr>
            <p:grpSpPr>
              <a:xfrm>
                <a:off x="3825401" y="1930399"/>
                <a:ext cx="944504" cy="809593"/>
                <a:chOff x="5696016" y="3086100"/>
                <a:chExt cx="800080" cy="685799"/>
              </a:xfrm>
              <a:grpFill/>
            </p:grpSpPr>
            <p:sp>
              <p:nvSpPr>
                <p:cNvPr id="350" name="Vrije vorm: vorm 349">
                  <a:extLst>
                    <a:ext uri="{FF2B5EF4-FFF2-40B4-BE49-F238E27FC236}">
                      <a16:creationId xmlns:a16="http://schemas.microsoft.com/office/drawing/2014/main" id="{95F12008-3DC1-D6AD-C803-B57A7029E55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51" name="Vrije vorm: vorm 350">
                  <a:extLst>
                    <a:ext uri="{FF2B5EF4-FFF2-40B4-BE49-F238E27FC236}">
                      <a16:creationId xmlns:a16="http://schemas.microsoft.com/office/drawing/2014/main" id="{D934B095-9E91-0DD9-CE80-8FE9718E68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2" name="Groep 331">
                <a:extLst>
                  <a:ext uri="{FF2B5EF4-FFF2-40B4-BE49-F238E27FC236}">
                    <a16:creationId xmlns:a16="http://schemas.microsoft.com/office/drawing/2014/main" id="{20B200A2-D336-9AC0-1D40-7387A34951C3}"/>
                  </a:ext>
                </a:extLst>
              </p:cNvPr>
              <p:cNvGrpSpPr/>
              <p:nvPr/>
            </p:nvGrpSpPr>
            <p:grpSpPr>
              <a:xfrm>
                <a:off x="4877736" y="1930399"/>
                <a:ext cx="944504" cy="809593"/>
                <a:chOff x="5696016" y="3086100"/>
                <a:chExt cx="800080" cy="685799"/>
              </a:xfrm>
              <a:grpFill/>
            </p:grpSpPr>
            <p:sp>
              <p:nvSpPr>
                <p:cNvPr id="348" name="Vrije vorm: vorm 347">
                  <a:extLst>
                    <a:ext uri="{FF2B5EF4-FFF2-40B4-BE49-F238E27FC236}">
                      <a16:creationId xmlns:a16="http://schemas.microsoft.com/office/drawing/2014/main" id="{D87EE6A0-EAD7-CE63-01F0-8B50C5A3C0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9" name="Vrije vorm: vorm 348">
                  <a:extLst>
                    <a:ext uri="{FF2B5EF4-FFF2-40B4-BE49-F238E27FC236}">
                      <a16:creationId xmlns:a16="http://schemas.microsoft.com/office/drawing/2014/main" id="{4B71F5CD-3020-1E00-61B8-B67C79B9836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3" name="Groep 332">
                <a:extLst>
                  <a:ext uri="{FF2B5EF4-FFF2-40B4-BE49-F238E27FC236}">
                    <a16:creationId xmlns:a16="http://schemas.microsoft.com/office/drawing/2014/main" id="{A11666A6-AA5B-E4B8-217B-88B3F71DB761}"/>
                  </a:ext>
                </a:extLst>
              </p:cNvPr>
              <p:cNvGrpSpPr/>
              <p:nvPr/>
            </p:nvGrpSpPr>
            <p:grpSpPr>
              <a:xfrm>
                <a:off x="5930071" y="1930399"/>
                <a:ext cx="944504" cy="809593"/>
                <a:chOff x="5696016" y="3086100"/>
                <a:chExt cx="800080" cy="685799"/>
              </a:xfrm>
              <a:grpFill/>
            </p:grpSpPr>
            <p:sp>
              <p:nvSpPr>
                <p:cNvPr id="346" name="Vrije vorm: vorm 345">
                  <a:extLst>
                    <a:ext uri="{FF2B5EF4-FFF2-40B4-BE49-F238E27FC236}">
                      <a16:creationId xmlns:a16="http://schemas.microsoft.com/office/drawing/2014/main" id="{105E2B22-1957-BBB4-3DCD-D73B76C34E5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7" name="Vrije vorm: vorm 346">
                  <a:extLst>
                    <a:ext uri="{FF2B5EF4-FFF2-40B4-BE49-F238E27FC236}">
                      <a16:creationId xmlns:a16="http://schemas.microsoft.com/office/drawing/2014/main" id="{2C89B91A-A324-962B-9180-D913670D2C5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4" name="Groep 333">
                <a:extLst>
                  <a:ext uri="{FF2B5EF4-FFF2-40B4-BE49-F238E27FC236}">
                    <a16:creationId xmlns:a16="http://schemas.microsoft.com/office/drawing/2014/main" id="{9AC3CD83-EE4C-8BCA-034C-5C0598899480}"/>
                  </a:ext>
                </a:extLst>
              </p:cNvPr>
              <p:cNvGrpSpPr/>
              <p:nvPr/>
            </p:nvGrpSpPr>
            <p:grpSpPr>
              <a:xfrm>
                <a:off x="6982406" y="1930399"/>
                <a:ext cx="944504" cy="809593"/>
                <a:chOff x="5696016" y="3086100"/>
                <a:chExt cx="800080" cy="685799"/>
              </a:xfrm>
              <a:grpFill/>
            </p:grpSpPr>
            <p:sp>
              <p:nvSpPr>
                <p:cNvPr id="344" name="Vrije vorm: vorm 343">
                  <a:extLst>
                    <a:ext uri="{FF2B5EF4-FFF2-40B4-BE49-F238E27FC236}">
                      <a16:creationId xmlns:a16="http://schemas.microsoft.com/office/drawing/2014/main" id="{8F264643-6805-5E16-1853-C2ACEA2B56B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5" name="Vrije vorm: vorm 344">
                  <a:extLst>
                    <a:ext uri="{FF2B5EF4-FFF2-40B4-BE49-F238E27FC236}">
                      <a16:creationId xmlns:a16="http://schemas.microsoft.com/office/drawing/2014/main" id="{4A0E7869-0390-1DEA-9A92-EEAA3A17A53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5" name="Groep 334">
                <a:extLst>
                  <a:ext uri="{FF2B5EF4-FFF2-40B4-BE49-F238E27FC236}">
                    <a16:creationId xmlns:a16="http://schemas.microsoft.com/office/drawing/2014/main" id="{FB6F8B49-436A-5E95-3FC0-5C0C9C7A1AEC}"/>
                  </a:ext>
                </a:extLst>
              </p:cNvPr>
              <p:cNvGrpSpPr/>
              <p:nvPr/>
            </p:nvGrpSpPr>
            <p:grpSpPr>
              <a:xfrm>
                <a:off x="8034741" y="1930399"/>
                <a:ext cx="944504" cy="809593"/>
                <a:chOff x="5696016" y="3086100"/>
                <a:chExt cx="800080" cy="685799"/>
              </a:xfrm>
              <a:grpFill/>
            </p:grpSpPr>
            <p:sp>
              <p:nvSpPr>
                <p:cNvPr id="342" name="Vrije vorm: vorm 341">
                  <a:extLst>
                    <a:ext uri="{FF2B5EF4-FFF2-40B4-BE49-F238E27FC236}">
                      <a16:creationId xmlns:a16="http://schemas.microsoft.com/office/drawing/2014/main" id="{C57C4643-819F-1ED5-3FBD-D6F4C754B41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3" name="Vrije vorm: vorm 342">
                  <a:extLst>
                    <a:ext uri="{FF2B5EF4-FFF2-40B4-BE49-F238E27FC236}">
                      <a16:creationId xmlns:a16="http://schemas.microsoft.com/office/drawing/2014/main" id="{4E86395B-E8A4-55EB-9881-CFCC643D1C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6" name="Groep 335">
                <a:extLst>
                  <a:ext uri="{FF2B5EF4-FFF2-40B4-BE49-F238E27FC236}">
                    <a16:creationId xmlns:a16="http://schemas.microsoft.com/office/drawing/2014/main" id="{9C2A7268-F29B-9C09-6CCA-6E2A9F135D22}"/>
                  </a:ext>
                </a:extLst>
              </p:cNvPr>
              <p:cNvGrpSpPr/>
              <p:nvPr/>
            </p:nvGrpSpPr>
            <p:grpSpPr>
              <a:xfrm>
                <a:off x="9087076" y="1930399"/>
                <a:ext cx="944504" cy="809593"/>
                <a:chOff x="5696016" y="3086100"/>
                <a:chExt cx="800080" cy="685799"/>
              </a:xfrm>
              <a:grpFill/>
            </p:grpSpPr>
            <p:sp>
              <p:nvSpPr>
                <p:cNvPr id="340" name="Vrije vorm: vorm 339">
                  <a:extLst>
                    <a:ext uri="{FF2B5EF4-FFF2-40B4-BE49-F238E27FC236}">
                      <a16:creationId xmlns:a16="http://schemas.microsoft.com/office/drawing/2014/main" id="{A3502FFA-7169-5A7D-16EA-8577D475FDF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41" name="Vrije vorm: vorm 340">
                  <a:extLst>
                    <a:ext uri="{FF2B5EF4-FFF2-40B4-BE49-F238E27FC236}">
                      <a16:creationId xmlns:a16="http://schemas.microsoft.com/office/drawing/2014/main" id="{50E47137-F964-1594-3F0C-E40EA8352C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37" name="Groep 336">
                <a:extLst>
                  <a:ext uri="{FF2B5EF4-FFF2-40B4-BE49-F238E27FC236}">
                    <a16:creationId xmlns:a16="http://schemas.microsoft.com/office/drawing/2014/main" id="{CC6B6DFC-6AB9-FBA9-1EEB-F4B995B8FD7B}"/>
                  </a:ext>
                </a:extLst>
              </p:cNvPr>
              <p:cNvGrpSpPr/>
              <p:nvPr/>
            </p:nvGrpSpPr>
            <p:grpSpPr>
              <a:xfrm>
                <a:off x="10139413" y="1930399"/>
                <a:ext cx="944504" cy="809593"/>
                <a:chOff x="5696016" y="3086100"/>
                <a:chExt cx="800080" cy="685799"/>
              </a:xfrm>
              <a:grpFill/>
            </p:grpSpPr>
            <p:sp>
              <p:nvSpPr>
                <p:cNvPr id="338" name="Vrije vorm: vorm 337">
                  <a:extLst>
                    <a:ext uri="{FF2B5EF4-FFF2-40B4-BE49-F238E27FC236}">
                      <a16:creationId xmlns:a16="http://schemas.microsoft.com/office/drawing/2014/main" id="{93D8575D-0A0D-2AEC-78D6-CB438E79BB2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39" name="Vrije vorm: vorm 338">
                  <a:extLst>
                    <a:ext uri="{FF2B5EF4-FFF2-40B4-BE49-F238E27FC236}">
                      <a16:creationId xmlns:a16="http://schemas.microsoft.com/office/drawing/2014/main" id="{66FADEB0-427F-6F00-821A-214066D22DF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5" name="Groep 234">
              <a:extLst>
                <a:ext uri="{FF2B5EF4-FFF2-40B4-BE49-F238E27FC236}">
                  <a16:creationId xmlns:a16="http://schemas.microsoft.com/office/drawing/2014/main" id="{CE36D9BD-D249-3785-F9B0-2FBAB407570F}"/>
                </a:ext>
              </a:extLst>
            </p:cNvPr>
            <p:cNvGrpSpPr/>
            <p:nvPr/>
          </p:nvGrpSpPr>
          <p:grpSpPr>
            <a:xfrm>
              <a:off x="649432" y="1456834"/>
              <a:ext cx="2409536" cy="187292"/>
              <a:chOff x="668396" y="1930399"/>
              <a:chExt cx="10415521" cy="809593"/>
            </a:xfrm>
            <a:grpFill/>
          </p:grpSpPr>
          <p:grpSp>
            <p:nvGrpSpPr>
              <p:cNvPr id="298" name="Groep 297">
                <a:extLst>
                  <a:ext uri="{FF2B5EF4-FFF2-40B4-BE49-F238E27FC236}">
                    <a16:creationId xmlns:a16="http://schemas.microsoft.com/office/drawing/2014/main" id="{170A9F39-D602-2EC6-27A6-F43593BA27F5}"/>
                  </a:ext>
                </a:extLst>
              </p:cNvPr>
              <p:cNvGrpSpPr/>
              <p:nvPr/>
            </p:nvGrpSpPr>
            <p:grpSpPr>
              <a:xfrm>
                <a:off x="668396" y="1930399"/>
                <a:ext cx="944504" cy="809593"/>
                <a:chOff x="5696016" y="3086100"/>
                <a:chExt cx="800080" cy="685799"/>
              </a:xfrm>
              <a:grpFill/>
            </p:grpSpPr>
            <p:sp>
              <p:nvSpPr>
                <p:cNvPr id="326" name="Vrije vorm: vorm 325">
                  <a:extLst>
                    <a:ext uri="{FF2B5EF4-FFF2-40B4-BE49-F238E27FC236}">
                      <a16:creationId xmlns:a16="http://schemas.microsoft.com/office/drawing/2014/main" id="{23E02E30-4184-C126-EBB0-9BFDD2DF72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7" name="Vrije vorm: vorm 326">
                  <a:extLst>
                    <a:ext uri="{FF2B5EF4-FFF2-40B4-BE49-F238E27FC236}">
                      <a16:creationId xmlns:a16="http://schemas.microsoft.com/office/drawing/2014/main" id="{BEFA787A-E065-3F4B-75B1-8520A9B5CD4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99" name="Groep 298">
                <a:extLst>
                  <a:ext uri="{FF2B5EF4-FFF2-40B4-BE49-F238E27FC236}">
                    <a16:creationId xmlns:a16="http://schemas.microsoft.com/office/drawing/2014/main" id="{3F24DCBF-34F0-075F-4032-23902DE2115E}"/>
                  </a:ext>
                </a:extLst>
              </p:cNvPr>
              <p:cNvGrpSpPr/>
              <p:nvPr/>
            </p:nvGrpSpPr>
            <p:grpSpPr>
              <a:xfrm>
                <a:off x="1720731" y="1930399"/>
                <a:ext cx="944504" cy="809593"/>
                <a:chOff x="5696016" y="3086100"/>
                <a:chExt cx="800080" cy="685799"/>
              </a:xfrm>
              <a:grpFill/>
            </p:grpSpPr>
            <p:sp>
              <p:nvSpPr>
                <p:cNvPr id="324" name="Vrije vorm: vorm 323">
                  <a:extLst>
                    <a:ext uri="{FF2B5EF4-FFF2-40B4-BE49-F238E27FC236}">
                      <a16:creationId xmlns:a16="http://schemas.microsoft.com/office/drawing/2014/main" id="{70B90228-F93B-3ACD-F991-32F9D8ACCAF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5" name="Vrije vorm: vorm 324">
                  <a:extLst>
                    <a:ext uri="{FF2B5EF4-FFF2-40B4-BE49-F238E27FC236}">
                      <a16:creationId xmlns:a16="http://schemas.microsoft.com/office/drawing/2014/main" id="{D7FD88F0-4F49-D404-943C-B52A20B9FD8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0" name="Groep 299">
                <a:extLst>
                  <a:ext uri="{FF2B5EF4-FFF2-40B4-BE49-F238E27FC236}">
                    <a16:creationId xmlns:a16="http://schemas.microsoft.com/office/drawing/2014/main" id="{03856620-86DC-A696-CB3B-0401A8545AEF}"/>
                  </a:ext>
                </a:extLst>
              </p:cNvPr>
              <p:cNvGrpSpPr/>
              <p:nvPr/>
            </p:nvGrpSpPr>
            <p:grpSpPr>
              <a:xfrm>
                <a:off x="2773066" y="1930399"/>
                <a:ext cx="944504" cy="809593"/>
                <a:chOff x="5696016" y="3086100"/>
                <a:chExt cx="800080" cy="685799"/>
              </a:xfrm>
              <a:grpFill/>
            </p:grpSpPr>
            <p:sp>
              <p:nvSpPr>
                <p:cNvPr id="322" name="Vrije vorm: vorm 321">
                  <a:extLst>
                    <a:ext uri="{FF2B5EF4-FFF2-40B4-BE49-F238E27FC236}">
                      <a16:creationId xmlns:a16="http://schemas.microsoft.com/office/drawing/2014/main" id="{3EC92511-819A-D0E0-BFDC-E6AB28D1168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3" name="Vrije vorm: vorm 322">
                  <a:extLst>
                    <a:ext uri="{FF2B5EF4-FFF2-40B4-BE49-F238E27FC236}">
                      <a16:creationId xmlns:a16="http://schemas.microsoft.com/office/drawing/2014/main" id="{EA73CF5E-C3DA-8A5D-A11E-FB67DDC77A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1" name="Groep 300">
                <a:extLst>
                  <a:ext uri="{FF2B5EF4-FFF2-40B4-BE49-F238E27FC236}">
                    <a16:creationId xmlns:a16="http://schemas.microsoft.com/office/drawing/2014/main" id="{D8F4AB8B-307A-7225-F8E4-A0FA4231D793}"/>
                  </a:ext>
                </a:extLst>
              </p:cNvPr>
              <p:cNvGrpSpPr/>
              <p:nvPr/>
            </p:nvGrpSpPr>
            <p:grpSpPr>
              <a:xfrm>
                <a:off x="3825401" y="1930399"/>
                <a:ext cx="944504" cy="809593"/>
                <a:chOff x="5696016" y="3086100"/>
                <a:chExt cx="800080" cy="685799"/>
              </a:xfrm>
              <a:grpFill/>
            </p:grpSpPr>
            <p:sp>
              <p:nvSpPr>
                <p:cNvPr id="320" name="Vrije vorm: vorm 319">
                  <a:extLst>
                    <a:ext uri="{FF2B5EF4-FFF2-40B4-BE49-F238E27FC236}">
                      <a16:creationId xmlns:a16="http://schemas.microsoft.com/office/drawing/2014/main" id="{7D53A9E6-D580-1E16-F09D-9B1E73FE04E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21" name="Vrije vorm: vorm 320">
                  <a:extLst>
                    <a:ext uri="{FF2B5EF4-FFF2-40B4-BE49-F238E27FC236}">
                      <a16:creationId xmlns:a16="http://schemas.microsoft.com/office/drawing/2014/main" id="{007D8C57-A6AC-ED3A-F7B0-7BC84CC38D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2" name="Groep 301">
                <a:extLst>
                  <a:ext uri="{FF2B5EF4-FFF2-40B4-BE49-F238E27FC236}">
                    <a16:creationId xmlns:a16="http://schemas.microsoft.com/office/drawing/2014/main" id="{D7F35087-0CFD-9E41-3B10-541AEC95B9C0}"/>
                  </a:ext>
                </a:extLst>
              </p:cNvPr>
              <p:cNvGrpSpPr/>
              <p:nvPr/>
            </p:nvGrpSpPr>
            <p:grpSpPr>
              <a:xfrm>
                <a:off x="4877736" y="1930399"/>
                <a:ext cx="944504" cy="809593"/>
                <a:chOff x="5696016" y="3086100"/>
                <a:chExt cx="800080" cy="685799"/>
              </a:xfrm>
              <a:grpFill/>
            </p:grpSpPr>
            <p:sp>
              <p:nvSpPr>
                <p:cNvPr id="318" name="Vrije vorm: vorm 317">
                  <a:extLst>
                    <a:ext uri="{FF2B5EF4-FFF2-40B4-BE49-F238E27FC236}">
                      <a16:creationId xmlns:a16="http://schemas.microsoft.com/office/drawing/2014/main" id="{986E70F0-B750-9862-4E56-FD36E1FCA10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9" name="Vrije vorm: vorm 318">
                  <a:extLst>
                    <a:ext uri="{FF2B5EF4-FFF2-40B4-BE49-F238E27FC236}">
                      <a16:creationId xmlns:a16="http://schemas.microsoft.com/office/drawing/2014/main" id="{998AEE8B-DCBE-77BC-07FF-0B89A3B4A97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3" name="Groep 302">
                <a:extLst>
                  <a:ext uri="{FF2B5EF4-FFF2-40B4-BE49-F238E27FC236}">
                    <a16:creationId xmlns:a16="http://schemas.microsoft.com/office/drawing/2014/main" id="{2DE8BB3B-DBEA-8710-1555-19F3C4CF4889}"/>
                  </a:ext>
                </a:extLst>
              </p:cNvPr>
              <p:cNvGrpSpPr/>
              <p:nvPr/>
            </p:nvGrpSpPr>
            <p:grpSpPr>
              <a:xfrm>
                <a:off x="5930071" y="1930399"/>
                <a:ext cx="944504" cy="809593"/>
                <a:chOff x="5696016" y="3086100"/>
                <a:chExt cx="800080" cy="685799"/>
              </a:xfrm>
              <a:grpFill/>
            </p:grpSpPr>
            <p:sp>
              <p:nvSpPr>
                <p:cNvPr id="316" name="Vrije vorm: vorm 315">
                  <a:extLst>
                    <a:ext uri="{FF2B5EF4-FFF2-40B4-BE49-F238E27FC236}">
                      <a16:creationId xmlns:a16="http://schemas.microsoft.com/office/drawing/2014/main" id="{507E204A-0B28-DA4A-C94D-BB89615A5CC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7" name="Vrije vorm: vorm 316">
                  <a:extLst>
                    <a:ext uri="{FF2B5EF4-FFF2-40B4-BE49-F238E27FC236}">
                      <a16:creationId xmlns:a16="http://schemas.microsoft.com/office/drawing/2014/main" id="{4983EE5A-E5CC-F2BA-243B-4DCA081BFC1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4" name="Groep 303">
                <a:extLst>
                  <a:ext uri="{FF2B5EF4-FFF2-40B4-BE49-F238E27FC236}">
                    <a16:creationId xmlns:a16="http://schemas.microsoft.com/office/drawing/2014/main" id="{5E9114C5-E18D-395D-D354-7B5C78A35C1D}"/>
                  </a:ext>
                </a:extLst>
              </p:cNvPr>
              <p:cNvGrpSpPr/>
              <p:nvPr/>
            </p:nvGrpSpPr>
            <p:grpSpPr>
              <a:xfrm>
                <a:off x="6982406" y="1930399"/>
                <a:ext cx="944504" cy="809593"/>
                <a:chOff x="5696016" y="3086100"/>
                <a:chExt cx="800080" cy="685799"/>
              </a:xfrm>
              <a:grpFill/>
            </p:grpSpPr>
            <p:sp>
              <p:nvSpPr>
                <p:cNvPr id="314" name="Vrije vorm: vorm 313">
                  <a:extLst>
                    <a:ext uri="{FF2B5EF4-FFF2-40B4-BE49-F238E27FC236}">
                      <a16:creationId xmlns:a16="http://schemas.microsoft.com/office/drawing/2014/main" id="{1527985A-3E64-AF32-6618-B51C9E5715B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5" name="Vrije vorm: vorm 314">
                  <a:extLst>
                    <a:ext uri="{FF2B5EF4-FFF2-40B4-BE49-F238E27FC236}">
                      <a16:creationId xmlns:a16="http://schemas.microsoft.com/office/drawing/2014/main" id="{77C83B49-C852-A5FA-D31F-AFCF279F372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5" name="Groep 304">
                <a:extLst>
                  <a:ext uri="{FF2B5EF4-FFF2-40B4-BE49-F238E27FC236}">
                    <a16:creationId xmlns:a16="http://schemas.microsoft.com/office/drawing/2014/main" id="{5BEA0A00-A529-260F-B761-A3D7FBF78932}"/>
                  </a:ext>
                </a:extLst>
              </p:cNvPr>
              <p:cNvGrpSpPr/>
              <p:nvPr/>
            </p:nvGrpSpPr>
            <p:grpSpPr>
              <a:xfrm>
                <a:off x="8034741" y="1930399"/>
                <a:ext cx="944504" cy="809593"/>
                <a:chOff x="5696016" y="3086100"/>
                <a:chExt cx="800080" cy="685799"/>
              </a:xfrm>
              <a:grpFill/>
            </p:grpSpPr>
            <p:sp>
              <p:nvSpPr>
                <p:cNvPr id="312" name="Vrije vorm: vorm 311">
                  <a:extLst>
                    <a:ext uri="{FF2B5EF4-FFF2-40B4-BE49-F238E27FC236}">
                      <a16:creationId xmlns:a16="http://schemas.microsoft.com/office/drawing/2014/main" id="{35DF2D5C-BE40-17DA-3490-667D623E57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3" name="Vrije vorm: vorm 312">
                  <a:extLst>
                    <a:ext uri="{FF2B5EF4-FFF2-40B4-BE49-F238E27FC236}">
                      <a16:creationId xmlns:a16="http://schemas.microsoft.com/office/drawing/2014/main" id="{E23D4AB0-007B-D713-5CEB-FDB6C39BEC2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6" name="Groep 305">
                <a:extLst>
                  <a:ext uri="{FF2B5EF4-FFF2-40B4-BE49-F238E27FC236}">
                    <a16:creationId xmlns:a16="http://schemas.microsoft.com/office/drawing/2014/main" id="{A6868D37-ED4E-B273-4052-E535065CFFFC}"/>
                  </a:ext>
                </a:extLst>
              </p:cNvPr>
              <p:cNvGrpSpPr/>
              <p:nvPr/>
            </p:nvGrpSpPr>
            <p:grpSpPr>
              <a:xfrm>
                <a:off x="9087076" y="1930399"/>
                <a:ext cx="944504" cy="809593"/>
                <a:chOff x="5696016" y="3086100"/>
                <a:chExt cx="800080" cy="685799"/>
              </a:xfrm>
              <a:grpFill/>
            </p:grpSpPr>
            <p:sp>
              <p:nvSpPr>
                <p:cNvPr id="310" name="Vrije vorm: vorm 309">
                  <a:extLst>
                    <a:ext uri="{FF2B5EF4-FFF2-40B4-BE49-F238E27FC236}">
                      <a16:creationId xmlns:a16="http://schemas.microsoft.com/office/drawing/2014/main" id="{38E8BB18-27A8-9997-2F6C-DE65774B092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11" name="Vrije vorm: vorm 310">
                  <a:extLst>
                    <a:ext uri="{FF2B5EF4-FFF2-40B4-BE49-F238E27FC236}">
                      <a16:creationId xmlns:a16="http://schemas.microsoft.com/office/drawing/2014/main" id="{CE779004-8CD5-EAA2-6263-FCBBFA2D193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307" name="Groep 306">
                <a:extLst>
                  <a:ext uri="{FF2B5EF4-FFF2-40B4-BE49-F238E27FC236}">
                    <a16:creationId xmlns:a16="http://schemas.microsoft.com/office/drawing/2014/main" id="{91BC16F5-F952-530F-BE12-6BC746ADE3BB}"/>
                  </a:ext>
                </a:extLst>
              </p:cNvPr>
              <p:cNvGrpSpPr/>
              <p:nvPr/>
            </p:nvGrpSpPr>
            <p:grpSpPr>
              <a:xfrm>
                <a:off x="10139413" y="1930399"/>
                <a:ext cx="944504" cy="809593"/>
                <a:chOff x="5696016" y="3086100"/>
                <a:chExt cx="800080" cy="685799"/>
              </a:xfrm>
              <a:grpFill/>
            </p:grpSpPr>
            <p:sp>
              <p:nvSpPr>
                <p:cNvPr id="308" name="Vrije vorm: vorm 307">
                  <a:extLst>
                    <a:ext uri="{FF2B5EF4-FFF2-40B4-BE49-F238E27FC236}">
                      <a16:creationId xmlns:a16="http://schemas.microsoft.com/office/drawing/2014/main" id="{D5BE34DC-1B74-8A64-7E17-690DE108A39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309" name="Vrije vorm: vorm 308">
                  <a:extLst>
                    <a:ext uri="{FF2B5EF4-FFF2-40B4-BE49-F238E27FC236}">
                      <a16:creationId xmlns:a16="http://schemas.microsoft.com/office/drawing/2014/main" id="{1062B09A-E91B-DBA1-E3A3-D2EC8984F97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6" name="Groep 235">
              <a:extLst>
                <a:ext uri="{FF2B5EF4-FFF2-40B4-BE49-F238E27FC236}">
                  <a16:creationId xmlns:a16="http://schemas.microsoft.com/office/drawing/2014/main" id="{D9475647-B736-79A4-21E8-B1BA431A152B}"/>
                </a:ext>
              </a:extLst>
            </p:cNvPr>
            <p:cNvGrpSpPr/>
            <p:nvPr/>
          </p:nvGrpSpPr>
          <p:grpSpPr>
            <a:xfrm>
              <a:off x="649432" y="1690867"/>
              <a:ext cx="2409536" cy="187292"/>
              <a:chOff x="668396" y="1930399"/>
              <a:chExt cx="10415521" cy="809593"/>
            </a:xfrm>
            <a:grpFill/>
          </p:grpSpPr>
          <p:grpSp>
            <p:nvGrpSpPr>
              <p:cNvPr id="268" name="Groep 267">
                <a:extLst>
                  <a:ext uri="{FF2B5EF4-FFF2-40B4-BE49-F238E27FC236}">
                    <a16:creationId xmlns:a16="http://schemas.microsoft.com/office/drawing/2014/main" id="{A5F5B80B-9267-06A3-5C94-6089163DE9DD}"/>
                  </a:ext>
                </a:extLst>
              </p:cNvPr>
              <p:cNvGrpSpPr/>
              <p:nvPr/>
            </p:nvGrpSpPr>
            <p:grpSpPr>
              <a:xfrm>
                <a:off x="668396" y="1930399"/>
                <a:ext cx="944504" cy="809593"/>
                <a:chOff x="5696016" y="3086100"/>
                <a:chExt cx="800080" cy="685799"/>
              </a:xfrm>
              <a:grpFill/>
            </p:grpSpPr>
            <p:sp>
              <p:nvSpPr>
                <p:cNvPr id="296" name="Vrije vorm: vorm 295">
                  <a:extLst>
                    <a:ext uri="{FF2B5EF4-FFF2-40B4-BE49-F238E27FC236}">
                      <a16:creationId xmlns:a16="http://schemas.microsoft.com/office/drawing/2014/main" id="{A8849B8A-B448-E45C-54F6-B3691474AEA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7" name="Vrije vorm: vorm 296">
                  <a:extLst>
                    <a:ext uri="{FF2B5EF4-FFF2-40B4-BE49-F238E27FC236}">
                      <a16:creationId xmlns:a16="http://schemas.microsoft.com/office/drawing/2014/main" id="{92AF29B4-7A55-83FC-8FCF-DBC66D0B680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69" name="Groep 268">
                <a:extLst>
                  <a:ext uri="{FF2B5EF4-FFF2-40B4-BE49-F238E27FC236}">
                    <a16:creationId xmlns:a16="http://schemas.microsoft.com/office/drawing/2014/main" id="{81F6C37A-5BBB-1AA5-86AE-68C7B9BEF843}"/>
                  </a:ext>
                </a:extLst>
              </p:cNvPr>
              <p:cNvGrpSpPr/>
              <p:nvPr/>
            </p:nvGrpSpPr>
            <p:grpSpPr>
              <a:xfrm>
                <a:off x="1720731" y="1930399"/>
                <a:ext cx="944504" cy="809593"/>
                <a:chOff x="5696016" y="3086100"/>
                <a:chExt cx="800080" cy="685799"/>
              </a:xfrm>
              <a:grpFill/>
            </p:grpSpPr>
            <p:sp>
              <p:nvSpPr>
                <p:cNvPr id="294" name="Vrije vorm: vorm 293">
                  <a:extLst>
                    <a:ext uri="{FF2B5EF4-FFF2-40B4-BE49-F238E27FC236}">
                      <a16:creationId xmlns:a16="http://schemas.microsoft.com/office/drawing/2014/main" id="{630DD2A1-B80F-6DC8-001B-22396D3F3F8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5" name="Vrije vorm: vorm 294">
                  <a:extLst>
                    <a:ext uri="{FF2B5EF4-FFF2-40B4-BE49-F238E27FC236}">
                      <a16:creationId xmlns:a16="http://schemas.microsoft.com/office/drawing/2014/main" id="{2EE6AC7B-6426-6477-2814-5FE4329C7C2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0" name="Groep 269">
                <a:extLst>
                  <a:ext uri="{FF2B5EF4-FFF2-40B4-BE49-F238E27FC236}">
                    <a16:creationId xmlns:a16="http://schemas.microsoft.com/office/drawing/2014/main" id="{0BEAAFEA-92C7-FAA6-F1BE-F2DD7D173F76}"/>
                  </a:ext>
                </a:extLst>
              </p:cNvPr>
              <p:cNvGrpSpPr/>
              <p:nvPr/>
            </p:nvGrpSpPr>
            <p:grpSpPr>
              <a:xfrm>
                <a:off x="2773066" y="1930399"/>
                <a:ext cx="944504" cy="809593"/>
                <a:chOff x="5696016" y="3086100"/>
                <a:chExt cx="800080" cy="685799"/>
              </a:xfrm>
              <a:grpFill/>
            </p:grpSpPr>
            <p:sp>
              <p:nvSpPr>
                <p:cNvPr id="292" name="Vrije vorm: vorm 291">
                  <a:extLst>
                    <a:ext uri="{FF2B5EF4-FFF2-40B4-BE49-F238E27FC236}">
                      <a16:creationId xmlns:a16="http://schemas.microsoft.com/office/drawing/2014/main" id="{0DA2C2E9-E282-37BF-4463-AB2D9E77070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3" name="Vrije vorm: vorm 292">
                  <a:extLst>
                    <a:ext uri="{FF2B5EF4-FFF2-40B4-BE49-F238E27FC236}">
                      <a16:creationId xmlns:a16="http://schemas.microsoft.com/office/drawing/2014/main" id="{D4E96361-0184-FC23-18DC-598BA0E153B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1" name="Groep 270">
                <a:extLst>
                  <a:ext uri="{FF2B5EF4-FFF2-40B4-BE49-F238E27FC236}">
                    <a16:creationId xmlns:a16="http://schemas.microsoft.com/office/drawing/2014/main" id="{EC4E5517-2495-4EE9-14C3-7BC5943ECA9C}"/>
                  </a:ext>
                </a:extLst>
              </p:cNvPr>
              <p:cNvGrpSpPr/>
              <p:nvPr/>
            </p:nvGrpSpPr>
            <p:grpSpPr>
              <a:xfrm>
                <a:off x="3825401" y="1930399"/>
                <a:ext cx="944504" cy="809593"/>
                <a:chOff x="5696016" y="3086100"/>
                <a:chExt cx="800080" cy="685799"/>
              </a:xfrm>
              <a:grpFill/>
            </p:grpSpPr>
            <p:sp>
              <p:nvSpPr>
                <p:cNvPr id="290" name="Vrije vorm: vorm 289">
                  <a:extLst>
                    <a:ext uri="{FF2B5EF4-FFF2-40B4-BE49-F238E27FC236}">
                      <a16:creationId xmlns:a16="http://schemas.microsoft.com/office/drawing/2014/main" id="{6C0ACF24-0E1D-91D8-362D-1C25F536D69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91" name="Vrije vorm: vorm 290">
                  <a:extLst>
                    <a:ext uri="{FF2B5EF4-FFF2-40B4-BE49-F238E27FC236}">
                      <a16:creationId xmlns:a16="http://schemas.microsoft.com/office/drawing/2014/main" id="{FE1DB6D0-AD8E-3ED0-EB33-03ED6988AF4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2" name="Groep 271">
                <a:extLst>
                  <a:ext uri="{FF2B5EF4-FFF2-40B4-BE49-F238E27FC236}">
                    <a16:creationId xmlns:a16="http://schemas.microsoft.com/office/drawing/2014/main" id="{8C62A73E-03D7-3723-99BA-4AC57175724E}"/>
                  </a:ext>
                </a:extLst>
              </p:cNvPr>
              <p:cNvGrpSpPr/>
              <p:nvPr/>
            </p:nvGrpSpPr>
            <p:grpSpPr>
              <a:xfrm>
                <a:off x="4877736" y="1930399"/>
                <a:ext cx="944504" cy="809593"/>
                <a:chOff x="5696016" y="3086100"/>
                <a:chExt cx="800080" cy="685799"/>
              </a:xfrm>
              <a:grpFill/>
            </p:grpSpPr>
            <p:sp>
              <p:nvSpPr>
                <p:cNvPr id="288" name="Vrije vorm: vorm 287">
                  <a:extLst>
                    <a:ext uri="{FF2B5EF4-FFF2-40B4-BE49-F238E27FC236}">
                      <a16:creationId xmlns:a16="http://schemas.microsoft.com/office/drawing/2014/main" id="{B281D97D-AD94-3B68-1E03-8DB5128D09E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9" name="Vrije vorm: vorm 288">
                  <a:extLst>
                    <a:ext uri="{FF2B5EF4-FFF2-40B4-BE49-F238E27FC236}">
                      <a16:creationId xmlns:a16="http://schemas.microsoft.com/office/drawing/2014/main" id="{031FB12F-609C-7ABA-65A1-1F421B571EF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3" name="Groep 272">
                <a:extLst>
                  <a:ext uri="{FF2B5EF4-FFF2-40B4-BE49-F238E27FC236}">
                    <a16:creationId xmlns:a16="http://schemas.microsoft.com/office/drawing/2014/main" id="{57822FAD-32F8-2C4D-8A0D-C2D25F0F9F97}"/>
                  </a:ext>
                </a:extLst>
              </p:cNvPr>
              <p:cNvGrpSpPr/>
              <p:nvPr/>
            </p:nvGrpSpPr>
            <p:grpSpPr>
              <a:xfrm>
                <a:off x="5930071" y="1930399"/>
                <a:ext cx="944504" cy="809593"/>
                <a:chOff x="5696016" y="3086100"/>
                <a:chExt cx="800080" cy="685799"/>
              </a:xfrm>
              <a:grpFill/>
            </p:grpSpPr>
            <p:sp>
              <p:nvSpPr>
                <p:cNvPr id="286" name="Vrije vorm: vorm 285">
                  <a:extLst>
                    <a:ext uri="{FF2B5EF4-FFF2-40B4-BE49-F238E27FC236}">
                      <a16:creationId xmlns:a16="http://schemas.microsoft.com/office/drawing/2014/main" id="{C8669034-8F94-0488-5580-40986B81098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7" name="Vrije vorm: vorm 286">
                  <a:extLst>
                    <a:ext uri="{FF2B5EF4-FFF2-40B4-BE49-F238E27FC236}">
                      <a16:creationId xmlns:a16="http://schemas.microsoft.com/office/drawing/2014/main" id="{27837207-7BD5-4A59-EC29-63B66067BA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4" name="Groep 273">
                <a:extLst>
                  <a:ext uri="{FF2B5EF4-FFF2-40B4-BE49-F238E27FC236}">
                    <a16:creationId xmlns:a16="http://schemas.microsoft.com/office/drawing/2014/main" id="{D77FC4D9-30B9-91A1-148D-DA52FA6493F4}"/>
                  </a:ext>
                </a:extLst>
              </p:cNvPr>
              <p:cNvGrpSpPr/>
              <p:nvPr/>
            </p:nvGrpSpPr>
            <p:grpSpPr>
              <a:xfrm>
                <a:off x="6982406" y="1930399"/>
                <a:ext cx="944504" cy="809593"/>
                <a:chOff x="5696016" y="3086100"/>
                <a:chExt cx="800080" cy="685799"/>
              </a:xfrm>
              <a:grpFill/>
            </p:grpSpPr>
            <p:sp>
              <p:nvSpPr>
                <p:cNvPr id="284" name="Vrije vorm: vorm 283">
                  <a:extLst>
                    <a:ext uri="{FF2B5EF4-FFF2-40B4-BE49-F238E27FC236}">
                      <a16:creationId xmlns:a16="http://schemas.microsoft.com/office/drawing/2014/main" id="{8ACDA08F-E84A-A9FF-1A60-C78473CF5AB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5" name="Vrije vorm: vorm 284">
                  <a:extLst>
                    <a:ext uri="{FF2B5EF4-FFF2-40B4-BE49-F238E27FC236}">
                      <a16:creationId xmlns:a16="http://schemas.microsoft.com/office/drawing/2014/main" id="{D43BD35E-20BD-ED2E-7791-107F958FEA2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5" name="Groep 274">
                <a:extLst>
                  <a:ext uri="{FF2B5EF4-FFF2-40B4-BE49-F238E27FC236}">
                    <a16:creationId xmlns:a16="http://schemas.microsoft.com/office/drawing/2014/main" id="{60B72B0B-96DA-3772-3747-AD166DED7B11}"/>
                  </a:ext>
                </a:extLst>
              </p:cNvPr>
              <p:cNvGrpSpPr/>
              <p:nvPr/>
            </p:nvGrpSpPr>
            <p:grpSpPr>
              <a:xfrm>
                <a:off x="8034741" y="1930399"/>
                <a:ext cx="944504" cy="809593"/>
                <a:chOff x="5696016" y="3086100"/>
                <a:chExt cx="800080" cy="685799"/>
              </a:xfrm>
              <a:grpFill/>
            </p:grpSpPr>
            <p:sp>
              <p:nvSpPr>
                <p:cNvPr id="282" name="Vrije vorm: vorm 281">
                  <a:extLst>
                    <a:ext uri="{FF2B5EF4-FFF2-40B4-BE49-F238E27FC236}">
                      <a16:creationId xmlns:a16="http://schemas.microsoft.com/office/drawing/2014/main" id="{506717FA-4998-9917-61A5-4C8B32B98C6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3" name="Vrije vorm: vorm 282">
                  <a:extLst>
                    <a:ext uri="{FF2B5EF4-FFF2-40B4-BE49-F238E27FC236}">
                      <a16:creationId xmlns:a16="http://schemas.microsoft.com/office/drawing/2014/main" id="{2A37284A-15C3-2474-706A-0416B3234EB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6" name="Groep 275">
                <a:extLst>
                  <a:ext uri="{FF2B5EF4-FFF2-40B4-BE49-F238E27FC236}">
                    <a16:creationId xmlns:a16="http://schemas.microsoft.com/office/drawing/2014/main" id="{DD78B75D-7242-EC82-7106-6F0950BD794B}"/>
                  </a:ext>
                </a:extLst>
              </p:cNvPr>
              <p:cNvGrpSpPr/>
              <p:nvPr/>
            </p:nvGrpSpPr>
            <p:grpSpPr>
              <a:xfrm>
                <a:off x="9087076" y="1930399"/>
                <a:ext cx="944504" cy="809593"/>
                <a:chOff x="5696016" y="3086100"/>
                <a:chExt cx="800080" cy="685799"/>
              </a:xfrm>
              <a:grpFill/>
            </p:grpSpPr>
            <p:sp>
              <p:nvSpPr>
                <p:cNvPr id="280" name="Vrije vorm: vorm 279">
                  <a:extLst>
                    <a:ext uri="{FF2B5EF4-FFF2-40B4-BE49-F238E27FC236}">
                      <a16:creationId xmlns:a16="http://schemas.microsoft.com/office/drawing/2014/main" id="{73B6CE2A-9210-E9C3-757B-089FD7CFEE9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81" name="Vrije vorm: vorm 280">
                  <a:extLst>
                    <a:ext uri="{FF2B5EF4-FFF2-40B4-BE49-F238E27FC236}">
                      <a16:creationId xmlns:a16="http://schemas.microsoft.com/office/drawing/2014/main" id="{1813D1D2-356F-F2B5-5357-45C06A74087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77" name="Groep 276">
                <a:extLst>
                  <a:ext uri="{FF2B5EF4-FFF2-40B4-BE49-F238E27FC236}">
                    <a16:creationId xmlns:a16="http://schemas.microsoft.com/office/drawing/2014/main" id="{4DB270E7-135C-3660-2640-B5BE41459763}"/>
                  </a:ext>
                </a:extLst>
              </p:cNvPr>
              <p:cNvGrpSpPr/>
              <p:nvPr/>
            </p:nvGrpSpPr>
            <p:grpSpPr>
              <a:xfrm>
                <a:off x="10139413" y="1930399"/>
                <a:ext cx="944504" cy="809593"/>
                <a:chOff x="5696016" y="3086100"/>
                <a:chExt cx="800080" cy="685799"/>
              </a:xfrm>
              <a:grpFill/>
            </p:grpSpPr>
            <p:sp>
              <p:nvSpPr>
                <p:cNvPr id="278" name="Vrije vorm: vorm 277">
                  <a:extLst>
                    <a:ext uri="{FF2B5EF4-FFF2-40B4-BE49-F238E27FC236}">
                      <a16:creationId xmlns:a16="http://schemas.microsoft.com/office/drawing/2014/main" id="{3CB3F39A-18FA-8BA1-569B-09031F4664F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79" name="Vrije vorm: vorm 278">
                  <a:extLst>
                    <a:ext uri="{FF2B5EF4-FFF2-40B4-BE49-F238E27FC236}">
                      <a16:creationId xmlns:a16="http://schemas.microsoft.com/office/drawing/2014/main" id="{79FE8E29-B186-C877-9320-D1277CD1DE7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7" name="Groep 236">
              <a:extLst>
                <a:ext uri="{FF2B5EF4-FFF2-40B4-BE49-F238E27FC236}">
                  <a16:creationId xmlns:a16="http://schemas.microsoft.com/office/drawing/2014/main" id="{ED3E4EC6-04C6-2D3D-1F0B-7554DEE419FC}"/>
                </a:ext>
              </a:extLst>
            </p:cNvPr>
            <p:cNvGrpSpPr/>
            <p:nvPr/>
          </p:nvGrpSpPr>
          <p:grpSpPr>
            <a:xfrm>
              <a:off x="649432" y="1924901"/>
              <a:ext cx="2409536" cy="187292"/>
              <a:chOff x="668396" y="1930399"/>
              <a:chExt cx="10415521" cy="809593"/>
            </a:xfrm>
            <a:grpFill/>
          </p:grpSpPr>
          <p:grpSp>
            <p:nvGrpSpPr>
              <p:cNvPr id="238" name="Groep 237">
                <a:extLst>
                  <a:ext uri="{FF2B5EF4-FFF2-40B4-BE49-F238E27FC236}">
                    <a16:creationId xmlns:a16="http://schemas.microsoft.com/office/drawing/2014/main" id="{C94BBBA8-946A-9C45-96CF-449F3F56D9F6}"/>
                  </a:ext>
                </a:extLst>
              </p:cNvPr>
              <p:cNvGrpSpPr/>
              <p:nvPr/>
            </p:nvGrpSpPr>
            <p:grpSpPr>
              <a:xfrm>
                <a:off x="668396" y="1930399"/>
                <a:ext cx="944504" cy="809593"/>
                <a:chOff x="5696016" y="3086100"/>
                <a:chExt cx="800080" cy="685799"/>
              </a:xfrm>
              <a:grpFill/>
            </p:grpSpPr>
            <p:sp>
              <p:nvSpPr>
                <p:cNvPr id="266" name="Vrije vorm: vorm 265">
                  <a:extLst>
                    <a:ext uri="{FF2B5EF4-FFF2-40B4-BE49-F238E27FC236}">
                      <a16:creationId xmlns:a16="http://schemas.microsoft.com/office/drawing/2014/main" id="{C9C32435-A0B7-4F11-3D32-6B90089F6B0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7" name="Vrije vorm: vorm 266">
                  <a:extLst>
                    <a:ext uri="{FF2B5EF4-FFF2-40B4-BE49-F238E27FC236}">
                      <a16:creationId xmlns:a16="http://schemas.microsoft.com/office/drawing/2014/main" id="{C3C57BC1-82C1-840F-FE7B-8D617B63349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 name="Groep 238">
                <a:extLst>
                  <a:ext uri="{FF2B5EF4-FFF2-40B4-BE49-F238E27FC236}">
                    <a16:creationId xmlns:a16="http://schemas.microsoft.com/office/drawing/2014/main" id="{25FEE33E-E70C-44BD-20EE-168AF36FA247}"/>
                  </a:ext>
                </a:extLst>
              </p:cNvPr>
              <p:cNvGrpSpPr/>
              <p:nvPr/>
            </p:nvGrpSpPr>
            <p:grpSpPr>
              <a:xfrm>
                <a:off x="1720731" y="1930399"/>
                <a:ext cx="944504" cy="809593"/>
                <a:chOff x="5696016" y="3086100"/>
                <a:chExt cx="800080" cy="685799"/>
              </a:xfrm>
              <a:grpFill/>
            </p:grpSpPr>
            <p:sp>
              <p:nvSpPr>
                <p:cNvPr id="264" name="Vrije vorm: vorm 263">
                  <a:extLst>
                    <a:ext uri="{FF2B5EF4-FFF2-40B4-BE49-F238E27FC236}">
                      <a16:creationId xmlns:a16="http://schemas.microsoft.com/office/drawing/2014/main" id="{B415D925-F753-B9CF-FF7E-F2455818F2D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5" name="Vrije vorm: vorm 264">
                  <a:extLst>
                    <a:ext uri="{FF2B5EF4-FFF2-40B4-BE49-F238E27FC236}">
                      <a16:creationId xmlns:a16="http://schemas.microsoft.com/office/drawing/2014/main" id="{D8FB3395-1C54-9E2D-0464-F5FC6A8CB8F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 name="Groep 239">
                <a:extLst>
                  <a:ext uri="{FF2B5EF4-FFF2-40B4-BE49-F238E27FC236}">
                    <a16:creationId xmlns:a16="http://schemas.microsoft.com/office/drawing/2014/main" id="{2B9AF62D-D655-1F66-E7B8-F597F29CC0C7}"/>
                  </a:ext>
                </a:extLst>
              </p:cNvPr>
              <p:cNvGrpSpPr/>
              <p:nvPr/>
            </p:nvGrpSpPr>
            <p:grpSpPr>
              <a:xfrm>
                <a:off x="2773066" y="1930399"/>
                <a:ext cx="944504" cy="809593"/>
                <a:chOff x="5696016" y="3086100"/>
                <a:chExt cx="800080" cy="685799"/>
              </a:xfrm>
              <a:grpFill/>
            </p:grpSpPr>
            <p:sp>
              <p:nvSpPr>
                <p:cNvPr id="262" name="Vrije vorm: vorm 261">
                  <a:extLst>
                    <a:ext uri="{FF2B5EF4-FFF2-40B4-BE49-F238E27FC236}">
                      <a16:creationId xmlns:a16="http://schemas.microsoft.com/office/drawing/2014/main" id="{126C1767-8E36-BD7A-AF7A-7A217CA3572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3" name="Vrije vorm: vorm 262">
                  <a:extLst>
                    <a:ext uri="{FF2B5EF4-FFF2-40B4-BE49-F238E27FC236}">
                      <a16:creationId xmlns:a16="http://schemas.microsoft.com/office/drawing/2014/main" id="{7F21A7B4-D971-B2EF-FE15-6026DAE32D5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 name="Groep 240">
                <a:extLst>
                  <a:ext uri="{FF2B5EF4-FFF2-40B4-BE49-F238E27FC236}">
                    <a16:creationId xmlns:a16="http://schemas.microsoft.com/office/drawing/2014/main" id="{67D33182-F9D6-4CD8-F2A9-122154708416}"/>
                  </a:ext>
                </a:extLst>
              </p:cNvPr>
              <p:cNvGrpSpPr/>
              <p:nvPr/>
            </p:nvGrpSpPr>
            <p:grpSpPr>
              <a:xfrm>
                <a:off x="3825401" y="1930399"/>
                <a:ext cx="944504" cy="809593"/>
                <a:chOff x="5696016" y="3086100"/>
                <a:chExt cx="800080" cy="685799"/>
              </a:xfrm>
              <a:grpFill/>
            </p:grpSpPr>
            <p:sp>
              <p:nvSpPr>
                <p:cNvPr id="260" name="Vrije vorm: vorm 259">
                  <a:extLst>
                    <a:ext uri="{FF2B5EF4-FFF2-40B4-BE49-F238E27FC236}">
                      <a16:creationId xmlns:a16="http://schemas.microsoft.com/office/drawing/2014/main" id="{6C8EA402-E07E-AAC6-5EEF-A17E78DF81C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61" name="Vrije vorm: vorm 260">
                  <a:extLst>
                    <a:ext uri="{FF2B5EF4-FFF2-40B4-BE49-F238E27FC236}">
                      <a16:creationId xmlns:a16="http://schemas.microsoft.com/office/drawing/2014/main" id="{B9785970-6C2F-FF2B-E793-138240A12F6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2" name="Groep 241">
                <a:extLst>
                  <a:ext uri="{FF2B5EF4-FFF2-40B4-BE49-F238E27FC236}">
                    <a16:creationId xmlns:a16="http://schemas.microsoft.com/office/drawing/2014/main" id="{5868F636-4A08-1312-D3B6-25F9AC897A88}"/>
                  </a:ext>
                </a:extLst>
              </p:cNvPr>
              <p:cNvGrpSpPr/>
              <p:nvPr/>
            </p:nvGrpSpPr>
            <p:grpSpPr>
              <a:xfrm>
                <a:off x="4877736" y="1930399"/>
                <a:ext cx="944504" cy="809593"/>
                <a:chOff x="5696016" y="3086100"/>
                <a:chExt cx="800080" cy="685799"/>
              </a:xfrm>
              <a:grpFill/>
            </p:grpSpPr>
            <p:sp>
              <p:nvSpPr>
                <p:cNvPr id="258" name="Vrije vorm: vorm 257">
                  <a:extLst>
                    <a:ext uri="{FF2B5EF4-FFF2-40B4-BE49-F238E27FC236}">
                      <a16:creationId xmlns:a16="http://schemas.microsoft.com/office/drawing/2014/main" id="{4E2BBB47-E0F3-D9AD-7BE2-3DDC212D2E5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9" name="Vrije vorm: vorm 258">
                  <a:extLst>
                    <a:ext uri="{FF2B5EF4-FFF2-40B4-BE49-F238E27FC236}">
                      <a16:creationId xmlns:a16="http://schemas.microsoft.com/office/drawing/2014/main" id="{A78A62F3-F008-927C-6E76-0D3BA6BBE5D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3" name="Groep 242">
                <a:extLst>
                  <a:ext uri="{FF2B5EF4-FFF2-40B4-BE49-F238E27FC236}">
                    <a16:creationId xmlns:a16="http://schemas.microsoft.com/office/drawing/2014/main" id="{1DCA488F-F7AE-9F0B-DD6B-01EA5F58BB16}"/>
                  </a:ext>
                </a:extLst>
              </p:cNvPr>
              <p:cNvGrpSpPr/>
              <p:nvPr/>
            </p:nvGrpSpPr>
            <p:grpSpPr>
              <a:xfrm>
                <a:off x="5930071" y="1930399"/>
                <a:ext cx="944504" cy="809593"/>
                <a:chOff x="5696016" y="3086100"/>
                <a:chExt cx="800080" cy="685799"/>
              </a:xfrm>
              <a:grpFill/>
            </p:grpSpPr>
            <p:sp>
              <p:nvSpPr>
                <p:cNvPr id="256" name="Vrije vorm: vorm 255">
                  <a:extLst>
                    <a:ext uri="{FF2B5EF4-FFF2-40B4-BE49-F238E27FC236}">
                      <a16:creationId xmlns:a16="http://schemas.microsoft.com/office/drawing/2014/main" id="{71600DB8-5368-AC7E-F3AF-F89DC2A231D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7" name="Vrije vorm: vorm 256">
                  <a:extLst>
                    <a:ext uri="{FF2B5EF4-FFF2-40B4-BE49-F238E27FC236}">
                      <a16:creationId xmlns:a16="http://schemas.microsoft.com/office/drawing/2014/main" id="{F80816A0-0FF9-2249-9071-868F3375205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4" name="Groep 243">
                <a:extLst>
                  <a:ext uri="{FF2B5EF4-FFF2-40B4-BE49-F238E27FC236}">
                    <a16:creationId xmlns:a16="http://schemas.microsoft.com/office/drawing/2014/main" id="{E92693E6-916E-C4FA-8046-7E94305B841D}"/>
                  </a:ext>
                </a:extLst>
              </p:cNvPr>
              <p:cNvGrpSpPr/>
              <p:nvPr/>
            </p:nvGrpSpPr>
            <p:grpSpPr>
              <a:xfrm>
                <a:off x="6982406" y="1930399"/>
                <a:ext cx="944504" cy="809593"/>
                <a:chOff x="5696016" y="3086100"/>
                <a:chExt cx="800080" cy="685799"/>
              </a:xfrm>
              <a:grpFill/>
            </p:grpSpPr>
            <p:sp>
              <p:nvSpPr>
                <p:cNvPr id="254" name="Vrije vorm: vorm 253">
                  <a:extLst>
                    <a:ext uri="{FF2B5EF4-FFF2-40B4-BE49-F238E27FC236}">
                      <a16:creationId xmlns:a16="http://schemas.microsoft.com/office/drawing/2014/main" id="{81053763-5423-BE25-5CE4-1DDE53E4BEF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5" name="Vrije vorm: vorm 254">
                  <a:extLst>
                    <a:ext uri="{FF2B5EF4-FFF2-40B4-BE49-F238E27FC236}">
                      <a16:creationId xmlns:a16="http://schemas.microsoft.com/office/drawing/2014/main" id="{D3C94B4F-6F7E-38A4-35FB-47ED2396550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5" name="Groep 244">
                <a:extLst>
                  <a:ext uri="{FF2B5EF4-FFF2-40B4-BE49-F238E27FC236}">
                    <a16:creationId xmlns:a16="http://schemas.microsoft.com/office/drawing/2014/main" id="{AFBBEA4B-AE47-6D30-3DB1-AA178DCFDB81}"/>
                  </a:ext>
                </a:extLst>
              </p:cNvPr>
              <p:cNvGrpSpPr/>
              <p:nvPr/>
            </p:nvGrpSpPr>
            <p:grpSpPr>
              <a:xfrm>
                <a:off x="8034741" y="1930399"/>
                <a:ext cx="944504" cy="809593"/>
                <a:chOff x="5696016" y="3086100"/>
                <a:chExt cx="800080" cy="685799"/>
              </a:xfrm>
              <a:grpFill/>
            </p:grpSpPr>
            <p:sp>
              <p:nvSpPr>
                <p:cNvPr id="252" name="Vrije vorm: vorm 251">
                  <a:extLst>
                    <a:ext uri="{FF2B5EF4-FFF2-40B4-BE49-F238E27FC236}">
                      <a16:creationId xmlns:a16="http://schemas.microsoft.com/office/drawing/2014/main" id="{6545AB6C-9C40-D4F4-117E-4BB01680A8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3" name="Vrije vorm: vorm 252">
                  <a:extLst>
                    <a:ext uri="{FF2B5EF4-FFF2-40B4-BE49-F238E27FC236}">
                      <a16:creationId xmlns:a16="http://schemas.microsoft.com/office/drawing/2014/main" id="{FCDD49E5-F940-42B6-E891-87CB169EDF2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6" name="Groep 245">
                <a:extLst>
                  <a:ext uri="{FF2B5EF4-FFF2-40B4-BE49-F238E27FC236}">
                    <a16:creationId xmlns:a16="http://schemas.microsoft.com/office/drawing/2014/main" id="{2FB04F53-1DF2-8730-D0D0-89AB1631C862}"/>
                  </a:ext>
                </a:extLst>
              </p:cNvPr>
              <p:cNvGrpSpPr/>
              <p:nvPr/>
            </p:nvGrpSpPr>
            <p:grpSpPr>
              <a:xfrm>
                <a:off x="9087076" y="1930399"/>
                <a:ext cx="944504" cy="809593"/>
                <a:chOff x="5696016" y="3086100"/>
                <a:chExt cx="800080" cy="685799"/>
              </a:xfrm>
              <a:grpFill/>
            </p:grpSpPr>
            <p:sp>
              <p:nvSpPr>
                <p:cNvPr id="250" name="Vrije vorm: vorm 249">
                  <a:extLst>
                    <a:ext uri="{FF2B5EF4-FFF2-40B4-BE49-F238E27FC236}">
                      <a16:creationId xmlns:a16="http://schemas.microsoft.com/office/drawing/2014/main" id="{FE8A456D-559D-348A-11FF-3DFAEF5606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1" name="Vrije vorm: vorm 250">
                  <a:extLst>
                    <a:ext uri="{FF2B5EF4-FFF2-40B4-BE49-F238E27FC236}">
                      <a16:creationId xmlns:a16="http://schemas.microsoft.com/office/drawing/2014/main" id="{884ECD3E-E29F-9349-A459-391F22C89A5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7" name="Groep 246">
                <a:extLst>
                  <a:ext uri="{FF2B5EF4-FFF2-40B4-BE49-F238E27FC236}">
                    <a16:creationId xmlns:a16="http://schemas.microsoft.com/office/drawing/2014/main" id="{ECC63D78-620B-05CB-A81D-7BFA26330665}"/>
                  </a:ext>
                </a:extLst>
              </p:cNvPr>
              <p:cNvGrpSpPr/>
              <p:nvPr/>
            </p:nvGrpSpPr>
            <p:grpSpPr>
              <a:xfrm>
                <a:off x="10139413" y="1930399"/>
                <a:ext cx="944504" cy="809593"/>
                <a:chOff x="5696016" y="3086100"/>
                <a:chExt cx="800080" cy="685799"/>
              </a:xfrm>
              <a:grpFill/>
            </p:grpSpPr>
            <p:sp>
              <p:nvSpPr>
                <p:cNvPr id="248" name="Vrije vorm: vorm 247">
                  <a:extLst>
                    <a:ext uri="{FF2B5EF4-FFF2-40B4-BE49-F238E27FC236}">
                      <a16:creationId xmlns:a16="http://schemas.microsoft.com/office/drawing/2014/main" id="{0B3EF5D4-CBCA-7DCB-B095-C5466479934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 name="Vrije vorm: vorm 248">
                  <a:extLst>
                    <a:ext uri="{FF2B5EF4-FFF2-40B4-BE49-F238E27FC236}">
                      <a16:creationId xmlns:a16="http://schemas.microsoft.com/office/drawing/2014/main" id="{A4C54799-5D64-7F42-6E24-B38E6D18645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448" name="Groep 447">
            <a:extLst>
              <a:ext uri="{FF2B5EF4-FFF2-40B4-BE49-F238E27FC236}">
                <a16:creationId xmlns:a16="http://schemas.microsoft.com/office/drawing/2014/main" id="{EE7E5359-DDD3-F09D-ADCF-7C38BE98CBC6}"/>
              </a:ext>
            </a:extLst>
          </p:cNvPr>
          <p:cNvGrpSpPr/>
          <p:nvPr/>
        </p:nvGrpSpPr>
        <p:grpSpPr>
          <a:xfrm>
            <a:off x="5912410" y="2044547"/>
            <a:ext cx="2590164" cy="1710798"/>
            <a:chOff x="649432" y="520700"/>
            <a:chExt cx="2409536" cy="1591493"/>
          </a:xfrm>
          <a:solidFill>
            <a:schemeClr val="accent2"/>
          </a:solidFill>
        </p:grpSpPr>
        <p:grpSp>
          <p:nvGrpSpPr>
            <p:cNvPr id="449" name="Groep 448">
              <a:extLst>
                <a:ext uri="{FF2B5EF4-FFF2-40B4-BE49-F238E27FC236}">
                  <a16:creationId xmlns:a16="http://schemas.microsoft.com/office/drawing/2014/main" id="{E125733E-B2C5-8AD9-381F-29965E6CE931}"/>
                </a:ext>
              </a:extLst>
            </p:cNvPr>
            <p:cNvGrpSpPr/>
            <p:nvPr/>
          </p:nvGrpSpPr>
          <p:grpSpPr>
            <a:xfrm>
              <a:off x="649432" y="520700"/>
              <a:ext cx="2409536" cy="187292"/>
              <a:chOff x="668396" y="1930399"/>
              <a:chExt cx="10415521" cy="809593"/>
            </a:xfrm>
            <a:grpFill/>
          </p:grpSpPr>
          <p:grpSp>
            <p:nvGrpSpPr>
              <p:cNvPr id="636" name="Groep 635">
                <a:extLst>
                  <a:ext uri="{FF2B5EF4-FFF2-40B4-BE49-F238E27FC236}">
                    <a16:creationId xmlns:a16="http://schemas.microsoft.com/office/drawing/2014/main" id="{A67639DD-7382-280E-A585-E86EA7C093A5}"/>
                  </a:ext>
                </a:extLst>
              </p:cNvPr>
              <p:cNvGrpSpPr/>
              <p:nvPr/>
            </p:nvGrpSpPr>
            <p:grpSpPr>
              <a:xfrm>
                <a:off x="668396" y="1930399"/>
                <a:ext cx="944504" cy="809593"/>
                <a:chOff x="5696016" y="3086100"/>
                <a:chExt cx="800080" cy="685799"/>
              </a:xfrm>
              <a:grpFill/>
            </p:grpSpPr>
            <p:sp>
              <p:nvSpPr>
                <p:cNvPr id="664" name="Vrije vorm: vorm 663">
                  <a:extLst>
                    <a:ext uri="{FF2B5EF4-FFF2-40B4-BE49-F238E27FC236}">
                      <a16:creationId xmlns:a16="http://schemas.microsoft.com/office/drawing/2014/main" id="{50361638-CBBE-E932-B7F4-7C38540AC8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65" name="Vrije vorm: vorm 664">
                  <a:extLst>
                    <a:ext uri="{FF2B5EF4-FFF2-40B4-BE49-F238E27FC236}">
                      <a16:creationId xmlns:a16="http://schemas.microsoft.com/office/drawing/2014/main" id="{C220B10D-4C1A-B44B-64A5-A3C05DB2585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37" name="Groep 636">
                <a:extLst>
                  <a:ext uri="{FF2B5EF4-FFF2-40B4-BE49-F238E27FC236}">
                    <a16:creationId xmlns:a16="http://schemas.microsoft.com/office/drawing/2014/main" id="{1630C277-CCE0-CFCD-BB67-CD7097D5EC4E}"/>
                  </a:ext>
                </a:extLst>
              </p:cNvPr>
              <p:cNvGrpSpPr/>
              <p:nvPr/>
            </p:nvGrpSpPr>
            <p:grpSpPr>
              <a:xfrm>
                <a:off x="1720731" y="1930399"/>
                <a:ext cx="944504" cy="809593"/>
                <a:chOff x="5696016" y="3086100"/>
                <a:chExt cx="800080" cy="685799"/>
              </a:xfrm>
              <a:grpFill/>
            </p:grpSpPr>
            <p:sp>
              <p:nvSpPr>
                <p:cNvPr id="662" name="Vrije vorm: vorm 661">
                  <a:extLst>
                    <a:ext uri="{FF2B5EF4-FFF2-40B4-BE49-F238E27FC236}">
                      <a16:creationId xmlns:a16="http://schemas.microsoft.com/office/drawing/2014/main" id="{AACD94E8-32CD-961B-BA76-7B0DD8676CB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63" name="Vrije vorm: vorm 662">
                  <a:extLst>
                    <a:ext uri="{FF2B5EF4-FFF2-40B4-BE49-F238E27FC236}">
                      <a16:creationId xmlns:a16="http://schemas.microsoft.com/office/drawing/2014/main" id="{0C812398-3B15-DED7-A3A9-972B86A9D4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38" name="Groep 637">
                <a:extLst>
                  <a:ext uri="{FF2B5EF4-FFF2-40B4-BE49-F238E27FC236}">
                    <a16:creationId xmlns:a16="http://schemas.microsoft.com/office/drawing/2014/main" id="{31D37D72-34D5-226A-1393-8DCFFA1CA673}"/>
                  </a:ext>
                </a:extLst>
              </p:cNvPr>
              <p:cNvGrpSpPr/>
              <p:nvPr/>
            </p:nvGrpSpPr>
            <p:grpSpPr>
              <a:xfrm>
                <a:off x="2773066" y="1930399"/>
                <a:ext cx="944504" cy="809593"/>
                <a:chOff x="5696016" y="3086100"/>
                <a:chExt cx="800080" cy="685799"/>
              </a:xfrm>
              <a:grpFill/>
            </p:grpSpPr>
            <p:sp>
              <p:nvSpPr>
                <p:cNvPr id="660" name="Vrije vorm: vorm 659">
                  <a:extLst>
                    <a:ext uri="{FF2B5EF4-FFF2-40B4-BE49-F238E27FC236}">
                      <a16:creationId xmlns:a16="http://schemas.microsoft.com/office/drawing/2014/main" id="{96E30268-844E-7615-55DA-90AFEDA3558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61" name="Vrije vorm: vorm 660">
                  <a:extLst>
                    <a:ext uri="{FF2B5EF4-FFF2-40B4-BE49-F238E27FC236}">
                      <a16:creationId xmlns:a16="http://schemas.microsoft.com/office/drawing/2014/main" id="{7F5FD647-D9D7-16CC-6935-7242D7E4550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39" name="Groep 638">
                <a:extLst>
                  <a:ext uri="{FF2B5EF4-FFF2-40B4-BE49-F238E27FC236}">
                    <a16:creationId xmlns:a16="http://schemas.microsoft.com/office/drawing/2014/main" id="{74A86204-FDEF-8429-EF3D-09F5DFCA12E9}"/>
                  </a:ext>
                </a:extLst>
              </p:cNvPr>
              <p:cNvGrpSpPr/>
              <p:nvPr/>
            </p:nvGrpSpPr>
            <p:grpSpPr>
              <a:xfrm>
                <a:off x="3825401" y="1930399"/>
                <a:ext cx="944504" cy="809593"/>
                <a:chOff x="5696016" y="3086100"/>
                <a:chExt cx="800080" cy="685799"/>
              </a:xfrm>
              <a:grpFill/>
            </p:grpSpPr>
            <p:sp>
              <p:nvSpPr>
                <p:cNvPr id="658" name="Vrije vorm: vorm 657">
                  <a:extLst>
                    <a:ext uri="{FF2B5EF4-FFF2-40B4-BE49-F238E27FC236}">
                      <a16:creationId xmlns:a16="http://schemas.microsoft.com/office/drawing/2014/main" id="{0F15C2BF-8C08-F7B1-CEBE-3FBA4C7B72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9" name="Vrije vorm: vorm 658">
                  <a:extLst>
                    <a:ext uri="{FF2B5EF4-FFF2-40B4-BE49-F238E27FC236}">
                      <a16:creationId xmlns:a16="http://schemas.microsoft.com/office/drawing/2014/main" id="{0BC588BE-CFB5-80DA-CBEA-3F8CD221B33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0" name="Groep 639">
                <a:extLst>
                  <a:ext uri="{FF2B5EF4-FFF2-40B4-BE49-F238E27FC236}">
                    <a16:creationId xmlns:a16="http://schemas.microsoft.com/office/drawing/2014/main" id="{D6B1C79C-CBAF-7E5C-3BC4-5A027BD766B7}"/>
                  </a:ext>
                </a:extLst>
              </p:cNvPr>
              <p:cNvGrpSpPr/>
              <p:nvPr/>
            </p:nvGrpSpPr>
            <p:grpSpPr>
              <a:xfrm>
                <a:off x="4877736" y="1930399"/>
                <a:ext cx="944504" cy="809593"/>
                <a:chOff x="5696016" y="3086100"/>
                <a:chExt cx="800080" cy="685799"/>
              </a:xfrm>
              <a:grpFill/>
            </p:grpSpPr>
            <p:sp>
              <p:nvSpPr>
                <p:cNvPr id="656" name="Vrije vorm: vorm 655">
                  <a:extLst>
                    <a:ext uri="{FF2B5EF4-FFF2-40B4-BE49-F238E27FC236}">
                      <a16:creationId xmlns:a16="http://schemas.microsoft.com/office/drawing/2014/main" id="{F4DC8FF2-95FB-0A49-629D-75326C4EED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7" name="Vrije vorm: vorm 656">
                  <a:extLst>
                    <a:ext uri="{FF2B5EF4-FFF2-40B4-BE49-F238E27FC236}">
                      <a16:creationId xmlns:a16="http://schemas.microsoft.com/office/drawing/2014/main" id="{F4AF2081-DCF1-3D32-C794-C055888C82A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1" name="Groep 640">
                <a:extLst>
                  <a:ext uri="{FF2B5EF4-FFF2-40B4-BE49-F238E27FC236}">
                    <a16:creationId xmlns:a16="http://schemas.microsoft.com/office/drawing/2014/main" id="{8EE0531D-3232-78B7-28F4-3223D626DB96}"/>
                  </a:ext>
                </a:extLst>
              </p:cNvPr>
              <p:cNvGrpSpPr/>
              <p:nvPr/>
            </p:nvGrpSpPr>
            <p:grpSpPr>
              <a:xfrm>
                <a:off x="5930071" y="1930399"/>
                <a:ext cx="944504" cy="809593"/>
                <a:chOff x="5696016" y="3086100"/>
                <a:chExt cx="800080" cy="685799"/>
              </a:xfrm>
              <a:grpFill/>
            </p:grpSpPr>
            <p:sp>
              <p:nvSpPr>
                <p:cNvPr id="654" name="Vrije vorm: vorm 653">
                  <a:extLst>
                    <a:ext uri="{FF2B5EF4-FFF2-40B4-BE49-F238E27FC236}">
                      <a16:creationId xmlns:a16="http://schemas.microsoft.com/office/drawing/2014/main" id="{C816136E-599B-7F2C-521A-F29E427668F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5" name="Vrije vorm: vorm 654">
                  <a:extLst>
                    <a:ext uri="{FF2B5EF4-FFF2-40B4-BE49-F238E27FC236}">
                      <a16:creationId xmlns:a16="http://schemas.microsoft.com/office/drawing/2014/main" id="{161DC865-998E-AE27-C4DA-37E6586B145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2" name="Groep 641">
                <a:extLst>
                  <a:ext uri="{FF2B5EF4-FFF2-40B4-BE49-F238E27FC236}">
                    <a16:creationId xmlns:a16="http://schemas.microsoft.com/office/drawing/2014/main" id="{DDF6C58B-60FD-90B9-1526-5D988926FEFF}"/>
                  </a:ext>
                </a:extLst>
              </p:cNvPr>
              <p:cNvGrpSpPr/>
              <p:nvPr/>
            </p:nvGrpSpPr>
            <p:grpSpPr>
              <a:xfrm>
                <a:off x="6982406" y="1930399"/>
                <a:ext cx="944504" cy="809593"/>
                <a:chOff x="5696016" y="3086100"/>
                <a:chExt cx="800080" cy="685799"/>
              </a:xfrm>
              <a:grpFill/>
            </p:grpSpPr>
            <p:sp>
              <p:nvSpPr>
                <p:cNvPr id="652" name="Vrije vorm: vorm 651">
                  <a:extLst>
                    <a:ext uri="{FF2B5EF4-FFF2-40B4-BE49-F238E27FC236}">
                      <a16:creationId xmlns:a16="http://schemas.microsoft.com/office/drawing/2014/main" id="{A9569A54-19A0-114E-ACEC-05E27D271A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3" name="Vrije vorm: vorm 652">
                  <a:extLst>
                    <a:ext uri="{FF2B5EF4-FFF2-40B4-BE49-F238E27FC236}">
                      <a16:creationId xmlns:a16="http://schemas.microsoft.com/office/drawing/2014/main" id="{E89C8FB5-5E69-7138-4DC2-A330D013946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3" name="Groep 642">
                <a:extLst>
                  <a:ext uri="{FF2B5EF4-FFF2-40B4-BE49-F238E27FC236}">
                    <a16:creationId xmlns:a16="http://schemas.microsoft.com/office/drawing/2014/main" id="{F9DCBE19-C0AA-EF01-454C-7D4A7952BED5}"/>
                  </a:ext>
                </a:extLst>
              </p:cNvPr>
              <p:cNvGrpSpPr/>
              <p:nvPr/>
            </p:nvGrpSpPr>
            <p:grpSpPr>
              <a:xfrm>
                <a:off x="8034741" y="1930399"/>
                <a:ext cx="944504" cy="809593"/>
                <a:chOff x="5696016" y="3086100"/>
                <a:chExt cx="800080" cy="685799"/>
              </a:xfrm>
              <a:grpFill/>
            </p:grpSpPr>
            <p:sp>
              <p:nvSpPr>
                <p:cNvPr id="650" name="Vrije vorm: vorm 649">
                  <a:extLst>
                    <a:ext uri="{FF2B5EF4-FFF2-40B4-BE49-F238E27FC236}">
                      <a16:creationId xmlns:a16="http://schemas.microsoft.com/office/drawing/2014/main" id="{C98B0A23-EDA8-9E10-3603-924429A5148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51" name="Vrije vorm: vorm 650">
                  <a:extLst>
                    <a:ext uri="{FF2B5EF4-FFF2-40B4-BE49-F238E27FC236}">
                      <a16:creationId xmlns:a16="http://schemas.microsoft.com/office/drawing/2014/main" id="{80CE3844-D2B2-A97D-DEBA-992FEF1CD73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4" name="Groep 643">
                <a:extLst>
                  <a:ext uri="{FF2B5EF4-FFF2-40B4-BE49-F238E27FC236}">
                    <a16:creationId xmlns:a16="http://schemas.microsoft.com/office/drawing/2014/main" id="{CAAFF949-B30F-1340-B73A-5F21F67C76D2}"/>
                  </a:ext>
                </a:extLst>
              </p:cNvPr>
              <p:cNvGrpSpPr/>
              <p:nvPr/>
            </p:nvGrpSpPr>
            <p:grpSpPr>
              <a:xfrm>
                <a:off x="9087076" y="1930399"/>
                <a:ext cx="944504" cy="809593"/>
                <a:chOff x="5696016" y="3086100"/>
                <a:chExt cx="800080" cy="685799"/>
              </a:xfrm>
              <a:grpFill/>
            </p:grpSpPr>
            <p:sp>
              <p:nvSpPr>
                <p:cNvPr id="648" name="Vrije vorm: vorm 647">
                  <a:extLst>
                    <a:ext uri="{FF2B5EF4-FFF2-40B4-BE49-F238E27FC236}">
                      <a16:creationId xmlns:a16="http://schemas.microsoft.com/office/drawing/2014/main" id="{E7B0FBF3-CF30-F509-4BBA-15C22DC5A35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49" name="Vrije vorm: vorm 648">
                  <a:extLst>
                    <a:ext uri="{FF2B5EF4-FFF2-40B4-BE49-F238E27FC236}">
                      <a16:creationId xmlns:a16="http://schemas.microsoft.com/office/drawing/2014/main" id="{5FFFFD94-867F-5698-69FF-D1FC601B0ED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45" name="Groep 644">
                <a:extLst>
                  <a:ext uri="{FF2B5EF4-FFF2-40B4-BE49-F238E27FC236}">
                    <a16:creationId xmlns:a16="http://schemas.microsoft.com/office/drawing/2014/main" id="{0A390CBE-A73E-E8D6-2E8B-1B9BAB0C75B4}"/>
                  </a:ext>
                </a:extLst>
              </p:cNvPr>
              <p:cNvGrpSpPr/>
              <p:nvPr/>
            </p:nvGrpSpPr>
            <p:grpSpPr>
              <a:xfrm>
                <a:off x="10139413" y="1930399"/>
                <a:ext cx="944504" cy="809593"/>
                <a:chOff x="5696016" y="3086100"/>
                <a:chExt cx="800080" cy="685799"/>
              </a:xfrm>
              <a:grpFill/>
            </p:grpSpPr>
            <p:sp>
              <p:nvSpPr>
                <p:cNvPr id="646" name="Vrije vorm: vorm 645">
                  <a:extLst>
                    <a:ext uri="{FF2B5EF4-FFF2-40B4-BE49-F238E27FC236}">
                      <a16:creationId xmlns:a16="http://schemas.microsoft.com/office/drawing/2014/main" id="{718E1721-28F1-B4AE-504D-1ABECA44BD0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47" name="Vrije vorm: vorm 646">
                  <a:extLst>
                    <a:ext uri="{FF2B5EF4-FFF2-40B4-BE49-F238E27FC236}">
                      <a16:creationId xmlns:a16="http://schemas.microsoft.com/office/drawing/2014/main" id="{8D33BC8A-4D18-B19D-2308-C63B83013E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0" name="Groep 449">
              <a:extLst>
                <a:ext uri="{FF2B5EF4-FFF2-40B4-BE49-F238E27FC236}">
                  <a16:creationId xmlns:a16="http://schemas.microsoft.com/office/drawing/2014/main" id="{7A4D7DBD-FF18-B9ED-67CD-6E8FE13DE348}"/>
                </a:ext>
              </a:extLst>
            </p:cNvPr>
            <p:cNvGrpSpPr/>
            <p:nvPr/>
          </p:nvGrpSpPr>
          <p:grpSpPr>
            <a:xfrm>
              <a:off x="649432" y="754734"/>
              <a:ext cx="2409536" cy="187292"/>
              <a:chOff x="668396" y="1930399"/>
              <a:chExt cx="10415521" cy="809593"/>
            </a:xfrm>
            <a:grpFill/>
          </p:grpSpPr>
          <p:grpSp>
            <p:nvGrpSpPr>
              <p:cNvPr id="606" name="Groep 605">
                <a:extLst>
                  <a:ext uri="{FF2B5EF4-FFF2-40B4-BE49-F238E27FC236}">
                    <a16:creationId xmlns:a16="http://schemas.microsoft.com/office/drawing/2014/main" id="{27905CDE-E81E-B68B-18A7-5E778AF87978}"/>
                  </a:ext>
                </a:extLst>
              </p:cNvPr>
              <p:cNvGrpSpPr/>
              <p:nvPr/>
            </p:nvGrpSpPr>
            <p:grpSpPr>
              <a:xfrm>
                <a:off x="668396" y="1930399"/>
                <a:ext cx="944504" cy="809593"/>
                <a:chOff x="5696016" y="3086100"/>
                <a:chExt cx="800080" cy="685799"/>
              </a:xfrm>
              <a:grpFill/>
            </p:grpSpPr>
            <p:sp>
              <p:nvSpPr>
                <p:cNvPr id="634" name="Vrije vorm: vorm 633">
                  <a:extLst>
                    <a:ext uri="{FF2B5EF4-FFF2-40B4-BE49-F238E27FC236}">
                      <a16:creationId xmlns:a16="http://schemas.microsoft.com/office/drawing/2014/main" id="{43F7FF50-93DC-9A25-1D8E-2C02A6D0F68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5" name="Vrije vorm: vorm 634">
                  <a:extLst>
                    <a:ext uri="{FF2B5EF4-FFF2-40B4-BE49-F238E27FC236}">
                      <a16:creationId xmlns:a16="http://schemas.microsoft.com/office/drawing/2014/main" id="{D673DFBB-B907-F97E-FE2C-419A128704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07" name="Groep 606">
                <a:extLst>
                  <a:ext uri="{FF2B5EF4-FFF2-40B4-BE49-F238E27FC236}">
                    <a16:creationId xmlns:a16="http://schemas.microsoft.com/office/drawing/2014/main" id="{1BB19650-4836-4B9C-34C8-13C6EA1B2A2F}"/>
                  </a:ext>
                </a:extLst>
              </p:cNvPr>
              <p:cNvGrpSpPr/>
              <p:nvPr/>
            </p:nvGrpSpPr>
            <p:grpSpPr>
              <a:xfrm>
                <a:off x="1720731" y="1930399"/>
                <a:ext cx="944504" cy="809593"/>
                <a:chOff x="5696016" y="3086100"/>
                <a:chExt cx="800080" cy="685799"/>
              </a:xfrm>
              <a:grpFill/>
            </p:grpSpPr>
            <p:sp>
              <p:nvSpPr>
                <p:cNvPr id="632" name="Vrije vorm: vorm 631">
                  <a:extLst>
                    <a:ext uri="{FF2B5EF4-FFF2-40B4-BE49-F238E27FC236}">
                      <a16:creationId xmlns:a16="http://schemas.microsoft.com/office/drawing/2014/main" id="{D3ABE770-B14E-3720-B568-90B3FE84B24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3" name="Vrije vorm: vorm 632">
                  <a:extLst>
                    <a:ext uri="{FF2B5EF4-FFF2-40B4-BE49-F238E27FC236}">
                      <a16:creationId xmlns:a16="http://schemas.microsoft.com/office/drawing/2014/main" id="{6FD67ECF-44E5-37C0-0098-BA32E3A94DC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08" name="Groep 607">
                <a:extLst>
                  <a:ext uri="{FF2B5EF4-FFF2-40B4-BE49-F238E27FC236}">
                    <a16:creationId xmlns:a16="http://schemas.microsoft.com/office/drawing/2014/main" id="{9E7F841C-0290-008E-1741-BF33CF7039F1}"/>
                  </a:ext>
                </a:extLst>
              </p:cNvPr>
              <p:cNvGrpSpPr/>
              <p:nvPr/>
            </p:nvGrpSpPr>
            <p:grpSpPr>
              <a:xfrm>
                <a:off x="2773066" y="1930399"/>
                <a:ext cx="944504" cy="809593"/>
                <a:chOff x="5696016" y="3086100"/>
                <a:chExt cx="800080" cy="685799"/>
              </a:xfrm>
              <a:grpFill/>
            </p:grpSpPr>
            <p:sp>
              <p:nvSpPr>
                <p:cNvPr id="630" name="Vrije vorm: vorm 629">
                  <a:extLst>
                    <a:ext uri="{FF2B5EF4-FFF2-40B4-BE49-F238E27FC236}">
                      <a16:creationId xmlns:a16="http://schemas.microsoft.com/office/drawing/2014/main" id="{D9172487-909E-7E99-2FA3-55B47DA3371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31" name="Vrije vorm: vorm 630">
                  <a:extLst>
                    <a:ext uri="{FF2B5EF4-FFF2-40B4-BE49-F238E27FC236}">
                      <a16:creationId xmlns:a16="http://schemas.microsoft.com/office/drawing/2014/main" id="{28C141E8-3217-AA9C-314B-65F09D49B87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09" name="Groep 608">
                <a:extLst>
                  <a:ext uri="{FF2B5EF4-FFF2-40B4-BE49-F238E27FC236}">
                    <a16:creationId xmlns:a16="http://schemas.microsoft.com/office/drawing/2014/main" id="{587921E4-740F-3BB1-3D54-1A986FB3D10E}"/>
                  </a:ext>
                </a:extLst>
              </p:cNvPr>
              <p:cNvGrpSpPr/>
              <p:nvPr/>
            </p:nvGrpSpPr>
            <p:grpSpPr>
              <a:xfrm>
                <a:off x="3825401" y="1930399"/>
                <a:ext cx="944504" cy="809593"/>
                <a:chOff x="5696016" y="3086100"/>
                <a:chExt cx="800080" cy="685799"/>
              </a:xfrm>
              <a:grpFill/>
            </p:grpSpPr>
            <p:sp>
              <p:nvSpPr>
                <p:cNvPr id="628" name="Vrije vorm: vorm 627">
                  <a:extLst>
                    <a:ext uri="{FF2B5EF4-FFF2-40B4-BE49-F238E27FC236}">
                      <a16:creationId xmlns:a16="http://schemas.microsoft.com/office/drawing/2014/main" id="{B6CF9873-2109-8141-52E0-813CBBF1C09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9" name="Vrije vorm: vorm 628">
                  <a:extLst>
                    <a:ext uri="{FF2B5EF4-FFF2-40B4-BE49-F238E27FC236}">
                      <a16:creationId xmlns:a16="http://schemas.microsoft.com/office/drawing/2014/main" id="{ED3F922B-6F66-6BEB-E203-7B0FF189EA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0" name="Groep 609">
                <a:extLst>
                  <a:ext uri="{FF2B5EF4-FFF2-40B4-BE49-F238E27FC236}">
                    <a16:creationId xmlns:a16="http://schemas.microsoft.com/office/drawing/2014/main" id="{E0254490-88E9-A8F1-F6EC-2DC11C8814D0}"/>
                  </a:ext>
                </a:extLst>
              </p:cNvPr>
              <p:cNvGrpSpPr/>
              <p:nvPr/>
            </p:nvGrpSpPr>
            <p:grpSpPr>
              <a:xfrm>
                <a:off x="4877736" y="1930399"/>
                <a:ext cx="944504" cy="809593"/>
                <a:chOff x="5696016" y="3086100"/>
                <a:chExt cx="800080" cy="685799"/>
              </a:xfrm>
              <a:grpFill/>
            </p:grpSpPr>
            <p:sp>
              <p:nvSpPr>
                <p:cNvPr id="626" name="Vrije vorm: vorm 625">
                  <a:extLst>
                    <a:ext uri="{FF2B5EF4-FFF2-40B4-BE49-F238E27FC236}">
                      <a16:creationId xmlns:a16="http://schemas.microsoft.com/office/drawing/2014/main" id="{F578CFF0-291E-1B34-3511-44AA890F313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7" name="Vrije vorm: vorm 626">
                  <a:extLst>
                    <a:ext uri="{FF2B5EF4-FFF2-40B4-BE49-F238E27FC236}">
                      <a16:creationId xmlns:a16="http://schemas.microsoft.com/office/drawing/2014/main" id="{34E280B2-ABC6-1393-E3BD-0B4ADF122EA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1" name="Groep 610">
                <a:extLst>
                  <a:ext uri="{FF2B5EF4-FFF2-40B4-BE49-F238E27FC236}">
                    <a16:creationId xmlns:a16="http://schemas.microsoft.com/office/drawing/2014/main" id="{17822A94-FE3A-79A2-A825-5301FBB09682}"/>
                  </a:ext>
                </a:extLst>
              </p:cNvPr>
              <p:cNvGrpSpPr/>
              <p:nvPr/>
            </p:nvGrpSpPr>
            <p:grpSpPr>
              <a:xfrm>
                <a:off x="5930071" y="1930399"/>
                <a:ext cx="944504" cy="809593"/>
                <a:chOff x="5696016" y="3086100"/>
                <a:chExt cx="800080" cy="685799"/>
              </a:xfrm>
              <a:grpFill/>
            </p:grpSpPr>
            <p:sp>
              <p:nvSpPr>
                <p:cNvPr id="624" name="Vrije vorm: vorm 623">
                  <a:extLst>
                    <a:ext uri="{FF2B5EF4-FFF2-40B4-BE49-F238E27FC236}">
                      <a16:creationId xmlns:a16="http://schemas.microsoft.com/office/drawing/2014/main" id="{ED07B6C6-4C68-F491-F2A6-641E7C3690C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5" name="Vrije vorm: vorm 624">
                  <a:extLst>
                    <a:ext uri="{FF2B5EF4-FFF2-40B4-BE49-F238E27FC236}">
                      <a16:creationId xmlns:a16="http://schemas.microsoft.com/office/drawing/2014/main" id="{243364AF-21E4-1332-2717-CBCE10589D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2" name="Groep 611">
                <a:extLst>
                  <a:ext uri="{FF2B5EF4-FFF2-40B4-BE49-F238E27FC236}">
                    <a16:creationId xmlns:a16="http://schemas.microsoft.com/office/drawing/2014/main" id="{C173AA33-0CFD-87BC-9F14-D75790B9C87B}"/>
                  </a:ext>
                </a:extLst>
              </p:cNvPr>
              <p:cNvGrpSpPr/>
              <p:nvPr/>
            </p:nvGrpSpPr>
            <p:grpSpPr>
              <a:xfrm>
                <a:off x="6982406" y="1930399"/>
                <a:ext cx="944504" cy="809593"/>
                <a:chOff x="5696016" y="3086100"/>
                <a:chExt cx="800080" cy="685799"/>
              </a:xfrm>
              <a:grpFill/>
            </p:grpSpPr>
            <p:sp>
              <p:nvSpPr>
                <p:cNvPr id="622" name="Vrije vorm: vorm 621">
                  <a:extLst>
                    <a:ext uri="{FF2B5EF4-FFF2-40B4-BE49-F238E27FC236}">
                      <a16:creationId xmlns:a16="http://schemas.microsoft.com/office/drawing/2014/main" id="{FC23D205-7566-8677-C9C1-B3B3BD23536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3" name="Vrije vorm: vorm 622">
                  <a:extLst>
                    <a:ext uri="{FF2B5EF4-FFF2-40B4-BE49-F238E27FC236}">
                      <a16:creationId xmlns:a16="http://schemas.microsoft.com/office/drawing/2014/main" id="{36697AF0-9725-786E-3147-EF8B07686CE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3" name="Groep 612">
                <a:extLst>
                  <a:ext uri="{FF2B5EF4-FFF2-40B4-BE49-F238E27FC236}">
                    <a16:creationId xmlns:a16="http://schemas.microsoft.com/office/drawing/2014/main" id="{441128DA-BF9A-1F68-CE6D-0363957AF6CF}"/>
                  </a:ext>
                </a:extLst>
              </p:cNvPr>
              <p:cNvGrpSpPr/>
              <p:nvPr/>
            </p:nvGrpSpPr>
            <p:grpSpPr>
              <a:xfrm>
                <a:off x="8034741" y="1930399"/>
                <a:ext cx="944504" cy="809593"/>
                <a:chOff x="5696016" y="3086100"/>
                <a:chExt cx="800080" cy="685799"/>
              </a:xfrm>
              <a:grpFill/>
            </p:grpSpPr>
            <p:sp>
              <p:nvSpPr>
                <p:cNvPr id="620" name="Vrije vorm: vorm 619">
                  <a:extLst>
                    <a:ext uri="{FF2B5EF4-FFF2-40B4-BE49-F238E27FC236}">
                      <a16:creationId xmlns:a16="http://schemas.microsoft.com/office/drawing/2014/main" id="{FE37849B-E534-79EA-D80F-564DB4853E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21" name="Vrije vorm: vorm 620">
                  <a:extLst>
                    <a:ext uri="{FF2B5EF4-FFF2-40B4-BE49-F238E27FC236}">
                      <a16:creationId xmlns:a16="http://schemas.microsoft.com/office/drawing/2014/main" id="{2FA68EED-4979-6841-8822-5FAA82C357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4" name="Groep 613">
                <a:extLst>
                  <a:ext uri="{FF2B5EF4-FFF2-40B4-BE49-F238E27FC236}">
                    <a16:creationId xmlns:a16="http://schemas.microsoft.com/office/drawing/2014/main" id="{FB55310A-3A81-BB99-59AB-8F15332DD537}"/>
                  </a:ext>
                </a:extLst>
              </p:cNvPr>
              <p:cNvGrpSpPr/>
              <p:nvPr/>
            </p:nvGrpSpPr>
            <p:grpSpPr>
              <a:xfrm>
                <a:off x="9087076" y="1930399"/>
                <a:ext cx="944504" cy="809593"/>
                <a:chOff x="5696016" y="3086100"/>
                <a:chExt cx="800080" cy="685799"/>
              </a:xfrm>
              <a:grpFill/>
            </p:grpSpPr>
            <p:sp>
              <p:nvSpPr>
                <p:cNvPr id="618" name="Vrije vorm: vorm 617">
                  <a:extLst>
                    <a:ext uri="{FF2B5EF4-FFF2-40B4-BE49-F238E27FC236}">
                      <a16:creationId xmlns:a16="http://schemas.microsoft.com/office/drawing/2014/main" id="{3C803D3A-3675-2DFD-73C7-6B52E1D6D9D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19" name="Vrije vorm: vorm 618">
                  <a:extLst>
                    <a:ext uri="{FF2B5EF4-FFF2-40B4-BE49-F238E27FC236}">
                      <a16:creationId xmlns:a16="http://schemas.microsoft.com/office/drawing/2014/main" id="{E74BF85F-205B-360C-0E39-85909656C37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15" name="Groep 614">
                <a:extLst>
                  <a:ext uri="{FF2B5EF4-FFF2-40B4-BE49-F238E27FC236}">
                    <a16:creationId xmlns:a16="http://schemas.microsoft.com/office/drawing/2014/main" id="{925D8BD0-8747-C9D5-BCC2-21C810525707}"/>
                  </a:ext>
                </a:extLst>
              </p:cNvPr>
              <p:cNvGrpSpPr/>
              <p:nvPr/>
            </p:nvGrpSpPr>
            <p:grpSpPr>
              <a:xfrm>
                <a:off x="10139413" y="1930399"/>
                <a:ext cx="944504" cy="809593"/>
                <a:chOff x="5696016" y="3086100"/>
                <a:chExt cx="800080" cy="685799"/>
              </a:xfrm>
              <a:grpFill/>
            </p:grpSpPr>
            <p:sp>
              <p:nvSpPr>
                <p:cNvPr id="616" name="Vrije vorm: vorm 615">
                  <a:extLst>
                    <a:ext uri="{FF2B5EF4-FFF2-40B4-BE49-F238E27FC236}">
                      <a16:creationId xmlns:a16="http://schemas.microsoft.com/office/drawing/2014/main" id="{258A42DA-3DED-C99F-F15D-9FB6AA7F646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17" name="Vrije vorm: vorm 616">
                  <a:extLst>
                    <a:ext uri="{FF2B5EF4-FFF2-40B4-BE49-F238E27FC236}">
                      <a16:creationId xmlns:a16="http://schemas.microsoft.com/office/drawing/2014/main" id="{1B71A24B-087E-97A2-78EB-F5BD9C41A69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1" name="Groep 450">
              <a:extLst>
                <a:ext uri="{FF2B5EF4-FFF2-40B4-BE49-F238E27FC236}">
                  <a16:creationId xmlns:a16="http://schemas.microsoft.com/office/drawing/2014/main" id="{11BB79B7-D666-68A6-A423-07C35591296A}"/>
                </a:ext>
              </a:extLst>
            </p:cNvPr>
            <p:cNvGrpSpPr/>
            <p:nvPr/>
          </p:nvGrpSpPr>
          <p:grpSpPr>
            <a:xfrm>
              <a:off x="649432" y="988768"/>
              <a:ext cx="2409536" cy="187292"/>
              <a:chOff x="668396" y="1930399"/>
              <a:chExt cx="10415521" cy="809593"/>
            </a:xfrm>
            <a:grpFill/>
          </p:grpSpPr>
          <p:grpSp>
            <p:nvGrpSpPr>
              <p:cNvPr id="576" name="Groep 575">
                <a:extLst>
                  <a:ext uri="{FF2B5EF4-FFF2-40B4-BE49-F238E27FC236}">
                    <a16:creationId xmlns:a16="http://schemas.microsoft.com/office/drawing/2014/main" id="{BA020B0C-984D-55A2-2775-197F654AE5A4}"/>
                  </a:ext>
                </a:extLst>
              </p:cNvPr>
              <p:cNvGrpSpPr/>
              <p:nvPr/>
            </p:nvGrpSpPr>
            <p:grpSpPr>
              <a:xfrm>
                <a:off x="668396" y="1930399"/>
                <a:ext cx="944504" cy="809593"/>
                <a:chOff x="5696016" y="3086100"/>
                <a:chExt cx="800080" cy="685799"/>
              </a:xfrm>
              <a:grpFill/>
            </p:grpSpPr>
            <p:sp>
              <p:nvSpPr>
                <p:cNvPr id="604" name="Vrije vorm: vorm 603">
                  <a:extLst>
                    <a:ext uri="{FF2B5EF4-FFF2-40B4-BE49-F238E27FC236}">
                      <a16:creationId xmlns:a16="http://schemas.microsoft.com/office/drawing/2014/main" id="{DE24D493-9AFC-B9FF-E7E9-5DC2F618BE9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05" name="Vrije vorm: vorm 604">
                  <a:extLst>
                    <a:ext uri="{FF2B5EF4-FFF2-40B4-BE49-F238E27FC236}">
                      <a16:creationId xmlns:a16="http://schemas.microsoft.com/office/drawing/2014/main" id="{28A7D64C-3719-85FA-EE38-F0EF7C68620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77" name="Groep 576">
                <a:extLst>
                  <a:ext uri="{FF2B5EF4-FFF2-40B4-BE49-F238E27FC236}">
                    <a16:creationId xmlns:a16="http://schemas.microsoft.com/office/drawing/2014/main" id="{E971B332-0316-5361-8DBB-DBE5EC25F512}"/>
                  </a:ext>
                </a:extLst>
              </p:cNvPr>
              <p:cNvGrpSpPr/>
              <p:nvPr/>
            </p:nvGrpSpPr>
            <p:grpSpPr>
              <a:xfrm>
                <a:off x="1720731" y="1930399"/>
                <a:ext cx="944504" cy="809593"/>
                <a:chOff x="5696016" y="3086100"/>
                <a:chExt cx="800080" cy="685799"/>
              </a:xfrm>
              <a:grpFill/>
            </p:grpSpPr>
            <p:sp>
              <p:nvSpPr>
                <p:cNvPr id="602" name="Vrije vorm: vorm 601">
                  <a:extLst>
                    <a:ext uri="{FF2B5EF4-FFF2-40B4-BE49-F238E27FC236}">
                      <a16:creationId xmlns:a16="http://schemas.microsoft.com/office/drawing/2014/main" id="{710056E3-70B3-B254-43EB-FE93BECC10B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03" name="Vrije vorm: vorm 602">
                  <a:extLst>
                    <a:ext uri="{FF2B5EF4-FFF2-40B4-BE49-F238E27FC236}">
                      <a16:creationId xmlns:a16="http://schemas.microsoft.com/office/drawing/2014/main" id="{C4206F69-4FE5-3005-B236-C13681D9458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78" name="Groep 577">
                <a:extLst>
                  <a:ext uri="{FF2B5EF4-FFF2-40B4-BE49-F238E27FC236}">
                    <a16:creationId xmlns:a16="http://schemas.microsoft.com/office/drawing/2014/main" id="{85D8650B-E91E-569B-BD7E-296AF5DC5291}"/>
                  </a:ext>
                </a:extLst>
              </p:cNvPr>
              <p:cNvGrpSpPr/>
              <p:nvPr/>
            </p:nvGrpSpPr>
            <p:grpSpPr>
              <a:xfrm>
                <a:off x="2773066" y="1930399"/>
                <a:ext cx="944504" cy="809593"/>
                <a:chOff x="5696016" y="3086100"/>
                <a:chExt cx="800080" cy="685799"/>
              </a:xfrm>
              <a:grpFill/>
            </p:grpSpPr>
            <p:sp>
              <p:nvSpPr>
                <p:cNvPr id="600" name="Vrije vorm: vorm 599">
                  <a:extLst>
                    <a:ext uri="{FF2B5EF4-FFF2-40B4-BE49-F238E27FC236}">
                      <a16:creationId xmlns:a16="http://schemas.microsoft.com/office/drawing/2014/main" id="{6A7376B5-3784-08D5-D371-549653B5DC5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01" name="Vrije vorm: vorm 600">
                  <a:extLst>
                    <a:ext uri="{FF2B5EF4-FFF2-40B4-BE49-F238E27FC236}">
                      <a16:creationId xmlns:a16="http://schemas.microsoft.com/office/drawing/2014/main" id="{81E76819-1697-CE55-9EB8-C79EEF893A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79" name="Groep 578">
                <a:extLst>
                  <a:ext uri="{FF2B5EF4-FFF2-40B4-BE49-F238E27FC236}">
                    <a16:creationId xmlns:a16="http://schemas.microsoft.com/office/drawing/2014/main" id="{7D257178-8595-CFDD-6D76-3114FD7CE84E}"/>
                  </a:ext>
                </a:extLst>
              </p:cNvPr>
              <p:cNvGrpSpPr/>
              <p:nvPr/>
            </p:nvGrpSpPr>
            <p:grpSpPr>
              <a:xfrm>
                <a:off x="3825401" y="1930399"/>
                <a:ext cx="944504" cy="809593"/>
                <a:chOff x="5696016" y="3086100"/>
                <a:chExt cx="800080" cy="685799"/>
              </a:xfrm>
              <a:grpFill/>
            </p:grpSpPr>
            <p:sp>
              <p:nvSpPr>
                <p:cNvPr id="598" name="Vrije vorm: vorm 597">
                  <a:extLst>
                    <a:ext uri="{FF2B5EF4-FFF2-40B4-BE49-F238E27FC236}">
                      <a16:creationId xmlns:a16="http://schemas.microsoft.com/office/drawing/2014/main" id="{AC94DD31-F055-12CA-9082-4D95C057FF1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9" name="Vrije vorm: vorm 598">
                  <a:extLst>
                    <a:ext uri="{FF2B5EF4-FFF2-40B4-BE49-F238E27FC236}">
                      <a16:creationId xmlns:a16="http://schemas.microsoft.com/office/drawing/2014/main" id="{B847FC11-C13E-9FF5-051D-1521E970CB5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0" name="Groep 579">
                <a:extLst>
                  <a:ext uri="{FF2B5EF4-FFF2-40B4-BE49-F238E27FC236}">
                    <a16:creationId xmlns:a16="http://schemas.microsoft.com/office/drawing/2014/main" id="{42D10D8A-4500-AE66-E624-A97D6633A99A}"/>
                  </a:ext>
                </a:extLst>
              </p:cNvPr>
              <p:cNvGrpSpPr/>
              <p:nvPr/>
            </p:nvGrpSpPr>
            <p:grpSpPr>
              <a:xfrm>
                <a:off x="4877736" y="1930399"/>
                <a:ext cx="944504" cy="809593"/>
                <a:chOff x="5696016" y="3086100"/>
                <a:chExt cx="800080" cy="685799"/>
              </a:xfrm>
              <a:grpFill/>
            </p:grpSpPr>
            <p:sp>
              <p:nvSpPr>
                <p:cNvPr id="596" name="Vrije vorm: vorm 595">
                  <a:extLst>
                    <a:ext uri="{FF2B5EF4-FFF2-40B4-BE49-F238E27FC236}">
                      <a16:creationId xmlns:a16="http://schemas.microsoft.com/office/drawing/2014/main" id="{8330CE13-9F25-2F24-07D6-49014406EB1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7" name="Vrije vorm: vorm 596">
                  <a:extLst>
                    <a:ext uri="{FF2B5EF4-FFF2-40B4-BE49-F238E27FC236}">
                      <a16:creationId xmlns:a16="http://schemas.microsoft.com/office/drawing/2014/main" id="{5944ED58-C8D8-D436-0894-DDBDCFD4DB4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1" name="Groep 580">
                <a:extLst>
                  <a:ext uri="{FF2B5EF4-FFF2-40B4-BE49-F238E27FC236}">
                    <a16:creationId xmlns:a16="http://schemas.microsoft.com/office/drawing/2014/main" id="{ABC5312E-CC3B-D2B7-8134-3E5D501E71DA}"/>
                  </a:ext>
                </a:extLst>
              </p:cNvPr>
              <p:cNvGrpSpPr/>
              <p:nvPr/>
            </p:nvGrpSpPr>
            <p:grpSpPr>
              <a:xfrm>
                <a:off x="5930071" y="1930399"/>
                <a:ext cx="944504" cy="809593"/>
                <a:chOff x="5696016" y="3086100"/>
                <a:chExt cx="800080" cy="685799"/>
              </a:xfrm>
              <a:grpFill/>
            </p:grpSpPr>
            <p:sp>
              <p:nvSpPr>
                <p:cNvPr id="594" name="Vrije vorm: vorm 593">
                  <a:extLst>
                    <a:ext uri="{FF2B5EF4-FFF2-40B4-BE49-F238E27FC236}">
                      <a16:creationId xmlns:a16="http://schemas.microsoft.com/office/drawing/2014/main" id="{C51AE732-7FA3-BE8B-27E7-6B0EE1C3CF8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5" name="Vrije vorm: vorm 594">
                  <a:extLst>
                    <a:ext uri="{FF2B5EF4-FFF2-40B4-BE49-F238E27FC236}">
                      <a16:creationId xmlns:a16="http://schemas.microsoft.com/office/drawing/2014/main" id="{148D8D7D-5947-17DC-1F08-A40E45BFE86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2" name="Groep 581">
                <a:extLst>
                  <a:ext uri="{FF2B5EF4-FFF2-40B4-BE49-F238E27FC236}">
                    <a16:creationId xmlns:a16="http://schemas.microsoft.com/office/drawing/2014/main" id="{1AAA4EC7-21D8-B7B8-BAE3-049CBA35AD59}"/>
                  </a:ext>
                </a:extLst>
              </p:cNvPr>
              <p:cNvGrpSpPr/>
              <p:nvPr/>
            </p:nvGrpSpPr>
            <p:grpSpPr>
              <a:xfrm>
                <a:off x="6982406" y="1930399"/>
                <a:ext cx="944504" cy="809593"/>
                <a:chOff x="5696016" y="3086100"/>
                <a:chExt cx="800080" cy="685799"/>
              </a:xfrm>
              <a:grpFill/>
            </p:grpSpPr>
            <p:sp>
              <p:nvSpPr>
                <p:cNvPr id="592" name="Vrije vorm: vorm 591">
                  <a:extLst>
                    <a:ext uri="{FF2B5EF4-FFF2-40B4-BE49-F238E27FC236}">
                      <a16:creationId xmlns:a16="http://schemas.microsoft.com/office/drawing/2014/main" id="{0DB5F247-0F4A-5BAE-4A8B-51BEE19332F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3" name="Vrije vorm: vorm 592">
                  <a:extLst>
                    <a:ext uri="{FF2B5EF4-FFF2-40B4-BE49-F238E27FC236}">
                      <a16:creationId xmlns:a16="http://schemas.microsoft.com/office/drawing/2014/main" id="{1D77B16A-0B99-11D1-2942-E130E05E56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3" name="Groep 582">
                <a:extLst>
                  <a:ext uri="{FF2B5EF4-FFF2-40B4-BE49-F238E27FC236}">
                    <a16:creationId xmlns:a16="http://schemas.microsoft.com/office/drawing/2014/main" id="{68A531FD-E228-4E7F-1708-7DA7CC573080}"/>
                  </a:ext>
                </a:extLst>
              </p:cNvPr>
              <p:cNvGrpSpPr/>
              <p:nvPr/>
            </p:nvGrpSpPr>
            <p:grpSpPr>
              <a:xfrm>
                <a:off x="8034741" y="1930399"/>
                <a:ext cx="944504" cy="809593"/>
                <a:chOff x="5696016" y="3086100"/>
                <a:chExt cx="800080" cy="685799"/>
              </a:xfrm>
              <a:grpFill/>
            </p:grpSpPr>
            <p:sp>
              <p:nvSpPr>
                <p:cNvPr id="590" name="Vrije vorm: vorm 589">
                  <a:extLst>
                    <a:ext uri="{FF2B5EF4-FFF2-40B4-BE49-F238E27FC236}">
                      <a16:creationId xmlns:a16="http://schemas.microsoft.com/office/drawing/2014/main" id="{309E79AA-B314-A158-E073-8BA9AD79AF4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91" name="Vrije vorm: vorm 590">
                  <a:extLst>
                    <a:ext uri="{FF2B5EF4-FFF2-40B4-BE49-F238E27FC236}">
                      <a16:creationId xmlns:a16="http://schemas.microsoft.com/office/drawing/2014/main" id="{98B23981-301F-F71E-3264-68BB7482D7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4" name="Groep 583">
                <a:extLst>
                  <a:ext uri="{FF2B5EF4-FFF2-40B4-BE49-F238E27FC236}">
                    <a16:creationId xmlns:a16="http://schemas.microsoft.com/office/drawing/2014/main" id="{6A0E4B4D-D57E-1C8F-FD69-42EC606728FC}"/>
                  </a:ext>
                </a:extLst>
              </p:cNvPr>
              <p:cNvGrpSpPr/>
              <p:nvPr/>
            </p:nvGrpSpPr>
            <p:grpSpPr>
              <a:xfrm>
                <a:off x="9087076" y="1930399"/>
                <a:ext cx="944504" cy="809593"/>
                <a:chOff x="5696016" y="3086100"/>
                <a:chExt cx="800080" cy="685799"/>
              </a:xfrm>
              <a:grpFill/>
            </p:grpSpPr>
            <p:sp>
              <p:nvSpPr>
                <p:cNvPr id="588" name="Vrije vorm: vorm 587">
                  <a:extLst>
                    <a:ext uri="{FF2B5EF4-FFF2-40B4-BE49-F238E27FC236}">
                      <a16:creationId xmlns:a16="http://schemas.microsoft.com/office/drawing/2014/main" id="{0EED7D32-113A-75A6-137F-AD36E3D3C47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89" name="Vrije vorm: vorm 588">
                  <a:extLst>
                    <a:ext uri="{FF2B5EF4-FFF2-40B4-BE49-F238E27FC236}">
                      <a16:creationId xmlns:a16="http://schemas.microsoft.com/office/drawing/2014/main" id="{96797BE4-DD2F-4947-F959-9EB95B897E9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85" name="Groep 584">
                <a:extLst>
                  <a:ext uri="{FF2B5EF4-FFF2-40B4-BE49-F238E27FC236}">
                    <a16:creationId xmlns:a16="http://schemas.microsoft.com/office/drawing/2014/main" id="{5F1042E6-37AB-F7F1-B7FD-A4358349AE45}"/>
                  </a:ext>
                </a:extLst>
              </p:cNvPr>
              <p:cNvGrpSpPr/>
              <p:nvPr/>
            </p:nvGrpSpPr>
            <p:grpSpPr>
              <a:xfrm>
                <a:off x="10139413" y="1930399"/>
                <a:ext cx="944504" cy="809593"/>
                <a:chOff x="5696016" y="3086100"/>
                <a:chExt cx="800080" cy="685799"/>
              </a:xfrm>
              <a:grpFill/>
            </p:grpSpPr>
            <p:sp>
              <p:nvSpPr>
                <p:cNvPr id="586" name="Vrije vorm: vorm 585">
                  <a:extLst>
                    <a:ext uri="{FF2B5EF4-FFF2-40B4-BE49-F238E27FC236}">
                      <a16:creationId xmlns:a16="http://schemas.microsoft.com/office/drawing/2014/main" id="{3D9D262F-3C16-449F-C560-7A3F70C9E06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87" name="Vrije vorm: vorm 586">
                  <a:extLst>
                    <a:ext uri="{FF2B5EF4-FFF2-40B4-BE49-F238E27FC236}">
                      <a16:creationId xmlns:a16="http://schemas.microsoft.com/office/drawing/2014/main" id="{7F96BD37-361D-6F69-44E3-96F95F8D2C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2" name="Groep 451">
              <a:extLst>
                <a:ext uri="{FF2B5EF4-FFF2-40B4-BE49-F238E27FC236}">
                  <a16:creationId xmlns:a16="http://schemas.microsoft.com/office/drawing/2014/main" id="{ABF38155-4D5A-F43F-20B0-73E78D6E8243}"/>
                </a:ext>
              </a:extLst>
            </p:cNvPr>
            <p:cNvGrpSpPr/>
            <p:nvPr/>
          </p:nvGrpSpPr>
          <p:grpSpPr>
            <a:xfrm>
              <a:off x="649432" y="1222801"/>
              <a:ext cx="2409536" cy="187292"/>
              <a:chOff x="668396" y="1930399"/>
              <a:chExt cx="10415521" cy="809593"/>
            </a:xfrm>
            <a:grpFill/>
          </p:grpSpPr>
          <p:grpSp>
            <p:nvGrpSpPr>
              <p:cNvPr id="546" name="Groep 545">
                <a:extLst>
                  <a:ext uri="{FF2B5EF4-FFF2-40B4-BE49-F238E27FC236}">
                    <a16:creationId xmlns:a16="http://schemas.microsoft.com/office/drawing/2014/main" id="{0751FE14-3636-0BF3-B33C-F7D8265A5367}"/>
                  </a:ext>
                </a:extLst>
              </p:cNvPr>
              <p:cNvGrpSpPr/>
              <p:nvPr/>
            </p:nvGrpSpPr>
            <p:grpSpPr>
              <a:xfrm>
                <a:off x="668396" y="1930399"/>
                <a:ext cx="944504" cy="809593"/>
                <a:chOff x="5696016" y="3086100"/>
                <a:chExt cx="800080" cy="685799"/>
              </a:xfrm>
              <a:grpFill/>
            </p:grpSpPr>
            <p:sp>
              <p:nvSpPr>
                <p:cNvPr id="574" name="Vrije vorm: vorm 573">
                  <a:extLst>
                    <a:ext uri="{FF2B5EF4-FFF2-40B4-BE49-F238E27FC236}">
                      <a16:creationId xmlns:a16="http://schemas.microsoft.com/office/drawing/2014/main" id="{7D16BCEE-E058-DAAD-DE21-15795FF523E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5" name="Vrije vorm: vorm 574">
                  <a:extLst>
                    <a:ext uri="{FF2B5EF4-FFF2-40B4-BE49-F238E27FC236}">
                      <a16:creationId xmlns:a16="http://schemas.microsoft.com/office/drawing/2014/main" id="{AF355CCA-348B-575B-9050-B7DC565AD5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7" name="Groep 546">
                <a:extLst>
                  <a:ext uri="{FF2B5EF4-FFF2-40B4-BE49-F238E27FC236}">
                    <a16:creationId xmlns:a16="http://schemas.microsoft.com/office/drawing/2014/main" id="{FA87AAD3-C338-8F93-2C98-B6281BE90B42}"/>
                  </a:ext>
                </a:extLst>
              </p:cNvPr>
              <p:cNvGrpSpPr/>
              <p:nvPr/>
            </p:nvGrpSpPr>
            <p:grpSpPr>
              <a:xfrm>
                <a:off x="1720731" y="1930399"/>
                <a:ext cx="944504" cy="809593"/>
                <a:chOff x="5696016" y="3086100"/>
                <a:chExt cx="800080" cy="685799"/>
              </a:xfrm>
              <a:grpFill/>
            </p:grpSpPr>
            <p:sp>
              <p:nvSpPr>
                <p:cNvPr id="572" name="Vrije vorm: vorm 571">
                  <a:extLst>
                    <a:ext uri="{FF2B5EF4-FFF2-40B4-BE49-F238E27FC236}">
                      <a16:creationId xmlns:a16="http://schemas.microsoft.com/office/drawing/2014/main" id="{DF1B799A-E230-BE42-6F62-C626BB10DF0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3" name="Vrije vorm: vorm 572">
                  <a:extLst>
                    <a:ext uri="{FF2B5EF4-FFF2-40B4-BE49-F238E27FC236}">
                      <a16:creationId xmlns:a16="http://schemas.microsoft.com/office/drawing/2014/main" id="{666BC22D-B168-FA96-35A3-FF211FE207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8" name="Groep 547">
                <a:extLst>
                  <a:ext uri="{FF2B5EF4-FFF2-40B4-BE49-F238E27FC236}">
                    <a16:creationId xmlns:a16="http://schemas.microsoft.com/office/drawing/2014/main" id="{781FEC1A-71C7-EA9B-7774-F4B31C257A19}"/>
                  </a:ext>
                </a:extLst>
              </p:cNvPr>
              <p:cNvGrpSpPr/>
              <p:nvPr/>
            </p:nvGrpSpPr>
            <p:grpSpPr>
              <a:xfrm>
                <a:off x="2773066" y="1930399"/>
                <a:ext cx="944504" cy="809593"/>
                <a:chOff x="5696016" y="3086100"/>
                <a:chExt cx="800080" cy="685799"/>
              </a:xfrm>
              <a:grpFill/>
            </p:grpSpPr>
            <p:sp>
              <p:nvSpPr>
                <p:cNvPr id="570" name="Vrije vorm: vorm 569">
                  <a:extLst>
                    <a:ext uri="{FF2B5EF4-FFF2-40B4-BE49-F238E27FC236}">
                      <a16:creationId xmlns:a16="http://schemas.microsoft.com/office/drawing/2014/main" id="{17DA9001-A3EC-4630-698F-28E6D705A99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71" name="Vrije vorm: vorm 570">
                  <a:extLst>
                    <a:ext uri="{FF2B5EF4-FFF2-40B4-BE49-F238E27FC236}">
                      <a16:creationId xmlns:a16="http://schemas.microsoft.com/office/drawing/2014/main" id="{21BD90A6-D0FE-5B11-7DCC-37B5291B12B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49" name="Groep 548">
                <a:extLst>
                  <a:ext uri="{FF2B5EF4-FFF2-40B4-BE49-F238E27FC236}">
                    <a16:creationId xmlns:a16="http://schemas.microsoft.com/office/drawing/2014/main" id="{685B1219-0E57-56C1-DDC2-64B27BE91398}"/>
                  </a:ext>
                </a:extLst>
              </p:cNvPr>
              <p:cNvGrpSpPr/>
              <p:nvPr/>
            </p:nvGrpSpPr>
            <p:grpSpPr>
              <a:xfrm>
                <a:off x="3825401" y="1930399"/>
                <a:ext cx="944504" cy="809593"/>
                <a:chOff x="5696016" y="3086100"/>
                <a:chExt cx="800080" cy="685799"/>
              </a:xfrm>
              <a:grpFill/>
            </p:grpSpPr>
            <p:sp>
              <p:nvSpPr>
                <p:cNvPr id="568" name="Vrije vorm: vorm 567">
                  <a:extLst>
                    <a:ext uri="{FF2B5EF4-FFF2-40B4-BE49-F238E27FC236}">
                      <a16:creationId xmlns:a16="http://schemas.microsoft.com/office/drawing/2014/main" id="{7E0808AA-3512-F5B4-4EF9-9704DB3C13A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9" name="Vrije vorm: vorm 568">
                  <a:extLst>
                    <a:ext uri="{FF2B5EF4-FFF2-40B4-BE49-F238E27FC236}">
                      <a16:creationId xmlns:a16="http://schemas.microsoft.com/office/drawing/2014/main" id="{6979FE77-94DA-5BBE-3A33-1D229D4B60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0" name="Groep 549">
                <a:extLst>
                  <a:ext uri="{FF2B5EF4-FFF2-40B4-BE49-F238E27FC236}">
                    <a16:creationId xmlns:a16="http://schemas.microsoft.com/office/drawing/2014/main" id="{CD564022-E594-5A7E-2FAE-B7B560BE610C}"/>
                  </a:ext>
                </a:extLst>
              </p:cNvPr>
              <p:cNvGrpSpPr/>
              <p:nvPr/>
            </p:nvGrpSpPr>
            <p:grpSpPr>
              <a:xfrm>
                <a:off x="4877736" y="1930399"/>
                <a:ext cx="944504" cy="809593"/>
                <a:chOff x="5696016" y="3086100"/>
                <a:chExt cx="800080" cy="685799"/>
              </a:xfrm>
              <a:grpFill/>
            </p:grpSpPr>
            <p:sp>
              <p:nvSpPr>
                <p:cNvPr id="566" name="Vrije vorm: vorm 565">
                  <a:extLst>
                    <a:ext uri="{FF2B5EF4-FFF2-40B4-BE49-F238E27FC236}">
                      <a16:creationId xmlns:a16="http://schemas.microsoft.com/office/drawing/2014/main" id="{318E89D1-429A-4271-1C69-75C5199CD67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7" name="Vrije vorm: vorm 566">
                  <a:extLst>
                    <a:ext uri="{FF2B5EF4-FFF2-40B4-BE49-F238E27FC236}">
                      <a16:creationId xmlns:a16="http://schemas.microsoft.com/office/drawing/2014/main" id="{C407AD27-C1D8-0025-552A-11C6071ED0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1" name="Groep 550">
                <a:extLst>
                  <a:ext uri="{FF2B5EF4-FFF2-40B4-BE49-F238E27FC236}">
                    <a16:creationId xmlns:a16="http://schemas.microsoft.com/office/drawing/2014/main" id="{A752FDB2-2E48-30B6-B77F-427007D016C9}"/>
                  </a:ext>
                </a:extLst>
              </p:cNvPr>
              <p:cNvGrpSpPr/>
              <p:nvPr/>
            </p:nvGrpSpPr>
            <p:grpSpPr>
              <a:xfrm>
                <a:off x="5930071" y="1930399"/>
                <a:ext cx="944504" cy="809593"/>
                <a:chOff x="5696016" y="3086100"/>
                <a:chExt cx="800080" cy="685799"/>
              </a:xfrm>
              <a:grpFill/>
            </p:grpSpPr>
            <p:sp>
              <p:nvSpPr>
                <p:cNvPr id="564" name="Vrije vorm: vorm 563">
                  <a:extLst>
                    <a:ext uri="{FF2B5EF4-FFF2-40B4-BE49-F238E27FC236}">
                      <a16:creationId xmlns:a16="http://schemas.microsoft.com/office/drawing/2014/main" id="{B03B973B-44C2-76D1-B966-B8271FBDB42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5" name="Vrije vorm: vorm 564">
                  <a:extLst>
                    <a:ext uri="{FF2B5EF4-FFF2-40B4-BE49-F238E27FC236}">
                      <a16:creationId xmlns:a16="http://schemas.microsoft.com/office/drawing/2014/main" id="{80565446-5A1E-1136-1562-26F4AFA796A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2" name="Groep 551">
                <a:extLst>
                  <a:ext uri="{FF2B5EF4-FFF2-40B4-BE49-F238E27FC236}">
                    <a16:creationId xmlns:a16="http://schemas.microsoft.com/office/drawing/2014/main" id="{E41472CD-36E4-B5CD-6A7B-B713C1DF1E0E}"/>
                  </a:ext>
                </a:extLst>
              </p:cNvPr>
              <p:cNvGrpSpPr/>
              <p:nvPr/>
            </p:nvGrpSpPr>
            <p:grpSpPr>
              <a:xfrm>
                <a:off x="6982406" y="1930399"/>
                <a:ext cx="944504" cy="809593"/>
                <a:chOff x="5696016" y="3086100"/>
                <a:chExt cx="800080" cy="685799"/>
              </a:xfrm>
              <a:grpFill/>
            </p:grpSpPr>
            <p:sp>
              <p:nvSpPr>
                <p:cNvPr id="562" name="Vrije vorm: vorm 561">
                  <a:extLst>
                    <a:ext uri="{FF2B5EF4-FFF2-40B4-BE49-F238E27FC236}">
                      <a16:creationId xmlns:a16="http://schemas.microsoft.com/office/drawing/2014/main" id="{8EF7D1B8-2765-7767-52A5-98E2647A16A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3" name="Vrije vorm: vorm 562">
                  <a:extLst>
                    <a:ext uri="{FF2B5EF4-FFF2-40B4-BE49-F238E27FC236}">
                      <a16:creationId xmlns:a16="http://schemas.microsoft.com/office/drawing/2014/main" id="{2AE84A01-CAB3-42DD-5BB1-F327C93A3BC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3" name="Groep 552">
                <a:extLst>
                  <a:ext uri="{FF2B5EF4-FFF2-40B4-BE49-F238E27FC236}">
                    <a16:creationId xmlns:a16="http://schemas.microsoft.com/office/drawing/2014/main" id="{65C7DA98-1E60-3560-BE6D-8070BDDC19CD}"/>
                  </a:ext>
                </a:extLst>
              </p:cNvPr>
              <p:cNvGrpSpPr/>
              <p:nvPr/>
            </p:nvGrpSpPr>
            <p:grpSpPr>
              <a:xfrm>
                <a:off x="8034741" y="1930399"/>
                <a:ext cx="944504" cy="809593"/>
                <a:chOff x="5696016" y="3086100"/>
                <a:chExt cx="800080" cy="685799"/>
              </a:xfrm>
              <a:grpFill/>
            </p:grpSpPr>
            <p:sp>
              <p:nvSpPr>
                <p:cNvPr id="560" name="Vrije vorm: vorm 559">
                  <a:extLst>
                    <a:ext uri="{FF2B5EF4-FFF2-40B4-BE49-F238E27FC236}">
                      <a16:creationId xmlns:a16="http://schemas.microsoft.com/office/drawing/2014/main" id="{FB908647-1A77-A3A9-8E14-7A39C73413A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61" name="Vrije vorm: vorm 560">
                  <a:extLst>
                    <a:ext uri="{FF2B5EF4-FFF2-40B4-BE49-F238E27FC236}">
                      <a16:creationId xmlns:a16="http://schemas.microsoft.com/office/drawing/2014/main" id="{EAF3F0D1-6F2F-0720-6C91-B726B6EE3E1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4" name="Groep 553">
                <a:extLst>
                  <a:ext uri="{FF2B5EF4-FFF2-40B4-BE49-F238E27FC236}">
                    <a16:creationId xmlns:a16="http://schemas.microsoft.com/office/drawing/2014/main" id="{5BF8EF5F-1F0C-7B74-5A47-D356E5089724}"/>
                  </a:ext>
                </a:extLst>
              </p:cNvPr>
              <p:cNvGrpSpPr/>
              <p:nvPr/>
            </p:nvGrpSpPr>
            <p:grpSpPr>
              <a:xfrm>
                <a:off x="9087076" y="1930399"/>
                <a:ext cx="944504" cy="809593"/>
                <a:chOff x="5696016" y="3086100"/>
                <a:chExt cx="800080" cy="685799"/>
              </a:xfrm>
              <a:grpFill/>
            </p:grpSpPr>
            <p:sp>
              <p:nvSpPr>
                <p:cNvPr id="558" name="Vrije vorm: vorm 557">
                  <a:extLst>
                    <a:ext uri="{FF2B5EF4-FFF2-40B4-BE49-F238E27FC236}">
                      <a16:creationId xmlns:a16="http://schemas.microsoft.com/office/drawing/2014/main" id="{16C08C38-0AED-F9BC-093E-76DE79D76B6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59" name="Vrije vorm: vorm 558">
                  <a:extLst>
                    <a:ext uri="{FF2B5EF4-FFF2-40B4-BE49-F238E27FC236}">
                      <a16:creationId xmlns:a16="http://schemas.microsoft.com/office/drawing/2014/main" id="{FB2D7B06-930F-39BC-778D-71AE891C8B6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55" name="Groep 554">
                <a:extLst>
                  <a:ext uri="{FF2B5EF4-FFF2-40B4-BE49-F238E27FC236}">
                    <a16:creationId xmlns:a16="http://schemas.microsoft.com/office/drawing/2014/main" id="{153FCB05-29B5-6661-E957-A5C1C97CC90B}"/>
                  </a:ext>
                </a:extLst>
              </p:cNvPr>
              <p:cNvGrpSpPr/>
              <p:nvPr/>
            </p:nvGrpSpPr>
            <p:grpSpPr>
              <a:xfrm>
                <a:off x="10139413" y="1930399"/>
                <a:ext cx="944504" cy="809593"/>
                <a:chOff x="5696016" y="3086100"/>
                <a:chExt cx="800080" cy="685799"/>
              </a:xfrm>
              <a:grpFill/>
            </p:grpSpPr>
            <p:sp>
              <p:nvSpPr>
                <p:cNvPr id="556" name="Vrije vorm: vorm 555">
                  <a:extLst>
                    <a:ext uri="{FF2B5EF4-FFF2-40B4-BE49-F238E27FC236}">
                      <a16:creationId xmlns:a16="http://schemas.microsoft.com/office/drawing/2014/main" id="{202E1AE4-873A-6165-FA2C-7EAD3A9CD9F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57" name="Vrije vorm: vorm 556">
                  <a:extLst>
                    <a:ext uri="{FF2B5EF4-FFF2-40B4-BE49-F238E27FC236}">
                      <a16:creationId xmlns:a16="http://schemas.microsoft.com/office/drawing/2014/main" id="{85A95486-9FA3-0587-D20A-8E2A40F2A40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3" name="Groep 452">
              <a:extLst>
                <a:ext uri="{FF2B5EF4-FFF2-40B4-BE49-F238E27FC236}">
                  <a16:creationId xmlns:a16="http://schemas.microsoft.com/office/drawing/2014/main" id="{409ADAB2-3281-D3EF-DA14-F52C318ECC6D}"/>
                </a:ext>
              </a:extLst>
            </p:cNvPr>
            <p:cNvGrpSpPr/>
            <p:nvPr/>
          </p:nvGrpSpPr>
          <p:grpSpPr>
            <a:xfrm>
              <a:off x="649432" y="1456834"/>
              <a:ext cx="2409536" cy="187292"/>
              <a:chOff x="668396" y="1930399"/>
              <a:chExt cx="10415521" cy="809593"/>
            </a:xfrm>
            <a:grpFill/>
          </p:grpSpPr>
          <p:grpSp>
            <p:nvGrpSpPr>
              <p:cNvPr id="516" name="Groep 515">
                <a:extLst>
                  <a:ext uri="{FF2B5EF4-FFF2-40B4-BE49-F238E27FC236}">
                    <a16:creationId xmlns:a16="http://schemas.microsoft.com/office/drawing/2014/main" id="{037CFFB7-5BC5-4A65-B3A2-2DCB09B40DF6}"/>
                  </a:ext>
                </a:extLst>
              </p:cNvPr>
              <p:cNvGrpSpPr/>
              <p:nvPr/>
            </p:nvGrpSpPr>
            <p:grpSpPr>
              <a:xfrm>
                <a:off x="668396" y="1930399"/>
                <a:ext cx="944504" cy="809593"/>
                <a:chOff x="5696016" y="3086100"/>
                <a:chExt cx="800080" cy="685799"/>
              </a:xfrm>
              <a:grpFill/>
            </p:grpSpPr>
            <p:sp>
              <p:nvSpPr>
                <p:cNvPr id="544" name="Vrije vorm: vorm 543">
                  <a:extLst>
                    <a:ext uri="{FF2B5EF4-FFF2-40B4-BE49-F238E27FC236}">
                      <a16:creationId xmlns:a16="http://schemas.microsoft.com/office/drawing/2014/main" id="{62BEDEEF-4CDB-D984-B545-47D2403F204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45" name="Vrije vorm: vorm 544">
                  <a:extLst>
                    <a:ext uri="{FF2B5EF4-FFF2-40B4-BE49-F238E27FC236}">
                      <a16:creationId xmlns:a16="http://schemas.microsoft.com/office/drawing/2014/main" id="{5CCC2039-8AE8-E0EB-DBE6-75303F90D1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7" name="Groep 516">
                <a:extLst>
                  <a:ext uri="{FF2B5EF4-FFF2-40B4-BE49-F238E27FC236}">
                    <a16:creationId xmlns:a16="http://schemas.microsoft.com/office/drawing/2014/main" id="{BD48B0D5-818B-4A56-8517-94D3094523C2}"/>
                  </a:ext>
                </a:extLst>
              </p:cNvPr>
              <p:cNvGrpSpPr/>
              <p:nvPr/>
            </p:nvGrpSpPr>
            <p:grpSpPr>
              <a:xfrm>
                <a:off x="1720731" y="1930399"/>
                <a:ext cx="944504" cy="809593"/>
                <a:chOff x="5696016" y="3086100"/>
                <a:chExt cx="800080" cy="685799"/>
              </a:xfrm>
              <a:grpFill/>
            </p:grpSpPr>
            <p:sp>
              <p:nvSpPr>
                <p:cNvPr id="542" name="Vrije vorm: vorm 541">
                  <a:extLst>
                    <a:ext uri="{FF2B5EF4-FFF2-40B4-BE49-F238E27FC236}">
                      <a16:creationId xmlns:a16="http://schemas.microsoft.com/office/drawing/2014/main" id="{09A98A23-DE9E-1F92-6805-93010797DD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43" name="Vrije vorm: vorm 542">
                  <a:extLst>
                    <a:ext uri="{FF2B5EF4-FFF2-40B4-BE49-F238E27FC236}">
                      <a16:creationId xmlns:a16="http://schemas.microsoft.com/office/drawing/2014/main" id="{541127A3-BC86-F4CB-33D0-B8E24808127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8" name="Groep 517">
                <a:extLst>
                  <a:ext uri="{FF2B5EF4-FFF2-40B4-BE49-F238E27FC236}">
                    <a16:creationId xmlns:a16="http://schemas.microsoft.com/office/drawing/2014/main" id="{C3D3F38B-6C8A-B3A1-F4FC-473FEEBE3D83}"/>
                  </a:ext>
                </a:extLst>
              </p:cNvPr>
              <p:cNvGrpSpPr/>
              <p:nvPr/>
            </p:nvGrpSpPr>
            <p:grpSpPr>
              <a:xfrm>
                <a:off x="2773066" y="1930399"/>
                <a:ext cx="944504" cy="809593"/>
                <a:chOff x="5696016" y="3086100"/>
                <a:chExt cx="800080" cy="685799"/>
              </a:xfrm>
              <a:grpFill/>
            </p:grpSpPr>
            <p:sp>
              <p:nvSpPr>
                <p:cNvPr id="540" name="Vrije vorm: vorm 539">
                  <a:extLst>
                    <a:ext uri="{FF2B5EF4-FFF2-40B4-BE49-F238E27FC236}">
                      <a16:creationId xmlns:a16="http://schemas.microsoft.com/office/drawing/2014/main" id="{9E1246C6-3CED-64D7-CE92-6026DD06F2A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41" name="Vrije vorm: vorm 540">
                  <a:extLst>
                    <a:ext uri="{FF2B5EF4-FFF2-40B4-BE49-F238E27FC236}">
                      <a16:creationId xmlns:a16="http://schemas.microsoft.com/office/drawing/2014/main" id="{81AA9DB2-DAC3-0CAC-7A59-8E9ACBD2F2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19" name="Groep 518">
                <a:extLst>
                  <a:ext uri="{FF2B5EF4-FFF2-40B4-BE49-F238E27FC236}">
                    <a16:creationId xmlns:a16="http://schemas.microsoft.com/office/drawing/2014/main" id="{6A487396-45A2-5436-243B-CAF01229E801}"/>
                  </a:ext>
                </a:extLst>
              </p:cNvPr>
              <p:cNvGrpSpPr/>
              <p:nvPr/>
            </p:nvGrpSpPr>
            <p:grpSpPr>
              <a:xfrm>
                <a:off x="3825401" y="1930399"/>
                <a:ext cx="944504" cy="809593"/>
                <a:chOff x="5696016" y="3086100"/>
                <a:chExt cx="800080" cy="685799"/>
              </a:xfrm>
              <a:grpFill/>
            </p:grpSpPr>
            <p:sp>
              <p:nvSpPr>
                <p:cNvPr id="538" name="Vrije vorm: vorm 537">
                  <a:extLst>
                    <a:ext uri="{FF2B5EF4-FFF2-40B4-BE49-F238E27FC236}">
                      <a16:creationId xmlns:a16="http://schemas.microsoft.com/office/drawing/2014/main" id="{5AF4D628-FF17-BAB0-5192-EAE2DE28BCA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9" name="Vrije vorm: vorm 538">
                  <a:extLst>
                    <a:ext uri="{FF2B5EF4-FFF2-40B4-BE49-F238E27FC236}">
                      <a16:creationId xmlns:a16="http://schemas.microsoft.com/office/drawing/2014/main" id="{CC33CD9C-B0A6-ED08-9A1C-40BA10873B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0" name="Groep 519">
                <a:extLst>
                  <a:ext uri="{FF2B5EF4-FFF2-40B4-BE49-F238E27FC236}">
                    <a16:creationId xmlns:a16="http://schemas.microsoft.com/office/drawing/2014/main" id="{EECDACF6-6D2A-3A7F-A556-10B2420EE0CA}"/>
                  </a:ext>
                </a:extLst>
              </p:cNvPr>
              <p:cNvGrpSpPr/>
              <p:nvPr/>
            </p:nvGrpSpPr>
            <p:grpSpPr>
              <a:xfrm>
                <a:off x="4877736" y="1930399"/>
                <a:ext cx="944504" cy="809593"/>
                <a:chOff x="5696016" y="3086100"/>
                <a:chExt cx="800080" cy="685799"/>
              </a:xfrm>
              <a:grpFill/>
            </p:grpSpPr>
            <p:sp>
              <p:nvSpPr>
                <p:cNvPr id="536" name="Vrije vorm: vorm 535">
                  <a:extLst>
                    <a:ext uri="{FF2B5EF4-FFF2-40B4-BE49-F238E27FC236}">
                      <a16:creationId xmlns:a16="http://schemas.microsoft.com/office/drawing/2014/main" id="{4475634C-05DB-316A-C9C2-D2C453DC0A2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7" name="Vrije vorm: vorm 536">
                  <a:extLst>
                    <a:ext uri="{FF2B5EF4-FFF2-40B4-BE49-F238E27FC236}">
                      <a16:creationId xmlns:a16="http://schemas.microsoft.com/office/drawing/2014/main" id="{D56F7B10-1B3C-716F-6721-BDDFB34461E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1" name="Groep 520">
                <a:extLst>
                  <a:ext uri="{FF2B5EF4-FFF2-40B4-BE49-F238E27FC236}">
                    <a16:creationId xmlns:a16="http://schemas.microsoft.com/office/drawing/2014/main" id="{864DC809-09A1-A94F-4962-F89ABD894362}"/>
                  </a:ext>
                </a:extLst>
              </p:cNvPr>
              <p:cNvGrpSpPr/>
              <p:nvPr/>
            </p:nvGrpSpPr>
            <p:grpSpPr>
              <a:xfrm>
                <a:off x="5930071" y="1930399"/>
                <a:ext cx="944504" cy="809593"/>
                <a:chOff x="5696016" y="3086100"/>
                <a:chExt cx="800080" cy="685799"/>
              </a:xfrm>
              <a:grpFill/>
            </p:grpSpPr>
            <p:sp>
              <p:nvSpPr>
                <p:cNvPr id="534" name="Vrije vorm: vorm 533">
                  <a:extLst>
                    <a:ext uri="{FF2B5EF4-FFF2-40B4-BE49-F238E27FC236}">
                      <a16:creationId xmlns:a16="http://schemas.microsoft.com/office/drawing/2014/main" id="{A2D5EB94-4B36-9844-C413-A42475AF41D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5" name="Vrije vorm: vorm 534">
                  <a:extLst>
                    <a:ext uri="{FF2B5EF4-FFF2-40B4-BE49-F238E27FC236}">
                      <a16:creationId xmlns:a16="http://schemas.microsoft.com/office/drawing/2014/main" id="{09803AAA-B5D0-37E9-3FE6-E952F222946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2" name="Groep 521">
                <a:extLst>
                  <a:ext uri="{FF2B5EF4-FFF2-40B4-BE49-F238E27FC236}">
                    <a16:creationId xmlns:a16="http://schemas.microsoft.com/office/drawing/2014/main" id="{A7E90001-6629-E1C7-0DF0-EA4E2D291580}"/>
                  </a:ext>
                </a:extLst>
              </p:cNvPr>
              <p:cNvGrpSpPr/>
              <p:nvPr/>
            </p:nvGrpSpPr>
            <p:grpSpPr>
              <a:xfrm>
                <a:off x="6982406" y="1930399"/>
                <a:ext cx="944504" cy="809593"/>
                <a:chOff x="5696016" y="3086100"/>
                <a:chExt cx="800080" cy="685799"/>
              </a:xfrm>
              <a:grpFill/>
            </p:grpSpPr>
            <p:sp>
              <p:nvSpPr>
                <p:cNvPr id="532" name="Vrije vorm: vorm 531">
                  <a:extLst>
                    <a:ext uri="{FF2B5EF4-FFF2-40B4-BE49-F238E27FC236}">
                      <a16:creationId xmlns:a16="http://schemas.microsoft.com/office/drawing/2014/main" id="{2A80C658-5B0A-823F-53A2-D0DB02A2EF6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3" name="Vrije vorm: vorm 532">
                  <a:extLst>
                    <a:ext uri="{FF2B5EF4-FFF2-40B4-BE49-F238E27FC236}">
                      <a16:creationId xmlns:a16="http://schemas.microsoft.com/office/drawing/2014/main" id="{50D37405-9281-57E2-77CD-E12923F233C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3" name="Groep 522">
                <a:extLst>
                  <a:ext uri="{FF2B5EF4-FFF2-40B4-BE49-F238E27FC236}">
                    <a16:creationId xmlns:a16="http://schemas.microsoft.com/office/drawing/2014/main" id="{0C969D38-46FC-A5B6-0D26-9568DC94AF08}"/>
                  </a:ext>
                </a:extLst>
              </p:cNvPr>
              <p:cNvGrpSpPr/>
              <p:nvPr/>
            </p:nvGrpSpPr>
            <p:grpSpPr>
              <a:xfrm>
                <a:off x="8034741" y="1930399"/>
                <a:ext cx="944504" cy="809593"/>
                <a:chOff x="5696016" y="3086100"/>
                <a:chExt cx="800080" cy="685799"/>
              </a:xfrm>
              <a:grpFill/>
            </p:grpSpPr>
            <p:sp>
              <p:nvSpPr>
                <p:cNvPr id="530" name="Vrije vorm: vorm 529">
                  <a:extLst>
                    <a:ext uri="{FF2B5EF4-FFF2-40B4-BE49-F238E27FC236}">
                      <a16:creationId xmlns:a16="http://schemas.microsoft.com/office/drawing/2014/main" id="{81ED31DB-0C56-943E-9C44-34EDF229CB4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31" name="Vrije vorm: vorm 530">
                  <a:extLst>
                    <a:ext uri="{FF2B5EF4-FFF2-40B4-BE49-F238E27FC236}">
                      <a16:creationId xmlns:a16="http://schemas.microsoft.com/office/drawing/2014/main" id="{E4324A75-7130-FFDB-673B-53E6EC7838E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4" name="Groep 523">
                <a:extLst>
                  <a:ext uri="{FF2B5EF4-FFF2-40B4-BE49-F238E27FC236}">
                    <a16:creationId xmlns:a16="http://schemas.microsoft.com/office/drawing/2014/main" id="{4CC8B016-58C0-0E36-9A52-347090A62B0F}"/>
                  </a:ext>
                </a:extLst>
              </p:cNvPr>
              <p:cNvGrpSpPr/>
              <p:nvPr/>
            </p:nvGrpSpPr>
            <p:grpSpPr>
              <a:xfrm>
                <a:off x="9087076" y="1930399"/>
                <a:ext cx="944504" cy="809593"/>
                <a:chOff x="5696016" y="3086100"/>
                <a:chExt cx="800080" cy="685799"/>
              </a:xfrm>
              <a:grpFill/>
            </p:grpSpPr>
            <p:sp>
              <p:nvSpPr>
                <p:cNvPr id="528" name="Vrije vorm: vorm 527">
                  <a:extLst>
                    <a:ext uri="{FF2B5EF4-FFF2-40B4-BE49-F238E27FC236}">
                      <a16:creationId xmlns:a16="http://schemas.microsoft.com/office/drawing/2014/main" id="{B5A5861D-AA1A-2028-C67A-E2BF0CD7BD1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29" name="Vrije vorm: vorm 528">
                  <a:extLst>
                    <a:ext uri="{FF2B5EF4-FFF2-40B4-BE49-F238E27FC236}">
                      <a16:creationId xmlns:a16="http://schemas.microsoft.com/office/drawing/2014/main" id="{1DD7EB99-2B41-08B4-6ACF-5420B5ACD49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525" name="Groep 524">
                <a:extLst>
                  <a:ext uri="{FF2B5EF4-FFF2-40B4-BE49-F238E27FC236}">
                    <a16:creationId xmlns:a16="http://schemas.microsoft.com/office/drawing/2014/main" id="{70640ABB-803E-54CC-407E-621CD38EF807}"/>
                  </a:ext>
                </a:extLst>
              </p:cNvPr>
              <p:cNvGrpSpPr/>
              <p:nvPr/>
            </p:nvGrpSpPr>
            <p:grpSpPr>
              <a:xfrm>
                <a:off x="10139413" y="1930399"/>
                <a:ext cx="944504" cy="809593"/>
                <a:chOff x="5696016" y="3086100"/>
                <a:chExt cx="800080" cy="685799"/>
              </a:xfrm>
              <a:grpFill/>
            </p:grpSpPr>
            <p:sp>
              <p:nvSpPr>
                <p:cNvPr id="526" name="Vrije vorm: vorm 525">
                  <a:extLst>
                    <a:ext uri="{FF2B5EF4-FFF2-40B4-BE49-F238E27FC236}">
                      <a16:creationId xmlns:a16="http://schemas.microsoft.com/office/drawing/2014/main" id="{7737A37A-5101-75F9-5F87-CA9641239C8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27" name="Vrije vorm: vorm 526">
                  <a:extLst>
                    <a:ext uri="{FF2B5EF4-FFF2-40B4-BE49-F238E27FC236}">
                      <a16:creationId xmlns:a16="http://schemas.microsoft.com/office/drawing/2014/main" id="{CAAF6897-8409-BDC5-342F-996D400BBE7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4" name="Groep 453">
              <a:extLst>
                <a:ext uri="{FF2B5EF4-FFF2-40B4-BE49-F238E27FC236}">
                  <a16:creationId xmlns:a16="http://schemas.microsoft.com/office/drawing/2014/main" id="{3B569CC0-B822-5059-EB66-BF1FDD975790}"/>
                </a:ext>
              </a:extLst>
            </p:cNvPr>
            <p:cNvGrpSpPr/>
            <p:nvPr/>
          </p:nvGrpSpPr>
          <p:grpSpPr>
            <a:xfrm>
              <a:off x="649432" y="1690867"/>
              <a:ext cx="2409536" cy="187292"/>
              <a:chOff x="668396" y="1930399"/>
              <a:chExt cx="10415521" cy="809593"/>
            </a:xfrm>
            <a:grpFill/>
          </p:grpSpPr>
          <p:grpSp>
            <p:nvGrpSpPr>
              <p:cNvPr id="486" name="Groep 485">
                <a:extLst>
                  <a:ext uri="{FF2B5EF4-FFF2-40B4-BE49-F238E27FC236}">
                    <a16:creationId xmlns:a16="http://schemas.microsoft.com/office/drawing/2014/main" id="{1196615C-192F-2A40-A4F2-A7441C05DD32}"/>
                  </a:ext>
                </a:extLst>
              </p:cNvPr>
              <p:cNvGrpSpPr/>
              <p:nvPr/>
            </p:nvGrpSpPr>
            <p:grpSpPr>
              <a:xfrm>
                <a:off x="668396" y="1930399"/>
                <a:ext cx="944504" cy="809593"/>
                <a:chOff x="5696016" y="3086100"/>
                <a:chExt cx="800080" cy="685799"/>
              </a:xfrm>
              <a:grpFill/>
            </p:grpSpPr>
            <p:sp>
              <p:nvSpPr>
                <p:cNvPr id="514" name="Vrije vorm: vorm 513">
                  <a:extLst>
                    <a:ext uri="{FF2B5EF4-FFF2-40B4-BE49-F238E27FC236}">
                      <a16:creationId xmlns:a16="http://schemas.microsoft.com/office/drawing/2014/main" id="{3C990282-3581-89BC-0363-59EBF8AC6F0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15" name="Vrije vorm: vorm 514">
                  <a:extLst>
                    <a:ext uri="{FF2B5EF4-FFF2-40B4-BE49-F238E27FC236}">
                      <a16:creationId xmlns:a16="http://schemas.microsoft.com/office/drawing/2014/main" id="{DA8DA6FF-3D83-0FB8-5BAA-0061603432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7" name="Groep 486">
                <a:extLst>
                  <a:ext uri="{FF2B5EF4-FFF2-40B4-BE49-F238E27FC236}">
                    <a16:creationId xmlns:a16="http://schemas.microsoft.com/office/drawing/2014/main" id="{108A4E2B-913F-B5EE-69D9-EEE24E1F3B6F}"/>
                  </a:ext>
                </a:extLst>
              </p:cNvPr>
              <p:cNvGrpSpPr/>
              <p:nvPr/>
            </p:nvGrpSpPr>
            <p:grpSpPr>
              <a:xfrm>
                <a:off x="1720731" y="1930399"/>
                <a:ext cx="944504" cy="809593"/>
                <a:chOff x="5696016" y="3086100"/>
                <a:chExt cx="800080" cy="685799"/>
              </a:xfrm>
              <a:grpFill/>
            </p:grpSpPr>
            <p:sp>
              <p:nvSpPr>
                <p:cNvPr id="512" name="Vrije vorm: vorm 511">
                  <a:extLst>
                    <a:ext uri="{FF2B5EF4-FFF2-40B4-BE49-F238E27FC236}">
                      <a16:creationId xmlns:a16="http://schemas.microsoft.com/office/drawing/2014/main" id="{A1BA4B69-5A0C-8093-F772-0291EDADC72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13" name="Vrije vorm: vorm 512">
                  <a:extLst>
                    <a:ext uri="{FF2B5EF4-FFF2-40B4-BE49-F238E27FC236}">
                      <a16:creationId xmlns:a16="http://schemas.microsoft.com/office/drawing/2014/main" id="{A6876281-B2EE-D4EA-F36F-F607C5138C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8" name="Groep 487">
                <a:extLst>
                  <a:ext uri="{FF2B5EF4-FFF2-40B4-BE49-F238E27FC236}">
                    <a16:creationId xmlns:a16="http://schemas.microsoft.com/office/drawing/2014/main" id="{FA510082-025D-D38D-A32F-BA6C8E808DD7}"/>
                  </a:ext>
                </a:extLst>
              </p:cNvPr>
              <p:cNvGrpSpPr/>
              <p:nvPr/>
            </p:nvGrpSpPr>
            <p:grpSpPr>
              <a:xfrm>
                <a:off x="2773066" y="1930399"/>
                <a:ext cx="944504" cy="809593"/>
                <a:chOff x="5696016" y="3086100"/>
                <a:chExt cx="800080" cy="685799"/>
              </a:xfrm>
              <a:grpFill/>
            </p:grpSpPr>
            <p:sp>
              <p:nvSpPr>
                <p:cNvPr id="510" name="Vrije vorm: vorm 509">
                  <a:extLst>
                    <a:ext uri="{FF2B5EF4-FFF2-40B4-BE49-F238E27FC236}">
                      <a16:creationId xmlns:a16="http://schemas.microsoft.com/office/drawing/2014/main" id="{DD923DB5-509E-ABD0-EB00-133B68F51A2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11" name="Vrije vorm: vorm 510">
                  <a:extLst>
                    <a:ext uri="{FF2B5EF4-FFF2-40B4-BE49-F238E27FC236}">
                      <a16:creationId xmlns:a16="http://schemas.microsoft.com/office/drawing/2014/main" id="{0FC86342-A63F-3E0B-A79C-99F28AB8E8F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89" name="Groep 488">
                <a:extLst>
                  <a:ext uri="{FF2B5EF4-FFF2-40B4-BE49-F238E27FC236}">
                    <a16:creationId xmlns:a16="http://schemas.microsoft.com/office/drawing/2014/main" id="{355D8F72-49BB-5665-FFC7-AFAEDB7924F2}"/>
                  </a:ext>
                </a:extLst>
              </p:cNvPr>
              <p:cNvGrpSpPr/>
              <p:nvPr/>
            </p:nvGrpSpPr>
            <p:grpSpPr>
              <a:xfrm>
                <a:off x="3825401" y="1930399"/>
                <a:ext cx="944504" cy="809593"/>
                <a:chOff x="5696016" y="3086100"/>
                <a:chExt cx="800080" cy="685799"/>
              </a:xfrm>
              <a:grpFill/>
            </p:grpSpPr>
            <p:sp>
              <p:nvSpPr>
                <p:cNvPr id="508" name="Vrije vorm: vorm 507">
                  <a:extLst>
                    <a:ext uri="{FF2B5EF4-FFF2-40B4-BE49-F238E27FC236}">
                      <a16:creationId xmlns:a16="http://schemas.microsoft.com/office/drawing/2014/main" id="{55EE1391-FB04-24FF-33B2-57100F517C2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9" name="Vrije vorm: vorm 508">
                  <a:extLst>
                    <a:ext uri="{FF2B5EF4-FFF2-40B4-BE49-F238E27FC236}">
                      <a16:creationId xmlns:a16="http://schemas.microsoft.com/office/drawing/2014/main" id="{70E8A8FF-BFCC-DEDD-DD60-CFA77CAC411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0" name="Groep 489">
                <a:extLst>
                  <a:ext uri="{FF2B5EF4-FFF2-40B4-BE49-F238E27FC236}">
                    <a16:creationId xmlns:a16="http://schemas.microsoft.com/office/drawing/2014/main" id="{5A9C1064-81B4-D2AA-BD4F-7CA2DBBFAA37}"/>
                  </a:ext>
                </a:extLst>
              </p:cNvPr>
              <p:cNvGrpSpPr/>
              <p:nvPr/>
            </p:nvGrpSpPr>
            <p:grpSpPr>
              <a:xfrm>
                <a:off x="4877736" y="1930399"/>
                <a:ext cx="944504" cy="809593"/>
                <a:chOff x="5696016" y="3086100"/>
                <a:chExt cx="800080" cy="685799"/>
              </a:xfrm>
              <a:grpFill/>
            </p:grpSpPr>
            <p:sp>
              <p:nvSpPr>
                <p:cNvPr id="506" name="Vrije vorm: vorm 505">
                  <a:extLst>
                    <a:ext uri="{FF2B5EF4-FFF2-40B4-BE49-F238E27FC236}">
                      <a16:creationId xmlns:a16="http://schemas.microsoft.com/office/drawing/2014/main" id="{0BE9C0A3-25D3-42DC-6C6D-E619BDE769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7" name="Vrije vorm: vorm 506">
                  <a:extLst>
                    <a:ext uri="{FF2B5EF4-FFF2-40B4-BE49-F238E27FC236}">
                      <a16:creationId xmlns:a16="http://schemas.microsoft.com/office/drawing/2014/main" id="{04A054EB-FBEE-0BBF-C422-E7905B257FE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1" name="Groep 490">
                <a:extLst>
                  <a:ext uri="{FF2B5EF4-FFF2-40B4-BE49-F238E27FC236}">
                    <a16:creationId xmlns:a16="http://schemas.microsoft.com/office/drawing/2014/main" id="{F5754E49-49AE-CACB-1C45-03410E54C3EF}"/>
                  </a:ext>
                </a:extLst>
              </p:cNvPr>
              <p:cNvGrpSpPr/>
              <p:nvPr/>
            </p:nvGrpSpPr>
            <p:grpSpPr>
              <a:xfrm>
                <a:off x="5930071" y="1930399"/>
                <a:ext cx="944504" cy="809593"/>
                <a:chOff x="5696016" y="3086100"/>
                <a:chExt cx="800080" cy="685799"/>
              </a:xfrm>
              <a:grpFill/>
            </p:grpSpPr>
            <p:sp>
              <p:nvSpPr>
                <p:cNvPr id="504" name="Vrije vorm: vorm 503">
                  <a:extLst>
                    <a:ext uri="{FF2B5EF4-FFF2-40B4-BE49-F238E27FC236}">
                      <a16:creationId xmlns:a16="http://schemas.microsoft.com/office/drawing/2014/main" id="{7C18F7F9-1BCB-0C99-9045-1C14A583262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5" name="Vrije vorm: vorm 504">
                  <a:extLst>
                    <a:ext uri="{FF2B5EF4-FFF2-40B4-BE49-F238E27FC236}">
                      <a16:creationId xmlns:a16="http://schemas.microsoft.com/office/drawing/2014/main" id="{C300913E-C358-0B02-2C28-0DCF972E2E5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2" name="Groep 491">
                <a:extLst>
                  <a:ext uri="{FF2B5EF4-FFF2-40B4-BE49-F238E27FC236}">
                    <a16:creationId xmlns:a16="http://schemas.microsoft.com/office/drawing/2014/main" id="{D7317738-E7F0-D2C2-A1E1-EFF28F4E87E3}"/>
                  </a:ext>
                </a:extLst>
              </p:cNvPr>
              <p:cNvGrpSpPr/>
              <p:nvPr/>
            </p:nvGrpSpPr>
            <p:grpSpPr>
              <a:xfrm>
                <a:off x="6982406" y="1930399"/>
                <a:ext cx="944504" cy="809593"/>
                <a:chOff x="5696016" y="3086100"/>
                <a:chExt cx="800080" cy="685799"/>
              </a:xfrm>
              <a:grpFill/>
            </p:grpSpPr>
            <p:sp>
              <p:nvSpPr>
                <p:cNvPr id="502" name="Vrije vorm: vorm 501">
                  <a:extLst>
                    <a:ext uri="{FF2B5EF4-FFF2-40B4-BE49-F238E27FC236}">
                      <a16:creationId xmlns:a16="http://schemas.microsoft.com/office/drawing/2014/main" id="{F678A45E-9445-580D-2FC7-04FBD637731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3" name="Vrije vorm: vorm 502">
                  <a:extLst>
                    <a:ext uri="{FF2B5EF4-FFF2-40B4-BE49-F238E27FC236}">
                      <a16:creationId xmlns:a16="http://schemas.microsoft.com/office/drawing/2014/main" id="{F8AB342B-D64B-8175-C2DD-59634363194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3" name="Groep 492">
                <a:extLst>
                  <a:ext uri="{FF2B5EF4-FFF2-40B4-BE49-F238E27FC236}">
                    <a16:creationId xmlns:a16="http://schemas.microsoft.com/office/drawing/2014/main" id="{A3E7B069-0A3B-6A5E-848D-76E28BB9CB66}"/>
                  </a:ext>
                </a:extLst>
              </p:cNvPr>
              <p:cNvGrpSpPr/>
              <p:nvPr/>
            </p:nvGrpSpPr>
            <p:grpSpPr>
              <a:xfrm>
                <a:off x="8034741" y="1930399"/>
                <a:ext cx="944504" cy="809593"/>
                <a:chOff x="5696016" y="3086100"/>
                <a:chExt cx="800080" cy="685799"/>
              </a:xfrm>
              <a:grpFill/>
            </p:grpSpPr>
            <p:sp>
              <p:nvSpPr>
                <p:cNvPr id="500" name="Vrije vorm: vorm 499">
                  <a:extLst>
                    <a:ext uri="{FF2B5EF4-FFF2-40B4-BE49-F238E27FC236}">
                      <a16:creationId xmlns:a16="http://schemas.microsoft.com/office/drawing/2014/main" id="{0FA11AAD-FADB-703A-0CA9-6791EB18F83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501" name="Vrije vorm: vorm 500">
                  <a:extLst>
                    <a:ext uri="{FF2B5EF4-FFF2-40B4-BE49-F238E27FC236}">
                      <a16:creationId xmlns:a16="http://schemas.microsoft.com/office/drawing/2014/main" id="{16D8A2FC-1A36-3C54-4BDE-52FDF2B56E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4" name="Groep 493">
                <a:extLst>
                  <a:ext uri="{FF2B5EF4-FFF2-40B4-BE49-F238E27FC236}">
                    <a16:creationId xmlns:a16="http://schemas.microsoft.com/office/drawing/2014/main" id="{14132916-2A9A-33A6-C719-0D01C84709D2}"/>
                  </a:ext>
                </a:extLst>
              </p:cNvPr>
              <p:cNvGrpSpPr/>
              <p:nvPr/>
            </p:nvGrpSpPr>
            <p:grpSpPr>
              <a:xfrm>
                <a:off x="9087076" y="1930399"/>
                <a:ext cx="944504" cy="809593"/>
                <a:chOff x="5696016" y="3086100"/>
                <a:chExt cx="800080" cy="685799"/>
              </a:xfrm>
              <a:grpFill/>
            </p:grpSpPr>
            <p:sp>
              <p:nvSpPr>
                <p:cNvPr id="498" name="Vrije vorm: vorm 497">
                  <a:extLst>
                    <a:ext uri="{FF2B5EF4-FFF2-40B4-BE49-F238E27FC236}">
                      <a16:creationId xmlns:a16="http://schemas.microsoft.com/office/drawing/2014/main" id="{3C6558EF-F337-FE16-1C69-88DF2DA0EA8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99" name="Vrije vorm: vorm 498">
                  <a:extLst>
                    <a:ext uri="{FF2B5EF4-FFF2-40B4-BE49-F238E27FC236}">
                      <a16:creationId xmlns:a16="http://schemas.microsoft.com/office/drawing/2014/main" id="{6DD936E4-213F-BD2B-FF22-C6428BB228C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95" name="Groep 494">
                <a:extLst>
                  <a:ext uri="{FF2B5EF4-FFF2-40B4-BE49-F238E27FC236}">
                    <a16:creationId xmlns:a16="http://schemas.microsoft.com/office/drawing/2014/main" id="{1604878D-28C0-2D55-C9EF-A3BCAD1FD04A}"/>
                  </a:ext>
                </a:extLst>
              </p:cNvPr>
              <p:cNvGrpSpPr/>
              <p:nvPr/>
            </p:nvGrpSpPr>
            <p:grpSpPr>
              <a:xfrm>
                <a:off x="10139413" y="1930399"/>
                <a:ext cx="944504" cy="809593"/>
                <a:chOff x="5696016" y="3086100"/>
                <a:chExt cx="800080" cy="685799"/>
              </a:xfrm>
              <a:grpFill/>
            </p:grpSpPr>
            <p:sp>
              <p:nvSpPr>
                <p:cNvPr id="496" name="Vrije vorm: vorm 495">
                  <a:extLst>
                    <a:ext uri="{FF2B5EF4-FFF2-40B4-BE49-F238E27FC236}">
                      <a16:creationId xmlns:a16="http://schemas.microsoft.com/office/drawing/2014/main" id="{ADFFC4D1-117F-78B3-7260-02343AEBEDE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97" name="Vrije vorm: vorm 496">
                  <a:extLst>
                    <a:ext uri="{FF2B5EF4-FFF2-40B4-BE49-F238E27FC236}">
                      <a16:creationId xmlns:a16="http://schemas.microsoft.com/office/drawing/2014/main" id="{90C57533-EAE1-7FC7-98F2-3F74F2E7626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455" name="Groep 454">
              <a:extLst>
                <a:ext uri="{FF2B5EF4-FFF2-40B4-BE49-F238E27FC236}">
                  <a16:creationId xmlns:a16="http://schemas.microsoft.com/office/drawing/2014/main" id="{496741E8-A1D7-75E0-6311-948C9F821FC8}"/>
                </a:ext>
              </a:extLst>
            </p:cNvPr>
            <p:cNvGrpSpPr/>
            <p:nvPr/>
          </p:nvGrpSpPr>
          <p:grpSpPr>
            <a:xfrm>
              <a:off x="649432" y="1924901"/>
              <a:ext cx="2409536" cy="187292"/>
              <a:chOff x="668396" y="1930399"/>
              <a:chExt cx="10415521" cy="809593"/>
            </a:xfrm>
            <a:grpFill/>
          </p:grpSpPr>
          <p:grpSp>
            <p:nvGrpSpPr>
              <p:cNvPr id="456" name="Groep 455">
                <a:extLst>
                  <a:ext uri="{FF2B5EF4-FFF2-40B4-BE49-F238E27FC236}">
                    <a16:creationId xmlns:a16="http://schemas.microsoft.com/office/drawing/2014/main" id="{54240F4F-2B53-55E0-F8EF-60C589C28CF2}"/>
                  </a:ext>
                </a:extLst>
              </p:cNvPr>
              <p:cNvGrpSpPr/>
              <p:nvPr/>
            </p:nvGrpSpPr>
            <p:grpSpPr>
              <a:xfrm>
                <a:off x="668396" y="1930399"/>
                <a:ext cx="944504" cy="809593"/>
                <a:chOff x="5696016" y="3086100"/>
                <a:chExt cx="800080" cy="685799"/>
              </a:xfrm>
              <a:grpFill/>
            </p:grpSpPr>
            <p:sp>
              <p:nvSpPr>
                <p:cNvPr id="484" name="Vrije vorm: vorm 483">
                  <a:extLst>
                    <a:ext uri="{FF2B5EF4-FFF2-40B4-BE49-F238E27FC236}">
                      <a16:creationId xmlns:a16="http://schemas.microsoft.com/office/drawing/2014/main" id="{222747BD-0272-95ED-D9E3-058B696D473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85" name="Vrije vorm: vorm 484">
                  <a:extLst>
                    <a:ext uri="{FF2B5EF4-FFF2-40B4-BE49-F238E27FC236}">
                      <a16:creationId xmlns:a16="http://schemas.microsoft.com/office/drawing/2014/main" id="{25A1D5AB-37CB-B2CB-808C-B0B91EA0FE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57" name="Groep 456">
                <a:extLst>
                  <a:ext uri="{FF2B5EF4-FFF2-40B4-BE49-F238E27FC236}">
                    <a16:creationId xmlns:a16="http://schemas.microsoft.com/office/drawing/2014/main" id="{9BAFF7BB-7891-7034-BCAC-154BDEACECBE}"/>
                  </a:ext>
                </a:extLst>
              </p:cNvPr>
              <p:cNvGrpSpPr/>
              <p:nvPr/>
            </p:nvGrpSpPr>
            <p:grpSpPr>
              <a:xfrm>
                <a:off x="1720731" y="1930399"/>
                <a:ext cx="944504" cy="809593"/>
                <a:chOff x="5696016" y="3086100"/>
                <a:chExt cx="800080" cy="685799"/>
              </a:xfrm>
              <a:grpFill/>
            </p:grpSpPr>
            <p:sp>
              <p:nvSpPr>
                <p:cNvPr id="482" name="Vrije vorm: vorm 481">
                  <a:extLst>
                    <a:ext uri="{FF2B5EF4-FFF2-40B4-BE49-F238E27FC236}">
                      <a16:creationId xmlns:a16="http://schemas.microsoft.com/office/drawing/2014/main" id="{D720765D-13F7-D25F-4E37-F76AD83AAB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83" name="Vrije vorm: vorm 482">
                  <a:extLst>
                    <a:ext uri="{FF2B5EF4-FFF2-40B4-BE49-F238E27FC236}">
                      <a16:creationId xmlns:a16="http://schemas.microsoft.com/office/drawing/2014/main" id="{95A9C5C1-C0FF-8FCB-7936-EA9C0746914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58" name="Groep 457">
                <a:extLst>
                  <a:ext uri="{FF2B5EF4-FFF2-40B4-BE49-F238E27FC236}">
                    <a16:creationId xmlns:a16="http://schemas.microsoft.com/office/drawing/2014/main" id="{531318F1-5899-784B-115F-D6F704D3D59D}"/>
                  </a:ext>
                </a:extLst>
              </p:cNvPr>
              <p:cNvGrpSpPr/>
              <p:nvPr/>
            </p:nvGrpSpPr>
            <p:grpSpPr>
              <a:xfrm>
                <a:off x="2773066" y="1930399"/>
                <a:ext cx="944504" cy="809593"/>
                <a:chOff x="5696016" y="3086100"/>
                <a:chExt cx="800080" cy="685799"/>
              </a:xfrm>
              <a:grpFill/>
            </p:grpSpPr>
            <p:sp>
              <p:nvSpPr>
                <p:cNvPr id="480" name="Vrije vorm: vorm 479">
                  <a:extLst>
                    <a:ext uri="{FF2B5EF4-FFF2-40B4-BE49-F238E27FC236}">
                      <a16:creationId xmlns:a16="http://schemas.microsoft.com/office/drawing/2014/main" id="{707F21B2-29E0-F012-8FD2-5A9FDA87511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81" name="Vrije vorm: vorm 480">
                  <a:extLst>
                    <a:ext uri="{FF2B5EF4-FFF2-40B4-BE49-F238E27FC236}">
                      <a16:creationId xmlns:a16="http://schemas.microsoft.com/office/drawing/2014/main" id="{189AA7D1-5071-F739-2165-0A419C8C62D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59" name="Groep 458">
                <a:extLst>
                  <a:ext uri="{FF2B5EF4-FFF2-40B4-BE49-F238E27FC236}">
                    <a16:creationId xmlns:a16="http://schemas.microsoft.com/office/drawing/2014/main" id="{C6D1F966-B548-F109-C08F-CAD64BF67696}"/>
                  </a:ext>
                </a:extLst>
              </p:cNvPr>
              <p:cNvGrpSpPr/>
              <p:nvPr/>
            </p:nvGrpSpPr>
            <p:grpSpPr>
              <a:xfrm>
                <a:off x="3825401" y="1930399"/>
                <a:ext cx="944504" cy="809593"/>
                <a:chOff x="5696016" y="3086100"/>
                <a:chExt cx="800080" cy="685799"/>
              </a:xfrm>
              <a:grpFill/>
            </p:grpSpPr>
            <p:sp>
              <p:nvSpPr>
                <p:cNvPr id="478" name="Vrije vorm: vorm 477">
                  <a:extLst>
                    <a:ext uri="{FF2B5EF4-FFF2-40B4-BE49-F238E27FC236}">
                      <a16:creationId xmlns:a16="http://schemas.microsoft.com/office/drawing/2014/main" id="{5357EA59-1312-1E54-CC60-C6AEC80150B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9" name="Vrije vorm: vorm 478">
                  <a:extLst>
                    <a:ext uri="{FF2B5EF4-FFF2-40B4-BE49-F238E27FC236}">
                      <a16:creationId xmlns:a16="http://schemas.microsoft.com/office/drawing/2014/main" id="{BADAF2F0-D4A3-CCD5-D597-0EE26E824BE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0" name="Groep 459">
                <a:extLst>
                  <a:ext uri="{FF2B5EF4-FFF2-40B4-BE49-F238E27FC236}">
                    <a16:creationId xmlns:a16="http://schemas.microsoft.com/office/drawing/2014/main" id="{114558E6-67B9-8E63-3453-5A7FB39804AC}"/>
                  </a:ext>
                </a:extLst>
              </p:cNvPr>
              <p:cNvGrpSpPr/>
              <p:nvPr/>
            </p:nvGrpSpPr>
            <p:grpSpPr>
              <a:xfrm>
                <a:off x="4877736" y="1930399"/>
                <a:ext cx="944504" cy="809593"/>
                <a:chOff x="5696016" y="3086100"/>
                <a:chExt cx="800080" cy="685799"/>
              </a:xfrm>
              <a:grpFill/>
            </p:grpSpPr>
            <p:sp>
              <p:nvSpPr>
                <p:cNvPr id="476" name="Vrije vorm: vorm 475">
                  <a:extLst>
                    <a:ext uri="{FF2B5EF4-FFF2-40B4-BE49-F238E27FC236}">
                      <a16:creationId xmlns:a16="http://schemas.microsoft.com/office/drawing/2014/main" id="{CF2EB89E-8015-B6CA-8561-ED166CC1307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7" name="Vrije vorm: vorm 476">
                  <a:extLst>
                    <a:ext uri="{FF2B5EF4-FFF2-40B4-BE49-F238E27FC236}">
                      <a16:creationId xmlns:a16="http://schemas.microsoft.com/office/drawing/2014/main" id="{4B7FC573-DEFC-528E-8BCB-956E40361FF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1" name="Groep 460">
                <a:extLst>
                  <a:ext uri="{FF2B5EF4-FFF2-40B4-BE49-F238E27FC236}">
                    <a16:creationId xmlns:a16="http://schemas.microsoft.com/office/drawing/2014/main" id="{41816843-E5A7-D5A7-FCB6-4E1DED6C9BB0}"/>
                  </a:ext>
                </a:extLst>
              </p:cNvPr>
              <p:cNvGrpSpPr/>
              <p:nvPr/>
            </p:nvGrpSpPr>
            <p:grpSpPr>
              <a:xfrm>
                <a:off x="5930071" y="1930399"/>
                <a:ext cx="944504" cy="809593"/>
                <a:chOff x="5696016" y="3086100"/>
                <a:chExt cx="800080" cy="685799"/>
              </a:xfrm>
              <a:grpFill/>
            </p:grpSpPr>
            <p:sp>
              <p:nvSpPr>
                <p:cNvPr id="474" name="Vrije vorm: vorm 473">
                  <a:extLst>
                    <a:ext uri="{FF2B5EF4-FFF2-40B4-BE49-F238E27FC236}">
                      <a16:creationId xmlns:a16="http://schemas.microsoft.com/office/drawing/2014/main" id="{F325D9DF-1E22-2AF9-63F4-757D71CF5FC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5" name="Vrije vorm: vorm 474">
                  <a:extLst>
                    <a:ext uri="{FF2B5EF4-FFF2-40B4-BE49-F238E27FC236}">
                      <a16:creationId xmlns:a16="http://schemas.microsoft.com/office/drawing/2014/main" id="{6C3F466B-CD58-724A-FA36-14561378AE0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2" name="Groep 461">
                <a:extLst>
                  <a:ext uri="{FF2B5EF4-FFF2-40B4-BE49-F238E27FC236}">
                    <a16:creationId xmlns:a16="http://schemas.microsoft.com/office/drawing/2014/main" id="{2E952863-B415-5139-70CB-8AD9963DD46A}"/>
                  </a:ext>
                </a:extLst>
              </p:cNvPr>
              <p:cNvGrpSpPr/>
              <p:nvPr/>
            </p:nvGrpSpPr>
            <p:grpSpPr>
              <a:xfrm>
                <a:off x="6982406" y="1930399"/>
                <a:ext cx="944504" cy="809593"/>
                <a:chOff x="5696016" y="3086100"/>
                <a:chExt cx="800080" cy="685799"/>
              </a:xfrm>
              <a:grpFill/>
            </p:grpSpPr>
            <p:sp>
              <p:nvSpPr>
                <p:cNvPr id="472" name="Vrije vorm: vorm 471">
                  <a:extLst>
                    <a:ext uri="{FF2B5EF4-FFF2-40B4-BE49-F238E27FC236}">
                      <a16:creationId xmlns:a16="http://schemas.microsoft.com/office/drawing/2014/main" id="{D281861B-85E2-1E79-D36D-A0AC4739A0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3" name="Vrije vorm: vorm 472">
                  <a:extLst>
                    <a:ext uri="{FF2B5EF4-FFF2-40B4-BE49-F238E27FC236}">
                      <a16:creationId xmlns:a16="http://schemas.microsoft.com/office/drawing/2014/main" id="{749F1631-B3F6-11B7-E5D5-368DB04E39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3" name="Groep 462">
                <a:extLst>
                  <a:ext uri="{FF2B5EF4-FFF2-40B4-BE49-F238E27FC236}">
                    <a16:creationId xmlns:a16="http://schemas.microsoft.com/office/drawing/2014/main" id="{15A9456B-A960-F0F3-73F3-9410FAB79863}"/>
                  </a:ext>
                </a:extLst>
              </p:cNvPr>
              <p:cNvGrpSpPr/>
              <p:nvPr/>
            </p:nvGrpSpPr>
            <p:grpSpPr>
              <a:xfrm>
                <a:off x="8034741" y="1930399"/>
                <a:ext cx="944504" cy="809593"/>
                <a:chOff x="5696016" y="3086100"/>
                <a:chExt cx="800080" cy="685799"/>
              </a:xfrm>
              <a:grpFill/>
            </p:grpSpPr>
            <p:sp>
              <p:nvSpPr>
                <p:cNvPr id="470" name="Vrije vorm: vorm 469">
                  <a:extLst>
                    <a:ext uri="{FF2B5EF4-FFF2-40B4-BE49-F238E27FC236}">
                      <a16:creationId xmlns:a16="http://schemas.microsoft.com/office/drawing/2014/main" id="{CF5DF964-9BDA-0AF1-6849-290786A386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71" name="Vrije vorm: vorm 470">
                  <a:extLst>
                    <a:ext uri="{FF2B5EF4-FFF2-40B4-BE49-F238E27FC236}">
                      <a16:creationId xmlns:a16="http://schemas.microsoft.com/office/drawing/2014/main" id="{03409877-2729-4C40-4BBD-111164E7730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4" name="Groep 463">
                <a:extLst>
                  <a:ext uri="{FF2B5EF4-FFF2-40B4-BE49-F238E27FC236}">
                    <a16:creationId xmlns:a16="http://schemas.microsoft.com/office/drawing/2014/main" id="{581E0F26-A8C8-F3B1-02D9-714F9E777A88}"/>
                  </a:ext>
                </a:extLst>
              </p:cNvPr>
              <p:cNvGrpSpPr/>
              <p:nvPr/>
            </p:nvGrpSpPr>
            <p:grpSpPr>
              <a:xfrm>
                <a:off x="9087076" y="1930399"/>
                <a:ext cx="944504" cy="809593"/>
                <a:chOff x="5696016" y="3086100"/>
                <a:chExt cx="800080" cy="685799"/>
              </a:xfrm>
              <a:grpFill/>
            </p:grpSpPr>
            <p:sp>
              <p:nvSpPr>
                <p:cNvPr id="468" name="Vrije vorm: vorm 467">
                  <a:extLst>
                    <a:ext uri="{FF2B5EF4-FFF2-40B4-BE49-F238E27FC236}">
                      <a16:creationId xmlns:a16="http://schemas.microsoft.com/office/drawing/2014/main" id="{03E4DE92-D933-9A94-7463-939A7C16BFE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69" name="Vrije vorm: vorm 468">
                  <a:extLst>
                    <a:ext uri="{FF2B5EF4-FFF2-40B4-BE49-F238E27FC236}">
                      <a16:creationId xmlns:a16="http://schemas.microsoft.com/office/drawing/2014/main" id="{01F3F77D-7C92-F317-9DD9-C9CF91980B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465" name="Groep 464">
                <a:extLst>
                  <a:ext uri="{FF2B5EF4-FFF2-40B4-BE49-F238E27FC236}">
                    <a16:creationId xmlns:a16="http://schemas.microsoft.com/office/drawing/2014/main" id="{D4254BB6-0C97-DA92-55C8-095129C27DBB}"/>
                  </a:ext>
                </a:extLst>
              </p:cNvPr>
              <p:cNvGrpSpPr/>
              <p:nvPr/>
            </p:nvGrpSpPr>
            <p:grpSpPr>
              <a:xfrm>
                <a:off x="10139413" y="1930399"/>
                <a:ext cx="944504" cy="809593"/>
                <a:chOff x="5696016" y="3086100"/>
                <a:chExt cx="800080" cy="685799"/>
              </a:xfrm>
              <a:grpFill/>
            </p:grpSpPr>
            <p:sp>
              <p:nvSpPr>
                <p:cNvPr id="466" name="Vrije vorm: vorm 465">
                  <a:extLst>
                    <a:ext uri="{FF2B5EF4-FFF2-40B4-BE49-F238E27FC236}">
                      <a16:creationId xmlns:a16="http://schemas.microsoft.com/office/drawing/2014/main" id="{64968DEA-542C-B3FD-3EF0-1967E2C29BF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467" name="Vrije vorm: vorm 466">
                  <a:extLst>
                    <a:ext uri="{FF2B5EF4-FFF2-40B4-BE49-F238E27FC236}">
                      <a16:creationId xmlns:a16="http://schemas.microsoft.com/office/drawing/2014/main" id="{C6DBE4E7-0781-9984-77BD-2CA162154FE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666" name="Groep 665">
            <a:extLst>
              <a:ext uri="{FF2B5EF4-FFF2-40B4-BE49-F238E27FC236}">
                <a16:creationId xmlns:a16="http://schemas.microsoft.com/office/drawing/2014/main" id="{4FC299AB-1F45-9108-9E69-8791D5A55717}"/>
              </a:ext>
            </a:extLst>
          </p:cNvPr>
          <p:cNvGrpSpPr/>
          <p:nvPr/>
        </p:nvGrpSpPr>
        <p:grpSpPr>
          <a:xfrm>
            <a:off x="5907616" y="3806875"/>
            <a:ext cx="2590164" cy="1710798"/>
            <a:chOff x="649432" y="520700"/>
            <a:chExt cx="2409536" cy="1591493"/>
          </a:xfrm>
          <a:solidFill>
            <a:schemeClr val="accent2"/>
          </a:solidFill>
        </p:grpSpPr>
        <p:grpSp>
          <p:nvGrpSpPr>
            <p:cNvPr id="667" name="Groep 666">
              <a:extLst>
                <a:ext uri="{FF2B5EF4-FFF2-40B4-BE49-F238E27FC236}">
                  <a16:creationId xmlns:a16="http://schemas.microsoft.com/office/drawing/2014/main" id="{B4A7F8EC-6E68-8350-7761-78E0E1F282AF}"/>
                </a:ext>
              </a:extLst>
            </p:cNvPr>
            <p:cNvGrpSpPr/>
            <p:nvPr/>
          </p:nvGrpSpPr>
          <p:grpSpPr>
            <a:xfrm>
              <a:off x="649432" y="520700"/>
              <a:ext cx="2409536" cy="187292"/>
              <a:chOff x="668396" y="1930399"/>
              <a:chExt cx="10415521" cy="809593"/>
            </a:xfrm>
            <a:grpFill/>
          </p:grpSpPr>
          <p:grpSp>
            <p:nvGrpSpPr>
              <p:cNvPr id="854" name="Groep 853">
                <a:extLst>
                  <a:ext uri="{FF2B5EF4-FFF2-40B4-BE49-F238E27FC236}">
                    <a16:creationId xmlns:a16="http://schemas.microsoft.com/office/drawing/2014/main" id="{D4B925B4-768C-6194-96AB-B0F36209BF9E}"/>
                  </a:ext>
                </a:extLst>
              </p:cNvPr>
              <p:cNvGrpSpPr/>
              <p:nvPr/>
            </p:nvGrpSpPr>
            <p:grpSpPr>
              <a:xfrm>
                <a:off x="668396" y="1930399"/>
                <a:ext cx="944504" cy="809593"/>
                <a:chOff x="5696016" y="3086100"/>
                <a:chExt cx="800080" cy="685799"/>
              </a:xfrm>
              <a:grpFill/>
            </p:grpSpPr>
            <p:sp>
              <p:nvSpPr>
                <p:cNvPr id="882" name="Vrije vorm: vorm 881">
                  <a:extLst>
                    <a:ext uri="{FF2B5EF4-FFF2-40B4-BE49-F238E27FC236}">
                      <a16:creationId xmlns:a16="http://schemas.microsoft.com/office/drawing/2014/main" id="{AF6B8936-C61E-FF1F-9AE9-B87D4A4ADB1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83" name="Vrije vorm: vorm 882">
                  <a:extLst>
                    <a:ext uri="{FF2B5EF4-FFF2-40B4-BE49-F238E27FC236}">
                      <a16:creationId xmlns:a16="http://schemas.microsoft.com/office/drawing/2014/main" id="{12EF40E7-3CCC-CE36-6249-997E7C72068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5" name="Groep 854">
                <a:extLst>
                  <a:ext uri="{FF2B5EF4-FFF2-40B4-BE49-F238E27FC236}">
                    <a16:creationId xmlns:a16="http://schemas.microsoft.com/office/drawing/2014/main" id="{E3BEE676-B75A-9F38-FE2F-8553FD7E064A}"/>
                  </a:ext>
                </a:extLst>
              </p:cNvPr>
              <p:cNvGrpSpPr/>
              <p:nvPr/>
            </p:nvGrpSpPr>
            <p:grpSpPr>
              <a:xfrm>
                <a:off x="1720731" y="1930399"/>
                <a:ext cx="944504" cy="809593"/>
                <a:chOff x="5696016" y="3086100"/>
                <a:chExt cx="800080" cy="685799"/>
              </a:xfrm>
              <a:grpFill/>
            </p:grpSpPr>
            <p:sp>
              <p:nvSpPr>
                <p:cNvPr id="880" name="Vrije vorm: vorm 879">
                  <a:extLst>
                    <a:ext uri="{FF2B5EF4-FFF2-40B4-BE49-F238E27FC236}">
                      <a16:creationId xmlns:a16="http://schemas.microsoft.com/office/drawing/2014/main" id="{34FBA27D-1F6F-5DDB-169C-E7CB96EEF55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81" name="Vrije vorm: vorm 880">
                  <a:extLst>
                    <a:ext uri="{FF2B5EF4-FFF2-40B4-BE49-F238E27FC236}">
                      <a16:creationId xmlns:a16="http://schemas.microsoft.com/office/drawing/2014/main" id="{47D23A8F-8066-1787-509B-760185F7815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6" name="Groep 855">
                <a:extLst>
                  <a:ext uri="{FF2B5EF4-FFF2-40B4-BE49-F238E27FC236}">
                    <a16:creationId xmlns:a16="http://schemas.microsoft.com/office/drawing/2014/main" id="{503671B3-9D2C-31CB-DA9F-6BB7D4B42863}"/>
                  </a:ext>
                </a:extLst>
              </p:cNvPr>
              <p:cNvGrpSpPr/>
              <p:nvPr/>
            </p:nvGrpSpPr>
            <p:grpSpPr>
              <a:xfrm>
                <a:off x="2773066" y="1930399"/>
                <a:ext cx="944504" cy="809593"/>
                <a:chOff x="5696016" y="3086100"/>
                <a:chExt cx="800080" cy="685799"/>
              </a:xfrm>
              <a:grpFill/>
            </p:grpSpPr>
            <p:sp>
              <p:nvSpPr>
                <p:cNvPr id="878" name="Vrije vorm: vorm 877">
                  <a:extLst>
                    <a:ext uri="{FF2B5EF4-FFF2-40B4-BE49-F238E27FC236}">
                      <a16:creationId xmlns:a16="http://schemas.microsoft.com/office/drawing/2014/main" id="{6A02CBA4-F9EE-43B1-1FF1-389B5DBF5E4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9" name="Vrije vorm: vorm 878">
                  <a:extLst>
                    <a:ext uri="{FF2B5EF4-FFF2-40B4-BE49-F238E27FC236}">
                      <a16:creationId xmlns:a16="http://schemas.microsoft.com/office/drawing/2014/main" id="{C394C7CE-9079-B887-8B47-B74914660B3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7" name="Groep 856">
                <a:extLst>
                  <a:ext uri="{FF2B5EF4-FFF2-40B4-BE49-F238E27FC236}">
                    <a16:creationId xmlns:a16="http://schemas.microsoft.com/office/drawing/2014/main" id="{52F80861-3856-447B-5B5C-F4B78E85B5F7}"/>
                  </a:ext>
                </a:extLst>
              </p:cNvPr>
              <p:cNvGrpSpPr/>
              <p:nvPr/>
            </p:nvGrpSpPr>
            <p:grpSpPr>
              <a:xfrm>
                <a:off x="3825401" y="1930399"/>
                <a:ext cx="944504" cy="809593"/>
                <a:chOff x="5696016" y="3086100"/>
                <a:chExt cx="800080" cy="685799"/>
              </a:xfrm>
              <a:grpFill/>
            </p:grpSpPr>
            <p:sp>
              <p:nvSpPr>
                <p:cNvPr id="876" name="Vrije vorm: vorm 875">
                  <a:extLst>
                    <a:ext uri="{FF2B5EF4-FFF2-40B4-BE49-F238E27FC236}">
                      <a16:creationId xmlns:a16="http://schemas.microsoft.com/office/drawing/2014/main" id="{20F385C7-4E09-D6B3-2BD5-EA03A6B5FFC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7" name="Vrije vorm: vorm 876">
                  <a:extLst>
                    <a:ext uri="{FF2B5EF4-FFF2-40B4-BE49-F238E27FC236}">
                      <a16:creationId xmlns:a16="http://schemas.microsoft.com/office/drawing/2014/main" id="{26F00CC3-C7EB-86B2-C286-A570F03371A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8" name="Groep 857">
                <a:extLst>
                  <a:ext uri="{FF2B5EF4-FFF2-40B4-BE49-F238E27FC236}">
                    <a16:creationId xmlns:a16="http://schemas.microsoft.com/office/drawing/2014/main" id="{37BD9675-67C1-E7E8-BE77-9FF182ADA026}"/>
                  </a:ext>
                </a:extLst>
              </p:cNvPr>
              <p:cNvGrpSpPr/>
              <p:nvPr/>
            </p:nvGrpSpPr>
            <p:grpSpPr>
              <a:xfrm>
                <a:off x="4877736" y="1930399"/>
                <a:ext cx="944504" cy="809593"/>
                <a:chOff x="5696016" y="3086100"/>
                <a:chExt cx="800080" cy="685799"/>
              </a:xfrm>
              <a:grpFill/>
            </p:grpSpPr>
            <p:sp>
              <p:nvSpPr>
                <p:cNvPr id="874" name="Vrije vorm: vorm 873">
                  <a:extLst>
                    <a:ext uri="{FF2B5EF4-FFF2-40B4-BE49-F238E27FC236}">
                      <a16:creationId xmlns:a16="http://schemas.microsoft.com/office/drawing/2014/main" id="{194A7226-2F1F-8A33-0FAE-FB963AE22C3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5" name="Vrije vorm: vorm 874">
                  <a:extLst>
                    <a:ext uri="{FF2B5EF4-FFF2-40B4-BE49-F238E27FC236}">
                      <a16:creationId xmlns:a16="http://schemas.microsoft.com/office/drawing/2014/main" id="{454F7FBA-0284-597F-1290-44EAE7B329E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59" name="Groep 858">
                <a:extLst>
                  <a:ext uri="{FF2B5EF4-FFF2-40B4-BE49-F238E27FC236}">
                    <a16:creationId xmlns:a16="http://schemas.microsoft.com/office/drawing/2014/main" id="{4A0315BC-2235-0B00-A22B-A814EAD85ADD}"/>
                  </a:ext>
                </a:extLst>
              </p:cNvPr>
              <p:cNvGrpSpPr/>
              <p:nvPr/>
            </p:nvGrpSpPr>
            <p:grpSpPr>
              <a:xfrm>
                <a:off x="5930071" y="1930399"/>
                <a:ext cx="944504" cy="809593"/>
                <a:chOff x="5696016" y="3086100"/>
                <a:chExt cx="800080" cy="685799"/>
              </a:xfrm>
              <a:grpFill/>
            </p:grpSpPr>
            <p:sp>
              <p:nvSpPr>
                <p:cNvPr id="872" name="Vrije vorm: vorm 871">
                  <a:extLst>
                    <a:ext uri="{FF2B5EF4-FFF2-40B4-BE49-F238E27FC236}">
                      <a16:creationId xmlns:a16="http://schemas.microsoft.com/office/drawing/2014/main" id="{53E91640-0F7F-8E90-E897-94DF91C370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3" name="Vrije vorm: vorm 872">
                  <a:extLst>
                    <a:ext uri="{FF2B5EF4-FFF2-40B4-BE49-F238E27FC236}">
                      <a16:creationId xmlns:a16="http://schemas.microsoft.com/office/drawing/2014/main" id="{7BC71386-BB93-AC39-3432-6DA66ADB0EF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0" name="Groep 859">
                <a:extLst>
                  <a:ext uri="{FF2B5EF4-FFF2-40B4-BE49-F238E27FC236}">
                    <a16:creationId xmlns:a16="http://schemas.microsoft.com/office/drawing/2014/main" id="{22919EF7-0CEE-7DAA-7503-FCAF3858BAB1}"/>
                  </a:ext>
                </a:extLst>
              </p:cNvPr>
              <p:cNvGrpSpPr/>
              <p:nvPr/>
            </p:nvGrpSpPr>
            <p:grpSpPr>
              <a:xfrm>
                <a:off x="6982406" y="1930399"/>
                <a:ext cx="944504" cy="809593"/>
                <a:chOff x="5696016" y="3086100"/>
                <a:chExt cx="800080" cy="685799"/>
              </a:xfrm>
              <a:grpFill/>
            </p:grpSpPr>
            <p:sp>
              <p:nvSpPr>
                <p:cNvPr id="870" name="Vrije vorm: vorm 869">
                  <a:extLst>
                    <a:ext uri="{FF2B5EF4-FFF2-40B4-BE49-F238E27FC236}">
                      <a16:creationId xmlns:a16="http://schemas.microsoft.com/office/drawing/2014/main" id="{B5E282E5-B3DE-E30F-9326-88A6B6D0415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71" name="Vrije vorm: vorm 870">
                  <a:extLst>
                    <a:ext uri="{FF2B5EF4-FFF2-40B4-BE49-F238E27FC236}">
                      <a16:creationId xmlns:a16="http://schemas.microsoft.com/office/drawing/2014/main" id="{A4FCA863-37F8-2919-934F-7751E56A2BC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1" name="Groep 860">
                <a:extLst>
                  <a:ext uri="{FF2B5EF4-FFF2-40B4-BE49-F238E27FC236}">
                    <a16:creationId xmlns:a16="http://schemas.microsoft.com/office/drawing/2014/main" id="{536ED463-7DEB-5493-5FE2-55E9A2F4FEC9}"/>
                  </a:ext>
                </a:extLst>
              </p:cNvPr>
              <p:cNvGrpSpPr/>
              <p:nvPr/>
            </p:nvGrpSpPr>
            <p:grpSpPr>
              <a:xfrm>
                <a:off x="8034741" y="1930399"/>
                <a:ext cx="944504" cy="809593"/>
                <a:chOff x="5696016" y="3086100"/>
                <a:chExt cx="800080" cy="685799"/>
              </a:xfrm>
              <a:grpFill/>
            </p:grpSpPr>
            <p:sp>
              <p:nvSpPr>
                <p:cNvPr id="868" name="Vrije vorm: vorm 867">
                  <a:extLst>
                    <a:ext uri="{FF2B5EF4-FFF2-40B4-BE49-F238E27FC236}">
                      <a16:creationId xmlns:a16="http://schemas.microsoft.com/office/drawing/2014/main" id="{BDFCB1B7-FA6C-E280-887C-28ACACAD94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69" name="Vrije vorm: vorm 868">
                  <a:extLst>
                    <a:ext uri="{FF2B5EF4-FFF2-40B4-BE49-F238E27FC236}">
                      <a16:creationId xmlns:a16="http://schemas.microsoft.com/office/drawing/2014/main" id="{54326B9F-FB2E-8A35-FA0F-C7C4685126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2" name="Groep 861">
                <a:extLst>
                  <a:ext uri="{FF2B5EF4-FFF2-40B4-BE49-F238E27FC236}">
                    <a16:creationId xmlns:a16="http://schemas.microsoft.com/office/drawing/2014/main" id="{BF7699BE-EFEF-71C0-1373-390A73712072}"/>
                  </a:ext>
                </a:extLst>
              </p:cNvPr>
              <p:cNvGrpSpPr/>
              <p:nvPr/>
            </p:nvGrpSpPr>
            <p:grpSpPr>
              <a:xfrm>
                <a:off x="9087076" y="1930399"/>
                <a:ext cx="944504" cy="809593"/>
                <a:chOff x="5696016" y="3086100"/>
                <a:chExt cx="800080" cy="685799"/>
              </a:xfrm>
              <a:grpFill/>
            </p:grpSpPr>
            <p:sp>
              <p:nvSpPr>
                <p:cNvPr id="866" name="Vrije vorm: vorm 865">
                  <a:extLst>
                    <a:ext uri="{FF2B5EF4-FFF2-40B4-BE49-F238E27FC236}">
                      <a16:creationId xmlns:a16="http://schemas.microsoft.com/office/drawing/2014/main" id="{B50D4C87-095C-B274-BC05-7D3D79AFB87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67" name="Vrije vorm: vorm 866">
                  <a:extLst>
                    <a:ext uri="{FF2B5EF4-FFF2-40B4-BE49-F238E27FC236}">
                      <a16:creationId xmlns:a16="http://schemas.microsoft.com/office/drawing/2014/main" id="{28B16B13-3820-48BC-7E9C-BF62DD7BA1D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63" name="Groep 862">
                <a:extLst>
                  <a:ext uri="{FF2B5EF4-FFF2-40B4-BE49-F238E27FC236}">
                    <a16:creationId xmlns:a16="http://schemas.microsoft.com/office/drawing/2014/main" id="{48DC46EB-EF36-3B27-21B9-C719912D0132}"/>
                  </a:ext>
                </a:extLst>
              </p:cNvPr>
              <p:cNvGrpSpPr/>
              <p:nvPr/>
            </p:nvGrpSpPr>
            <p:grpSpPr>
              <a:xfrm>
                <a:off x="10139413" y="1930399"/>
                <a:ext cx="944504" cy="809593"/>
                <a:chOff x="5696016" y="3086100"/>
                <a:chExt cx="800080" cy="685799"/>
              </a:xfrm>
              <a:grpFill/>
            </p:grpSpPr>
            <p:sp>
              <p:nvSpPr>
                <p:cNvPr id="864" name="Vrije vorm: vorm 863">
                  <a:extLst>
                    <a:ext uri="{FF2B5EF4-FFF2-40B4-BE49-F238E27FC236}">
                      <a16:creationId xmlns:a16="http://schemas.microsoft.com/office/drawing/2014/main" id="{B068B2EE-A8A3-544A-708D-4C31E197DF5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65" name="Vrije vorm: vorm 864">
                  <a:extLst>
                    <a:ext uri="{FF2B5EF4-FFF2-40B4-BE49-F238E27FC236}">
                      <a16:creationId xmlns:a16="http://schemas.microsoft.com/office/drawing/2014/main" id="{D040EFD1-0FBA-F8B2-5F90-03A45E55C4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68" name="Groep 667">
              <a:extLst>
                <a:ext uri="{FF2B5EF4-FFF2-40B4-BE49-F238E27FC236}">
                  <a16:creationId xmlns:a16="http://schemas.microsoft.com/office/drawing/2014/main" id="{2F640E6B-84D2-7AB1-A380-FF6E953088A5}"/>
                </a:ext>
              </a:extLst>
            </p:cNvPr>
            <p:cNvGrpSpPr/>
            <p:nvPr/>
          </p:nvGrpSpPr>
          <p:grpSpPr>
            <a:xfrm>
              <a:off x="649432" y="754734"/>
              <a:ext cx="2409536" cy="187292"/>
              <a:chOff x="668396" y="1930399"/>
              <a:chExt cx="10415521" cy="809593"/>
            </a:xfrm>
            <a:grpFill/>
          </p:grpSpPr>
          <p:grpSp>
            <p:nvGrpSpPr>
              <p:cNvPr id="824" name="Groep 823">
                <a:extLst>
                  <a:ext uri="{FF2B5EF4-FFF2-40B4-BE49-F238E27FC236}">
                    <a16:creationId xmlns:a16="http://schemas.microsoft.com/office/drawing/2014/main" id="{A140155F-40ED-6219-64D6-2C77625CDBC8}"/>
                  </a:ext>
                </a:extLst>
              </p:cNvPr>
              <p:cNvGrpSpPr/>
              <p:nvPr/>
            </p:nvGrpSpPr>
            <p:grpSpPr>
              <a:xfrm>
                <a:off x="668396" y="1930399"/>
                <a:ext cx="944504" cy="809593"/>
                <a:chOff x="5696016" y="3086100"/>
                <a:chExt cx="800080" cy="685799"/>
              </a:xfrm>
              <a:grpFill/>
            </p:grpSpPr>
            <p:sp>
              <p:nvSpPr>
                <p:cNvPr id="852" name="Vrije vorm: vorm 851">
                  <a:extLst>
                    <a:ext uri="{FF2B5EF4-FFF2-40B4-BE49-F238E27FC236}">
                      <a16:creationId xmlns:a16="http://schemas.microsoft.com/office/drawing/2014/main" id="{D1A51128-C3CA-3DF4-4AAC-179423874F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53" name="Vrije vorm: vorm 852">
                  <a:extLst>
                    <a:ext uri="{FF2B5EF4-FFF2-40B4-BE49-F238E27FC236}">
                      <a16:creationId xmlns:a16="http://schemas.microsoft.com/office/drawing/2014/main" id="{5CA10E10-4A4A-DC57-E0DB-99D2835383A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5" name="Groep 824">
                <a:extLst>
                  <a:ext uri="{FF2B5EF4-FFF2-40B4-BE49-F238E27FC236}">
                    <a16:creationId xmlns:a16="http://schemas.microsoft.com/office/drawing/2014/main" id="{598135C3-84C7-0DC3-1241-E3DE1AB207D7}"/>
                  </a:ext>
                </a:extLst>
              </p:cNvPr>
              <p:cNvGrpSpPr/>
              <p:nvPr/>
            </p:nvGrpSpPr>
            <p:grpSpPr>
              <a:xfrm>
                <a:off x="1720731" y="1930399"/>
                <a:ext cx="944504" cy="809593"/>
                <a:chOff x="5696016" y="3086100"/>
                <a:chExt cx="800080" cy="685799"/>
              </a:xfrm>
              <a:grpFill/>
            </p:grpSpPr>
            <p:sp>
              <p:nvSpPr>
                <p:cNvPr id="850" name="Vrije vorm: vorm 849">
                  <a:extLst>
                    <a:ext uri="{FF2B5EF4-FFF2-40B4-BE49-F238E27FC236}">
                      <a16:creationId xmlns:a16="http://schemas.microsoft.com/office/drawing/2014/main" id="{A419E306-E74B-2E19-0E50-E472690F5CD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51" name="Vrije vorm: vorm 850">
                  <a:extLst>
                    <a:ext uri="{FF2B5EF4-FFF2-40B4-BE49-F238E27FC236}">
                      <a16:creationId xmlns:a16="http://schemas.microsoft.com/office/drawing/2014/main" id="{4018B8FF-2C60-3F80-46AF-636A5F76AA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6" name="Groep 825">
                <a:extLst>
                  <a:ext uri="{FF2B5EF4-FFF2-40B4-BE49-F238E27FC236}">
                    <a16:creationId xmlns:a16="http://schemas.microsoft.com/office/drawing/2014/main" id="{CE83EF50-A3C8-058E-B9D4-31B51CA49199}"/>
                  </a:ext>
                </a:extLst>
              </p:cNvPr>
              <p:cNvGrpSpPr/>
              <p:nvPr/>
            </p:nvGrpSpPr>
            <p:grpSpPr>
              <a:xfrm>
                <a:off x="2773066" y="1930399"/>
                <a:ext cx="944504" cy="809593"/>
                <a:chOff x="5696016" y="3086100"/>
                <a:chExt cx="800080" cy="685799"/>
              </a:xfrm>
              <a:grpFill/>
            </p:grpSpPr>
            <p:sp>
              <p:nvSpPr>
                <p:cNvPr id="848" name="Vrije vorm: vorm 847">
                  <a:extLst>
                    <a:ext uri="{FF2B5EF4-FFF2-40B4-BE49-F238E27FC236}">
                      <a16:creationId xmlns:a16="http://schemas.microsoft.com/office/drawing/2014/main" id="{1A3A5FFD-1D65-6DA5-13D6-67BC60F2127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9" name="Vrije vorm: vorm 848">
                  <a:extLst>
                    <a:ext uri="{FF2B5EF4-FFF2-40B4-BE49-F238E27FC236}">
                      <a16:creationId xmlns:a16="http://schemas.microsoft.com/office/drawing/2014/main" id="{ABD5AA99-4881-AE13-9133-999A77C9F38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7" name="Groep 826">
                <a:extLst>
                  <a:ext uri="{FF2B5EF4-FFF2-40B4-BE49-F238E27FC236}">
                    <a16:creationId xmlns:a16="http://schemas.microsoft.com/office/drawing/2014/main" id="{75FBE0DD-ED53-CD30-4FD9-E02E57D3A01A}"/>
                  </a:ext>
                </a:extLst>
              </p:cNvPr>
              <p:cNvGrpSpPr/>
              <p:nvPr/>
            </p:nvGrpSpPr>
            <p:grpSpPr>
              <a:xfrm>
                <a:off x="3825401" y="1930399"/>
                <a:ext cx="944504" cy="809593"/>
                <a:chOff x="5696016" y="3086100"/>
                <a:chExt cx="800080" cy="685799"/>
              </a:xfrm>
              <a:grpFill/>
            </p:grpSpPr>
            <p:sp>
              <p:nvSpPr>
                <p:cNvPr id="846" name="Vrije vorm: vorm 845">
                  <a:extLst>
                    <a:ext uri="{FF2B5EF4-FFF2-40B4-BE49-F238E27FC236}">
                      <a16:creationId xmlns:a16="http://schemas.microsoft.com/office/drawing/2014/main" id="{DE4C740D-1813-1AD2-132D-0AB65BFF1FC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7" name="Vrije vorm: vorm 846">
                  <a:extLst>
                    <a:ext uri="{FF2B5EF4-FFF2-40B4-BE49-F238E27FC236}">
                      <a16:creationId xmlns:a16="http://schemas.microsoft.com/office/drawing/2014/main" id="{68146649-C62C-67FA-C75D-3097F8854FD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8" name="Groep 827">
                <a:extLst>
                  <a:ext uri="{FF2B5EF4-FFF2-40B4-BE49-F238E27FC236}">
                    <a16:creationId xmlns:a16="http://schemas.microsoft.com/office/drawing/2014/main" id="{AC54ADB7-5B49-A24B-2AF3-C9615FC72AAC}"/>
                  </a:ext>
                </a:extLst>
              </p:cNvPr>
              <p:cNvGrpSpPr/>
              <p:nvPr/>
            </p:nvGrpSpPr>
            <p:grpSpPr>
              <a:xfrm>
                <a:off x="4877736" y="1930399"/>
                <a:ext cx="944504" cy="809593"/>
                <a:chOff x="5696016" y="3086100"/>
                <a:chExt cx="800080" cy="685799"/>
              </a:xfrm>
              <a:grpFill/>
            </p:grpSpPr>
            <p:sp>
              <p:nvSpPr>
                <p:cNvPr id="844" name="Vrije vorm: vorm 843">
                  <a:extLst>
                    <a:ext uri="{FF2B5EF4-FFF2-40B4-BE49-F238E27FC236}">
                      <a16:creationId xmlns:a16="http://schemas.microsoft.com/office/drawing/2014/main" id="{E00FD252-0EAA-9F49-0000-038633358ED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5" name="Vrije vorm: vorm 844">
                  <a:extLst>
                    <a:ext uri="{FF2B5EF4-FFF2-40B4-BE49-F238E27FC236}">
                      <a16:creationId xmlns:a16="http://schemas.microsoft.com/office/drawing/2014/main" id="{6ADF8FB1-4643-D810-080B-21B4C14A954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29" name="Groep 828">
                <a:extLst>
                  <a:ext uri="{FF2B5EF4-FFF2-40B4-BE49-F238E27FC236}">
                    <a16:creationId xmlns:a16="http://schemas.microsoft.com/office/drawing/2014/main" id="{2C903F31-0E28-2204-C2B6-F7F9F453287C}"/>
                  </a:ext>
                </a:extLst>
              </p:cNvPr>
              <p:cNvGrpSpPr/>
              <p:nvPr/>
            </p:nvGrpSpPr>
            <p:grpSpPr>
              <a:xfrm>
                <a:off x="5930071" y="1930399"/>
                <a:ext cx="944504" cy="809593"/>
                <a:chOff x="5696016" y="3086100"/>
                <a:chExt cx="800080" cy="685799"/>
              </a:xfrm>
              <a:grpFill/>
            </p:grpSpPr>
            <p:sp>
              <p:nvSpPr>
                <p:cNvPr id="842" name="Vrije vorm: vorm 841">
                  <a:extLst>
                    <a:ext uri="{FF2B5EF4-FFF2-40B4-BE49-F238E27FC236}">
                      <a16:creationId xmlns:a16="http://schemas.microsoft.com/office/drawing/2014/main" id="{A7450A47-880F-FBFE-3F3F-6C0CD96A4AB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3" name="Vrije vorm: vorm 842">
                  <a:extLst>
                    <a:ext uri="{FF2B5EF4-FFF2-40B4-BE49-F238E27FC236}">
                      <a16:creationId xmlns:a16="http://schemas.microsoft.com/office/drawing/2014/main" id="{649B052F-F373-EB97-4111-78AD6C86E13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0" name="Groep 829">
                <a:extLst>
                  <a:ext uri="{FF2B5EF4-FFF2-40B4-BE49-F238E27FC236}">
                    <a16:creationId xmlns:a16="http://schemas.microsoft.com/office/drawing/2014/main" id="{16A3F34B-A1DC-E4E4-87AF-654E6E903602}"/>
                  </a:ext>
                </a:extLst>
              </p:cNvPr>
              <p:cNvGrpSpPr/>
              <p:nvPr/>
            </p:nvGrpSpPr>
            <p:grpSpPr>
              <a:xfrm>
                <a:off x="6982406" y="1930399"/>
                <a:ext cx="944504" cy="809593"/>
                <a:chOff x="5696016" y="3086100"/>
                <a:chExt cx="800080" cy="685799"/>
              </a:xfrm>
              <a:grpFill/>
            </p:grpSpPr>
            <p:sp>
              <p:nvSpPr>
                <p:cNvPr id="840" name="Vrije vorm: vorm 839">
                  <a:extLst>
                    <a:ext uri="{FF2B5EF4-FFF2-40B4-BE49-F238E27FC236}">
                      <a16:creationId xmlns:a16="http://schemas.microsoft.com/office/drawing/2014/main" id="{55E88282-7914-922D-285F-D4CA580E9B2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41" name="Vrije vorm: vorm 840">
                  <a:extLst>
                    <a:ext uri="{FF2B5EF4-FFF2-40B4-BE49-F238E27FC236}">
                      <a16:creationId xmlns:a16="http://schemas.microsoft.com/office/drawing/2014/main" id="{60431501-DA68-52F6-EB9A-FB27F427476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1" name="Groep 830">
                <a:extLst>
                  <a:ext uri="{FF2B5EF4-FFF2-40B4-BE49-F238E27FC236}">
                    <a16:creationId xmlns:a16="http://schemas.microsoft.com/office/drawing/2014/main" id="{1D13E82A-D234-FFBC-D6B3-8B72FBB8DCAD}"/>
                  </a:ext>
                </a:extLst>
              </p:cNvPr>
              <p:cNvGrpSpPr/>
              <p:nvPr/>
            </p:nvGrpSpPr>
            <p:grpSpPr>
              <a:xfrm>
                <a:off x="8034741" y="1930399"/>
                <a:ext cx="944504" cy="809593"/>
                <a:chOff x="5696016" y="3086100"/>
                <a:chExt cx="800080" cy="685799"/>
              </a:xfrm>
              <a:grpFill/>
            </p:grpSpPr>
            <p:sp>
              <p:nvSpPr>
                <p:cNvPr id="838" name="Vrije vorm: vorm 837">
                  <a:extLst>
                    <a:ext uri="{FF2B5EF4-FFF2-40B4-BE49-F238E27FC236}">
                      <a16:creationId xmlns:a16="http://schemas.microsoft.com/office/drawing/2014/main" id="{A8C2CA81-8924-A837-0022-563BC0CE44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39" name="Vrije vorm: vorm 838">
                  <a:extLst>
                    <a:ext uri="{FF2B5EF4-FFF2-40B4-BE49-F238E27FC236}">
                      <a16:creationId xmlns:a16="http://schemas.microsoft.com/office/drawing/2014/main" id="{AD02188C-4D64-568E-0028-29545965D99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2" name="Groep 831">
                <a:extLst>
                  <a:ext uri="{FF2B5EF4-FFF2-40B4-BE49-F238E27FC236}">
                    <a16:creationId xmlns:a16="http://schemas.microsoft.com/office/drawing/2014/main" id="{6CFAECA6-33C3-1E16-EB61-C19021F12DE1}"/>
                  </a:ext>
                </a:extLst>
              </p:cNvPr>
              <p:cNvGrpSpPr/>
              <p:nvPr/>
            </p:nvGrpSpPr>
            <p:grpSpPr>
              <a:xfrm>
                <a:off x="9087076" y="1930399"/>
                <a:ext cx="944504" cy="809593"/>
                <a:chOff x="5696016" y="3086100"/>
                <a:chExt cx="800080" cy="685799"/>
              </a:xfrm>
              <a:grpFill/>
            </p:grpSpPr>
            <p:sp>
              <p:nvSpPr>
                <p:cNvPr id="836" name="Vrije vorm: vorm 835">
                  <a:extLst>
                    <a:ext uri="{FF2B5EF4-FFF2-40B4-BE49-F238E27FC236}">
                      <a16:creationId xmlns:a16="http://schemas.microsoft.com/office/drawing/2014/main" id="{42E74F25-3E78-B453-3FBC-1A42173A3F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37" name="Vrije vorm: vorm 836">
                  <a:extLst>
                    <a:ext uri="{FF2B5EF4-FFF2-40B4-BE49-F238E27FC236}">
                      <a16:creationId xmlns:a16="http://schemas.microsoft.com/office/drawing/2014/main" id="{DDDEF76C-AC44-A1BC-FD1A-B319BE0616C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33" name="Groep 832">
                <a:extLst>
                  <a:ext uri="{FF2B5EF4-FFF2-40B4-BE49-F238E27FC236}">
                    <a16:creationId xmlns:a16="http://schemas.microsoft.com/office/drawing/2014/main" id="{543C9266-1597-938E-51F3-2545C1A9E465}"/>
                  </a:ext>
                </a:extLst>
              </p:cNvPr>
              <p:cNvGrpSpPr/>
              <p:nvPr/>
            </p:nvGrpSpPr>
            <p:grpSpPr>
              <a:xfrm>
                <a:off x="10139413" y="1930399"/>
                <a:ext cx="944504" cy="809593"/>
                <a:chOff x="5696016" y="3086100"/>
                <a:chExt cx="800080" cy="685799"/>
              </a:xfrm>
              <a:grpFill/>
            </p:grpSpPr>
            <p:sp>
              <p:nvSpPr>
                <p:cNvPr id="834" name="Vrije vorm: vorm 833">
                  <a:extLst>
                    <a:ext uri="{FF2B5EF4-FFF2-40B4-BE49-F238E27FC236}">
                      <a16:creationId xmlns:a16="http://schemas.microsoft.com/office/drawing/2014/main" id="{11BA60EC-5345-CA2D-B701-5AE3840693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35" name="Vrije vorm: vorm 834">
                  <a:extLst>
                    <a:ext uri="{FF2B5EF4-FFF2-40B4-BE49-F238E27FC236}">
                      <a16:creationId xmlns:a16="http://schemas.microsoft.com/office/drawing/2014/main" id="{E24C6B81-8345-F766-8FDC-6F039614AC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69" name="Groep 668">
              <a:extLst>
                <a:ext uri="{FF2B5EF4-FFF2-40B4-BE49-F238E27FC236}">
                  <a16:creationId xmlns:a16="http://schemas.microsoft.com/office/drawing/2014/main" id="{5F80D81C-260A-3127-9906-FF00D3DB6DF6}"/>
                </a:ext>
              </a:extLst>
            </p:cNvPr>
            <p:cNvGrpSpPr/>
            <p:nvPr/>
          </p:nvGrpSpPr>
          <p:grpSpPr>
            <a:xfrm>
              <a:off x="649432" y="988768"/>
              <a:ext cx="2409536" cy="187292"/>
              <a:chOff x="668396" y="1930399"/>
              <a:chExt cx="10415521" cy="809593"/>
            </a:xfrm>
            <a:grpFill/>
          </p:grpSpPr>
          <p:grpSp>
            <p:nvGrpSpPr>
              <p:cNvPr id="794" name="Groep 793">
                <a:extLst>
                  <a:ext uri="{FF2B5EF4-FFF2-40B4-BE49-F238E27FC236}">
                    <a16:creationId xmlns:a16="http://schemas.microsoft.com/office/drawing/2014/main" id="{B5CB3664-30B5-52E5-1729-CE5C56F2F031}"/>
                  </a:ext>
                </a:extLst>
              </p:cNvPr>
              <p:cNvGrpSpPr/>
              <p:nvPr/>
            </p:nvGrpSpPr>
            <p:grpSpPr>
              <a:xfrm>
                <a:off x="668396" y="1930399"/>
                <a:ext cx="944504" cy="809593"/>
                <a:chOff x="5696016" y="3086100"/>
                <a:chExt cx="800080" cy="685799"/>
              </a:xfrm>
              <a:grpFill/>
            </p:grpSpPr>
            <p:sp>
              <p:nvSpPr>
                <p:cNvPr id="822" name="Vrije vorm: vorm 821">
                  <a:extLst>
                    <a:ext uri="{FF2B5EF4-FFF2-40B4-BE49-F238E27FC236}">
                      <a16:creationId xmlns:a16="http://schemas.microsoft.com/office/drawing/2014/main" id="{75C57DF7-2347-3EDC-416A-FE5EE680148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23" name="Vrije vorm: vorm 822">
                  <a:extLst>
                    <a:ext uri="{FF2B5EF4-FFF2-40B4-BE49-F238E27FC236}">
                      <a16:creationId xmlns:a16="http://schemas.microsoft.com/office/drawing/2014/main" id="{084CA514-2FCD-8C6B-8766-512B3205955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5" name="Groep 794">
                <a:extLst>
                  <a:ext uri="{FF2B5EF4-FFF2-40B4-BE49-F238E27FC236}">
                    <a16:creationId xmlns:a16="http://schemas.microsoft.com/office/drawing/2014/main" id="{E84C9361-82DE-5B2F-FFD7-B887A3AD4534}"/>
                  </a:ext>
                </a:extLst>
              </p:cNvPr>
              <p:cNvGrpSpPr/>
              <p:nvPr/>
            </p:nvGrpSpPr>
            <p:grpSpPr>
              <a:xfrm>
                <a:off x="1720731" y="1930399"/>
                <a:ext cx="944504" cy="809593"/>
                <a:chOff x="5696016" y="3086100"/>
                <a:chExt cx="800080" cy="685799"/>
              </a:xfrm>
              <a:grpFill/>
            </p:grpSpPr>
            <p:sp>
              <p:nvSpPr>
                <p:cNvPr id="820" name="Vrije vorm: vorm 819">
                  <a:extLst>
                    <a:ext uri="{FF2B5EF4-FFF2-40B4-BE49-F238E27FC236}">
                      <a16:creationId xmlns:a16="http://schemas.microsoft.com/office/drawing/2014/main" id="{198461C9-58DD-4AEB-E86E-8DBBA949421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21" name="Vrije vorm: vorm 820">
                  <a:extLst>
                    <a:ext uri="{FF2B5EF4-FFF2-40B4-BE49-F238E27FC236}">
                      <a16:creationId xmlns:a16="http://schemas.microsoft.com/office/drawing/2014/main" id="{BFE0A267-AF3B-3028-54B5-76309CDEFE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6" name="Groep 795">
                <a:extLst>
                  <a:ext uri="{FF2B5EF4-FFF2-40B4-BE49-F238E27FC236}">
                    <a16:creationId xmlns:a16="http://schemas.microsoft.com/office/drawing/2014/main" id="{A1EC1D87-8FCC-896C-E8EC-E3AF1E1DE9A3}"/>
                  </a:ext>
                </a:extLst>
              </p:cNvPr>
              <p:cNvGrpSpPr/>
              <p:nvPr/>
            </p:nvGrpSpPr>
            <p:grpSpPr>
              <a:xfrm>
                <a:off x="2773066" y="1930399"/>
                <a:ext cx="944504" cy="809593"/>
                <a:chOff x="5696016" y="3086100"/>
                <a:chExt cx="800080" cy="685799"/>
              </a:xfrm>
              <a:grpFill/>
            </p:grpSpPr>
            <p:sp>
              <p:nvSpPr>
                <p:cNvPr id="818" name="Vrije vorm: vorm 817">
                  <a:extLst>
                    <a:ext uri="{FF2B5EF4-FFF2-40B4-BE49-F238E27FC236}">
                      <a16:creationId xmlns:a16="http://schemas.microsoft.com/office/drawing/2014/main" id="{1F605817-3055-FA4F-579F-9738780DACD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9" name="Vrije vorm: vorm 818">
                  <a:extLst>
                    <a:ext uri="{FF2B5EF4-FFF2-40B4-BE49-F238E27FC236}">
                      <a16:creationId xmlns:a16="http://schemas.microsoft.com/office/drawing/2014/main" id="{8D322658-ABF9-F9CE-5559-32809E3253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7" name="Groep 796">
                <a:extLst>
                  <a:ext uri="{FF2B5EF4-FFF2-40B4-BE49-F238E27FC236}">
                    <a16:creationId xmlns:a16="http://schemas.microsoft.com/office/drawing/2014/main" id="{D0285FDB-E9CA-D077-6443-D5D2389255E6}"/>
                  </a:ext>
                </a:extLst>
              </p:cNvPr>
              <p:cNvGrpSpPr/>
              <p:nvPr/>
            </p:nvGrpSpPr>
            <p:grpSpPr>
              <a:xfrm>
                <a:off x="3825401" y="1930399"/>
                <a:ext cx="944504" cy="809593"/>
                <a:chOff x="5696016" y="3086100"/>
                <a:chExt cx="800080" cy="685799"/>
              </a:xfrm>
              <a:grpFill/>
            </p:grpSpPr>
            <p:sp>
              <p:nvSpPr>
                <p:cNvPr id="816" name="Vrije vorm: vorm 815">
                  <a:extLst>
                    <a:ext uri="{FF2B5EF4-FFF2-40B4-BE49-F238E27FC236}">
                      <a16:creationId xmlns:a16="http://schemas.microsoft.com/office/drawing/2014/main" id="{52C63839-0281-18A9-CD0D-DD95A9F97BE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7" name="Vrije vorm: vorm 816">
                  <a:extLst>
                    <a:ext uri="{FF2B5EF4-FFF2-40B4-BE49-F238E27FC236}">
                      <a16:creationId xmlns:a16="http://schemas.microsoft.com/office/drawing/2014/main" id="{394F578A-3F6E-460A-6C1D-A3C7035C017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8" name="Groep 797">
                <a:extLst>
                  <a:ext uri="{FF2B5EF4-FFF2-40B4-BE49-F238E27FC236}">
                    <a16:creationId xmlns:a16="http://schemas.microsoft.com/office/drawing/2014/main" id="{36A40A29-0B84-E482-C8B7-7470DDFD2030}"/>
                  </a:ext>
                </a:extLst>
              </p:cNvPr>
              <p:cNvGrpSpPr/>
              <p:nvPr/>
            </p:nvGrpSpPr>
            <p:grpSpPr>
              <a:xfrm>
                <a:off x="4877736" y="1930399"/>
                <a:ext cx="944504" cy="809593"/>
                <a:chOff x="5696016" y="3086100"/>
                <a:chExt cx="800080" cy="685799"/>
              </a:xfrm>
              <a:grpFill/>
            </p:grpSpPr>
            <p:sp>
              <p:nvSpPr>
                <p:cNvPr id="814" name="Vrije vorm: vorm 813">
                  <a:extLst>
                    <a:ext uri="{FF2B5EF4-FFF2-40B4-BE49-F238E27FC236}">
                      <a16:creationId xmlns:a16="http://schemas.microsoft.com/office/drawing/2014/main" id="{EC61B8A0-B9D2-3833-C966-1B2EF66587D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5" name="Vrije vorm: vorm 814">
                  <a:extLst>
                    <a:ext uri="{FF2B5EF4-FFF2-40B4-BE49-F238E27FC236}">
                      <a16:creationId xmlns:a16="http://schemas.microsoft.com/office/drawing/2014/main" id="{AAE67B76-754B-BABC-5A2E-E7970DBE27E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99" name="Groep 798">
                <a:extLst>
                  <a:ext uri="{FF2B5EF4-FFF2-40B4-BE49-F238E27FC236}">
                    <a16:creationId xmlns:a16="http://schemas.microsoft.com/office/drawing/2014/main" id="{328CCAB7-19E9-08FF-3E1B-6D667B79D0B3}"/>
                  </a:ext>
                </a:extLst>
              </p:cNvPr>
              <p:cNvGrpSpPr/>
              <p:nvPr/>
            </p:nvGrpSpPr>
            <p:grpSpPr>
              <a:xfrm>
                <a:off x="5930071" y="1930399"/>
                <a:ext cx="944504" cy="809593"/>
                <a:chOff x="5696016" y="3086100"/>
                <a:chExt cx="800080" cy="685799"/>
              </a:xfrm>
              <a:grpFill/>
            </p:grpSpPr>
            <p:sp>
              <p:nvSpPr>
                <p:cNvPr id="812" name="Vrije vorm: vorm 811">
                  <a:extLst>
                    <a:ext uri="{FF2B5EF4-FFF2-40B4-BE49-F238E27FC236}">
                      <a16:creationId xmlns:a16="http://schemas.microsoft.com/office/drawing/2014/main" id="{57D9FEFC-FBF8-505C-262A-9129CB61214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3" name="Vrije vorm: vorm 812">
                  <a:extLst>
                    <a:ext uri="{FF2B5EF4-FFF2-40B4-BE49-F238E27FC236}">
                      <a16:creationId xmlns:a16="http://schemas.microsoft.com/office/drawing/2014/main" id="{5EAE6265-464C-A4CF-9AF4-7F771196E2C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0" name="Groep 799">
                <a:extLst>
                  <a:ext uri="{FF2B5EF4-FFF2-40B4-BE49-F238E27FC236}">
                    <a16:creationId xmlns:a16="http://schemas.microsoft.com/office/drawing/2014/main" id="{7F1AB1DE-CA71-4F34-D4D5-82E9A6E4C197}"/>
                  </a:ext>
                </a:extLst>
              </p:cNvPr>
              <p:cNvGrpSpPr/>
              <p:nvPr/>
            </p:nvGrpSpPr>
            <p:grpSpPr>
              <a:xfrm>
                <a:off x="6982406" y="1930399"/>
                <a:ext cx="944504" cy="809593"/>
                <a:chOff x="5696016" y="3086100"/>
                <a:chExt cx="800080" cy="685799"/>
              </a:xfrm>
              <a:grpFill/>
            </p:grpSpPr>
            <p:sp>
              <p:nvSpPr>
                <p:cNvPr id="810" name="Vrije vorm: vorm 809">
                  <a:extLst>
                    <a:ext uri="{FF2B5EF4-FFF2-40B4-BE49-F238E27FC236}">
                      <a16:creationId xmlns:a16="http://schemas.microsoft.com/office/drawing/2014/main" id="{9CB2B656-4956-5108-CFBF-29B07A19E4B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11" name="Vrije vorm: vorm 810">
                  <a:extLst>
                    <a:ext uri="{FF2B5EF4-FFF2-40B4-BE49-F238E27FC236}">
                      <a16:creationId xmlns:a16="http://schemas.microsoft.com/office/drawing/2014/main" id="{65805DB6-C85B-2BC8-8062-A13E030A5A4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1" name="Groep 800">
                <a:extLst>
                  <a:ext uri="{FF2B5EF4-FFF2-40B4-BE49-F238E27FC236}">
                    <a16:creationId xmlns:a16="http://schemas.microsoft.com/office/drawing/2014/main" id="{C516EC98-3D92-E5A0-8BB7-413ADED5880E}"/>
                  </a:ext>
                </a:extLst>
              </p:cNvPr>
              <p:cNvGrpSpPr/>
              <p:nvPr/>
            </p:nvGrpSpPr>
            <p:grpSpPr>
              <a:xfrm>
                <a:off x="8034741" y="1930399"/>
                <a:ext cx="944504" cy="809593"/>
                <a:chOff x="5696016" y="3086100"/>
                <a:chExt cx="800080" cy="685799"/>
              </a:xfrm>
              <a:grpFill/>
            </p:grpSpPr>
            <p:sp>
              <p:nvSpPr>
                <p:cNvPr id="808" name="Vrije vorm: vorm 807">
                  <a:extLst>
                    <a:ext uri="{FF2B5EF4-FFF2-40B4-BE49-F238E27FC236}">
                      <a16:creationId xmlns:a16="http://schemas.microsoft.com/office/drawing/2014/main" id="{C69754EC-82D3-F14B-F3DE-887A570DFC6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09" name="Vrije vorm: vorm 808">
                  <a:extLst>
                    <a:ext uri="{FF2B5EF4-FFF2-40B4-BE49-F238E27FC236}">
                      <a16:creationId xmlns:a16="http://schemas.microsoft.com/office/drawing/2014/main" id="{DF738EBE-63EC-B710-8F54-A2F913951E6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2" name="Groep 801">
                <a:extLst>
                  <a:ext uri="{FF2B5EF4-FFF2-40B4-BE49-F238E27FC236}">
                    <a16:creationId xmlns:a16="http://schemas.microsoft.com/office/drawing/2014/main" id="{E196E4E3-CB97-A543-F9EE-6FF5B6BCB41A}"/>
                  </a:ext>
                </a:extLst>
              </p:cNvPr>
              <p:cNvGrpSpPr/>
              <p:nvPr/>
            </p:nvGrpSpPr>
            <p:grpSpPr>
              <a:xfrm>
                <a:off x="9087076" y="1930399"/>
                <a:ext cx="944504" cy="809593"/>
                <a:chOff x="5696016" y="3086100"/>
                <a:chExt cx="800080" cy="685799"/>
              </a:xfrm>
              <a:grpFill/>
            </p:grpSpPr>
            <p:sp>
              <p:nvSpPr>
                <p:cNvPr id="806" name="Vrije vorm: vorm 805">
                  <a:extLst>
                    <a:ext uri="{FF2B5EF4-FFF2-40B4-BE49-F238E27FC236}">
                      <a16:creationId xmlns:a16="http://schemas.microsoft.com/office/drawing/2014/main" id="{F545442C-CE58-79DF-D117-FD69149249E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07" name="Vrije vorm: vorm 806">
                  <a:extLst>
                    <a:ext uri="{FF2B5EF4-FFF2-40B4-BE49-F238E27FC236}">
                      <a16:creationId xmlns:a16="http://schemas.microsoft.com/office/drawing/2014/main" id="{875AFF0F-1C4B-403B-705F-964D9C85C1A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03" name="Groep 802">
                <a:extLst>
                  <a:ext uri="{FF2B5EF4-FFF2-40B4-BE49-F238E27FC236}">
                    <a16:creationId xmlns:a16="http://schemas.microsoft.com/office/drawing/2014/main" id="{14491C35-E923-C8A0-2542-029D8996BBA8}"/>
                  </a:ext>
                </a:extLst>
              </p:cNvPr>
              <p:cNvGrpSpPr/>
              <p:nvPr/>
            </p:nvGrpSpPr>
            <p:grpSpPr>
              <a:xfrm>
                <a:off x="10139413" y="1930399"/>
                <a:ext cx="944504" cy="809593"/>
                <a:chOff x="5696016" y="3086100"/>
                <a:chExt cx="800080" cy="685799"/>
              </a:xfrm>
              <a:grpFill/>
            </p:grpSpPr>
            <p:sp>
              <p:nvSpPr>
                <p:cNvPr id="804" name="Vrije vorm: vorm 803">
                  <a:extLst>
                    <a:ext uri="{FF2B5EF4-FFF2-40B4-BE49-F238E27FC236}">
                      <a16:creationId xmlns:a16="http://schemas.microsoft.com/office/drawing/2014/main" id="{036BEC89-6B51-1245-6D9D-AFBAF489896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805" name="Vrije vorm: vorm 804">
                  <a:extLst>
                    <a:ext uri="{FF2B5EF4-FFF2-40B4-BE49-F238E27FC236}">
                      <a16:creationId xmlns:a16="http://schemas.microsoft.com/office/drawing/2014/main" id="{D0EBFCCD-1BB7-750F-EE3E-C14AA44EDFE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0" name="Groep 669">
              <a:extLst>
                <a:ext uri="{FF2B5EF4-FFF2-40B4-BE49-F238E27FC236}">
                  <a16:creationId xmlns:a16="http://schemas.microsoft.com/office/drawing/2014/main" id="{B8605F3D-63FA-52FD-7F5E-7FFE694162D9}"/>
                </a:ext>
              </a:extLst>
            </p:cNvPr>
            <p:cNvGrpSpPr/>
            <p:nvPr/>
          </p:nvGrpSpPr>
          <p:grpSpPr>
            <a:xfrm>
              <a:off x="649432" y="1222801"/>
              <a:ext cx="2409536" cy="187292"/>
              <a:chOff x="668396" y="1930399"/>
              <a:chExt cx="10415521" cy="809593"/>
            </a:xfrm>
            <a:grpFill/>
          </p:grpSpPr>
          <p:grpSp>
            <p:nvGrpSpPr>
              <p:cNvPr id="764" name="Groep 763">
                <a:extLst>
                  <a:ext uri="{FF2B5EF4-FFF2-40B4-BE49-F238E27FC236}">
                    <a16:creationId xmlns:a16="http://schemas.microsoft.com/office/drawing/2014/main" id="{F9013A00-7D3D-C278-BCD3-EA553459773D}"/>
                  </a:ext>
                </a:extLst>
              </p:cNvPr>
              <p:cNvGrpSpPr/>
              <p:nvPr/>
            </p:nvGrpSpPr>
            <p:grpSpPr>
              <a:xfrm>
                <a:off x="668396" y="1930399"/>
                <a:ext cx="944504" cy="809593"/>
                <a:chOff x="5696016" y="3086100"/>
                <a:chExt cx="800080" cy="685799"/>
              </a:xfrm>
              <a:grpFill/>
            </p:grpSpPr>
            <p:sp>
              <p:nvSpPr>
                <p:cNvPr id="792" name="Vrije vorm: vorm 791">
                  <a:extLst>
                    <a:ext uri="{FF2B5EF4-FFF2-40B4-BE49-F238E27FC236}">
                      <a16:creationId xmlns:a16="http://schemas.microsoft.com/office/drawing/2014/main" id="{52D71542-9AFB-97FA-DFF4-23E2A78910F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93" name="Vrije vorm: vorm 792">
                  <a:extLst>
                    <a:ext uri="{FF2B5EF4-FFF2-40B4-BE49-F238E27FC236}">
                      <a16:creationId xmlns:a16="http://schemas.microsoft.com/office/drawing/2014/main" id="{966FAC8A-0B34-21AD-F34B-85E0FEE9CA1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5" name="Groep 764">
                <a:extLst>
                  <a:ext uri="{FF2B5EF4-FFF2-40B4-BE49-F238E27FC236}">
                    <a16:creationId xmlns:a16="http://schemas.microsoft.com/office/drawing/2014/main" id="{4DC5B786-129C-7982-B9F4-D69DA9D3CE78}"/>
                  </a:ext>
                </a:extLst>
              </p:cNvPr>
              <p:cNvGrpSpPr/>
              <p:nvPr/>
            </p:nvGrpSpPr>
            <p:grpSpPr>
              <a:xfrm>
                <a:off x="1720731" y="1930399"/>
                <a:ext cx="944504" cy="809593"/>
                <a:chOff x="5696016" y="3086100"/>
                <a:chExt cx="800080" cy="685799"/>
              </a:xfrm>
              <a:grpFill/>
            </p:grpSpPr>
            <p:sp>
              <p:nvSpPr>
                <p:cNvPr id="790" name="Vrije vorm: vorm 789">
                  <a:extLst>
                    <a:ext uri="{FF2B5EF4-FFF2-40B4-BE49-F238E27FC236}">
                      <a16:creationId xmlns:a16="http://schemas.microsoft.com/office/drawing/2014/main" id="{38541589-ADA7-5AEB-1572-C9FFBCCD57F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91" name="Vrije vorm: vorm 790">
                  <a:extLst>
                    <a:ext uri="{FF2B5EF4-FFF2-40B4-BE49-F238E27FC236}">
                      <a16:creationId xmlns:a16="http://schemas.microsoft.com/office/drawing/2014/main" id="{33DEACE8-7ADE-D8A4-0825-612D2350816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6" name="Groep 765">
                <a:extLst>
                  <a:ext uri="{FF2B5EF4-FFF2-40B4-BE49-F238E27FC236}">
                    <a16:creationId xmlns:a16="http://schemas.microsoft.com/office/drawing/2014/main" id="{D8E76B47-60FA-621F-8B74-37FF2F457651}"/>
                  </a:ext>
                </a:extLst>
              </p:cNvPr>
              <p:cNvGrpSpPr/>
              <p:nvPr/>
            </p:nvGrpSpPr>
            <p:grpSpPr>
              <a:xfrm>
                <a:off x="2773066" y="1930399"/>
                <a:ext cx="944504" cy="809593"/>
                <a:chOff x="5696016" y="3086100"/>
                <a:chExt cx="800080" cy="685799"/>
              </a:xfrm>
              <a:grpFill/>
            </p:grpSpPr>
            <p:sp>
              <p:nvSpPr>
                <p:cNvPr id="788" name="Vrije vorm: vorm 787">
                  <a:extLst>
                    <a:ext uri="{FF2B5EF4-FFF2-40B4-BE49-F238E27FC236}">
                      <a16:creationId xmlns:a16="http://schemas.microsoft.com/office/drawing/2014/main" id="{DC121012-5C50-36F8-200C-AB4ABED440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9" name="Vrije vorm: vorm 788">
                  <a:extLst>
                    <a:ext uri="{FF2B5EF4-FFF2-40B4-BE49-F238E27FC236}">
                      <a16:creationId xmlns:a16="http://schemas.microsoft.com/office/drawing/2014/main" id="{FAF08956-0A3C-26F9-3793-38A6EE67992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7" name="Groep 766">
                <a:extLst>
                  <a:ext uri="{FF2B5EF4-FFF2-40B4-BE49-F238E27FC236}">
                    <a16:creationId xmlns:a16="http://schemas.microsoft.com/office/drawing/2014/main" id="{A7B07DE6-E65D-2D6C-DB30-3F0258F694D5}"/>
                  </a:ext>
                </a:extLst>
              </p:cNvPr>
              <p:cNvGrpSpPr/>
              <p:nvPr/>
            </p:nvGrpSpPr>
            <p:grpSpPr>
              <a:xfrm>
                <a:off x="3825401" y="1930399"/>
                <a:ext cx="944504" cy="809593"/>
                <a:chOff x="5696016" y="3086100"/>
                <a:chExt cx="800080" cy="685799"/>
              </a:xfrm>
              <a:grpFill/>
            </p:grpSpPr>
            <p:sp>
              <p:nvSpPr>
                <p:cNvPr id="786" name="Vrije vorm: vorm 785">
                  <a:extLst>
                    <a:ext uri="{FF2B5EF4-FFF2-40B4-BE49-F238E27FC236}">
                      <a16:creationId xmlns:a16="http://schemas.microsoft.com/office/drawing/2014/main" id="{115905F4-1288-ECE9-E37E-77CC87825E6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7" name="Vrije vorm: vorm 786">
                  <a:extLst>
                    <a:ext uri="{FF2B5EF4-FFF2-40B4-BE49-F238E27FC236}">
                      <a16:creationId xmlns:a16="http://schemas.microsoft.com/office/drawing/2014/main" id="{FA7B2189-2BAE-677C-5DDB-FF9064ADB22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8" name="Groep 767">
                <a:extLst>
                  <a:ext uri="{FF2B5EF4-FFF2-40B4-BE49-F238E27FC236}">
                    <a16:creationId xmlns:a16="http://schemas.microsoft.com/office/drawing/2014/main" id="{9B2C22EC-9B96-D207-B776-05BF7E64E3D9}"/>
                  </a:ext>
                </a:extLst>
              </p:cNvPr>
              <p:cNvGrpSpPr/>
              <p:nvPr/>
            </p:nvGrpSpPr>
            <p:grpSpPr>
              <a:xfrm>
                <a:off x="4877736" y="1930399"/>
                <a:ext cx="944504" cy="809593"/>
                <a:chOff x="5696016" y="3086100"/>
                <a:chExt cx="800080" cy="685799"/>
              </a:xfrm>
              <a:grpFill/>
            </p:grpSpPr>
            <p:sp>
              <p:nvSpPr>
                <p:cNvPr id="784" name="Vrije vorm: vorm 783">
                  <a:extLst>
                    <a:ext uri="{FF2B5EF4-FFF2-40B4-BE49-F238E27FC236}">
                      <a16:creationId xmlns:a16="http://schemas.microsoft.com/office/drawing/2014/main" id="{46F98158-84B3-120C-98EE-CBC1EF3A777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5" name="Vrije vorm: vorm 784">
                  <a:extLst>
                    <a:ext uri="{FF2B5EF4-FFF2-40B4-BE49-F238E27FC236}">
                      <a16:creationId xmlns:a16="http://schemas.microsoft.com/office/drawing/2014/main" id="{F626DBB5-971B-4663-5B10-9DCCEDA53CC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69" name="Groep 768">
                <a:extLst>
                  <a:ext uri="{FF2B5EF4-FFF2-40B4-BE49-F238E27FC236}">
                    <a16:creationId xmlns:a16="http://schemas.microsoft.com/office/drawing/2014/main" id="{4A195CF4-4909-F1B1-6DBD-0C7A00F2240F}"/>
                  </a:ext>
                </a:extLst>
              </p:cNvPr>
              <p:cNvGrpSpPr/>
              <p:nvPr/>
            </p:nvGrpSpPr>
            <p:grpSpPr>
              <a:xfrm>
                <a:off x="5930071" y="1930399"/>
                <a:ext cx="944504" cy="809593"/>
                <a:chOff x="5696016" y="3086100"/>
                <a:chExt cx="800080" cy="685799"/>
              </a:xfrm>
              <a:grpFill/>
            </p:grpSpPr>
            <p:sp>
              <p:nvSpPr>
                <p:cNvPr id="782" name="Vrije vorm: vorm 781">
                  <a:extLst>
                    <a:ext uri="{FF2B5EF4-FFF2-40B4-BE49-F238E27FC236}">
                      <a16:creationId xmlns:a16="http://schemas.microsoft.com/office/drawing/2014/main" id="{244F6777-70B1-B7C9-E6B5-B764D16421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3" name="Vrije vorm: vorm 782">
                  <a:extLst>
                    <a:ext uri="{FF2B5EF4-FFF2-40B4-BE49-F238E27FC236}">
                      <a16:creationId xmlns:a16="http://schemas.microsoft.com/office/drawing/2014/main" id="{102B38EF-C19B-CAF6-E9DB-5C982C6F2FE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0" name="Groep 769">
                <a:extLst>
                  <a:ext uri="{FF2B5EF4-FFF2-40B4-BE49-F238E27FC236}">
                    <a16:creationId xmlns:a16="http://schemas.microsoft.com/office/drawing/2014/main" id="{0283963F-5F02-E8D1-BFA9-92356A408FE9}"/>
                  </a:ext>
                </a:extLst>
              </p:cNvPr>
              <p:cNvGrpSpPr/>
              <p:nvPr/>
            </p:nvGrpSpPr>
            <p:grpSpPr>
              <a:xfrm>
                <a:off x="6982406" y="1930399"/>
                <a:ext cx="944504" cy="809593"/>
                <a:chOff x="5696016" y="3086100"/>
                <a:chExt cx="800080" cy="685799"/>
              </a:xfrm>
              <a:grpFill/>
            </p:grpSpPr>
            <p:sp>
              <p:nvSpPr>
                <p:cNvPr id="780" name="Vrije vorm: vorm 779">
                  <a:extLst>
                    <a:ext uri="{FF2B5EF4-FFF2-40B4-BE49-F238E27FC236}">
                      <a16:creationId xmlns:a16="http://schemas.microsoft.com/office/drawing/2014/main" id="{752A1C77-BD03-7D85-1F03-C20F98A2A3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81" name="Vrije vorm: vorm 780">
                  <a:extLst>
                    <a:ext uri="{FF2B5EF4-FFF2-40B4-BE49-F238E27FC236}">
                      <a16:creationId xmlns:a16="http://schemas.microsoft.com/office/drawing/2014/main" id="{A8912401-A7F9-8B83-F788-66C91D7E4C6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1" name="Groep 770">
                <a:extLst>
                  <a:ext uri="{FF2B5EF4-FFF2-40B4-BE49-F238E27FC236}">
                    <a16:creationId xmlns:a16="http://schemas.microsoft.com/office/drawing/2014/main" id="{002E5AF7-9443-9602-CF1C-6B5BA14A456A}"/>
                  </a:ext>
                </a:extLst>
              </p:cNvPr>
              <p:cNvGrpSpPr/>
              <p:nvPr/>
            </p:nvGrpSpPr>
            <p:grpSpPr>
              <a:xfrm>
                <a:off x="8034741" y="1930399"/>
                <a:ext cx="944504" cy="809593"/>
                <a:chOff x="5696016" y="3086100"/>
                <a:chExt cx="800080" cy="685799"/>
              </a:xfrm>
              <a:grpFill/>
            </p:grpSpPr>
            <p:sp>
              <p:nvSpPr>
                <p:cNvPr id="778" name="Vrije vorm: vorm 777">
                  <a:extLst>
                    <a:ext uri="{FF2B5EF4-FFF2-40B4-BE49-F238E27FC236}">
                      <a16:creationId xmlns:a16="http://schemas.microsoft.com/office/drawing/2014/main" id="{77FDC7FB-885C-CF58-491D-526DEE73D7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79" name="Vrije vorm: vorm 778">
                  <a:extLst>
                    <a:ext uri="{FF2B5EF4-FFF2-40B4-BE49-F238E27FC236}">
                      <a16:creationId xmlns:a16="http://schemas.microsoft.com/office/drawing/2014/main" id="{851C2623-8EA5-9E7C-2551-9AF8682F44B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2" name="Groep 771">
                <a:extLst>
                  <a:ext uri="{FF2B5EF4-FFF2-40B4-BE49-F238E27FC236}">
                    <a16:creationId xmlns:a16="http://schemas.microsoft.com/office/drawing/2014/main" id="{52CF7792-4511-FE1F-F439-636C745BAA20}"/>
                  </a:ext>
                </a:extLst>
              </p:cNvPr>
              <p:cNvGrpSpPr/>
              <p:nvPr/>
            </p:nvGrpSpPr>
            <p:grpSpPr>
              <a:xfrm>
                <a:off x="9087076" y="1930399"/>
                <a:ext cx="944504" cy="809593"/>
                <a:chOff x="5696016" y="3086100"/>
                <a:chExt cx="800080" cy="685799"/>
              </a:xfrm>
              <a:grpFill/>
            </p:grpSpPr>
            <p:sp>
              <p:nvSpPr>
                <p:cNvPr id="776" name="Vrije vorm: vorm 775">
                  <a:extLst>
                    <a:ext uri="{FF2B5EF4-FFF2-40B4-BE49-F238E27FC236}">
                      <a16:creationId xmlns:a16="http://schemas.microsoft.com/office/drawing/2014/main" id="{6508CAC8-A1A3-D107-7FE3-282AB3C7349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77" name="Vrije vorm: vorm 776">
                  <a:extLst>
                    <a:ext uri="{FF2B5EF4-FFF2-40B4-BE49-F238E27FC236}">
                      <a16:creationId xmlns:a16="http://schemas.microsoft.com/office/drawing/2014/main" id="{D9B3B3F9-B18E-C9F9-3311-095F831E093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73" name="Groep 772">
                <a:extLst>
                  <a:ext uri="{FF2B5EF4-FFF2-40B4-BE49-F238E27FC236}">
                    <a16:creationId xmlns:a16="http://schemas.microsoft.com/office/drawing/2014/main" id="{D8B71E72-A2B4-B3DC-8EA9-2F3D33404492}"/>
                  </a:ext>
                </a:extLst>
              </p:cNvPr>
              <p:cNvGrpSpPr/>
              <p:nvPr/>
            </p:nvGrpSpPr>
            <p:grpSpPr>
              <a:xfrm>
                <a:off x="10139413" y="1930399"/>
                <a:ext cx="944504" cy="809593"/>
                <a:chOff x="5696016" y="3086100"/>
                <a:chExt cx="800080" cy="685799"/>
              </a:xfrm>
              <a:grpFill/>
            </p:grpSpPr>
            <p:sp>
              <p:nvSpPr>
                <p:cNvPr id="774" name="Vrije vorm: vorm 773">
                  <a:extLst>
                    <a:ext uri="{FF2B5EF4-FFF2-40B4-BE49-F238E27FC236}">
                      <a16:creationId xmlns:a16="http://schemas.microsoft.com/office/drawing/2014/main" id="{85397D52-8CBC-5DF9-ED99-6417FE56977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75" name="Vrije vorm: vorm 774">
                  <a:extLst>
                    <a:ext uri="{FF2B5EF4-FFF2-40B4-BE49-F238E27FC236}">
                      <a16:creationId xmlns:a16="http://schemas.microsoft.com/office/drawing/2014/main" id="{56663A65-EA6F-5E63-EB92-89830017487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1" name="Groep 670">
              <a:extLst>
                <a:ext uri="{FF2B5EF4-FFF2-40B4-BE49-F238E27FC236}">
                  <a16:creationId xmlns:a16="http://schemas.microsoft.com/office/drawing/2014/main" id="{FA892679-34F8-55D9-3951-09C184353297}"/>
                </a:ext>
              </a:extLst>
            </p:cNvPr>
            <p:cNvGrpSpPr/>
            <p:nvPr/>
          </p:nvGrpSpPr>
          <p:grpSpPr>
            <a:xfrm>
              <a:off x="649432" y="1456834"/>
              <a:ext cx="2409536" cy="187292"/>
              <a:chOff x="668396" y="1930399"/>
              <a:chExt cx="10415521" cy="809593"/>
            </a:xfrm>
            <a:grpFill/>
          </p:grpSpPr>
          <p:grpSp>
            <p:nvGrpSpPr>
              <p:cNvPr id="734" name="Groep 733">
                <a:extLst>
                  <a:ext uri="{FF2B5EF4-FFF2-40B4-BE49-F238E27FC236}">
                    <a16:creationId xmlns:a16="http://schemas.microsoft.com/office/drawing/2014/main" id="{C6344E80-F08D-91E5-158E-9776D2E2C61D}"/>
                  </a:ext>
                </a:extLst>
              </p:cNvPr>
              <p:cNvGrpSpPr/>
              <p:nvPr/>
            </p:nvGrpSpPr>
            <p:grpSpPr>
              <a:xfrm>
                <a:off x="668396" y="1930399"/>
                <a:ext cx="944504" cy="809593"/>
                <a:chOff x="5696016" y="3086100"/>
                <a:chExt cx="800080" cy="685799"/>
              </a:xfrm>
              <a:grpFill/>
            </p:grpSpPr>
            <p:sp>
              <p:nvSpPr>
                <p:cNvPr id="762" name="Vrije vorm: vorm 761">
                  <a:extLst>
                    <a:ext uri="{FF2B5EF4-FFF2-40B4-BE49-F238E27FC236}">
                      <a16:creationId xmlns:a16="http://schemas.microsoft.com/office/drawing/2014/main" id="{EE86C12B-062B-D71D-D7C7-C89ED9AD338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63" name="Vrije vorm: vorm 762">
                  <a:extLst>
                    <a:ext uri="{FF2B5EF4-FFF2-40B4-BE49-F238E27FC236}">
                      <a16:creationId xmlns:a16="http://schemas.microsoft.com/office/drawing/2014/main" id="{94AB024D-0A41-0922-4341-7C2E4F5157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5" name="Groep 734">
                <a:extLst>
                  <a:ext uri="{FF2B5EF4-FFF2-40B4-BE49-F238E27FC236}">
                    <a16:creationId xmlns:a16="http://schemas.microsoft.com/office/drawing/2014/main" id="{C1FEF223-C6AF-687A-0E23-BE6125E7C4B0}"/>
                  </a:ext>
                </a:extLst>
              </p:cNvPr>
              <p:cNvGrpSpPr/>
              <p:nvPr/>
            </p:nvGrpSpPr>
            <p:grpSpPr>
              <a:xfrm>
                <a:off x="1720731" y="1930399"/>
                <a:ext cx="944504" cy="809593"/>
                <a:chOff x="5696016" y="3086100"/>
                <a:chExt cx="800080" cy="685799"/>
              </a:xfrm>
              <a:grpFill/>
            </p:grpSpPr>
            <p:sp>
              <p:nvSpPr>
                <p:cNvPr id="760" name="Vrije vorm: vorm 759">
                  <a:extLst>
                    <a:ext uri="{FF2B5EF4-FFF2-40B4-BE49-F238E27FC236}">
                      <a16:creationId xmlns:a16="http://schemas.microsoft.com/office/drawing/2014/main" id="{8FF30220-D5F9-5F1C-8EF4-B58E4B9A159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61" name="Vrije vorm: vorm 760">
                  <a:extLst>
                    <a:ext uri="{FF2B5EF4-FFF2-40B4-BE49-F238E27FC236}">
                      <a16:creationId xmlns:a16="http://schemas.microsoft.com/office/drawing/2014/main" id="{A050AAA1-25A1-A86E-6D33-3457C6CED37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6" name="Groep 735">
                <a:extLst>
                  <a:ext uri="{FF2B5EF4-FFF2-40B4-BE49-F238E27FC236}">
                    <a16:creationId xmlns:a16="http://schemas.microsoft.com/office/drawing/2014/main" id="{015F7D02-1D10-BD8F-3CC6-A41A075253D3}"/>
                  </a:ext>
                </a:extLst>
              </p:cNvPr>
              <p:cNvGrpSpPr/>
              <p:nvPr/>
            </p:nvGrpSpPr>
            <p:grpSpPr>
              <a:xfrm>
                <a:off x="2773066" y="1930399"/>
                <a:ext cx="944504" cy="809593"/>
                <a:chOff x="5696016" y="3086100"/>
                <a:chExt cx="800080" cy="685799"/>
              </a:xfrm>
              <a:grpFill/>
            </p:grpSpPr>
            <p:sp>
              <p:nvSpPr>
                <p:cNvPr id="758" name="Vrije vorm: vorm 757">
                  <a:extLst>
                    <a:ext uri="{FF2B5EF4-FFF2-40B4-BE49-F238E27FC236}">
                      <a16:creationId xmlns:a16="http://schemas.microsoft.com/office/drawing/2014/main" id="{908F84D6-4089-C31E-7686-A1D7340A447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9" name="Vrije vorm: vorm 758">
                  <a:extLst>
                    <a:ext uri="{FF2B5EF4-FFF2-40B4-BE49-F238E27FC236}">
                      <a16:creationId xmlns:a16="http://schemas.microsoft.com/office/drawing/2014/main" id="{31977D53-7060-9095-132B-0196D6DC16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7" name="Groep 736">
                <a:extLst>
                  <a:ext uri="{FF2B5EF4-FFF2-40B4-BE49-F238E27FC236}">
                    <a16:creationId xmlns:a16="http://schemas.microsoft.com/office/drawing/2014/main" id="{A3F06169-27EC-4D58-32C9-5777F2072833}"/>
                  </a:ext>
                </a:extLst>
              </p:cNvPr>
              <p:cNvGrpSpPr/>
              <p:nvPr/>
            </p:nvGrpSpPr>
            <p:grpSpPr>
              <a:xfrm>
                <a:off x="3825401" y="1930399"/>
                <a:ext cx="944504" cy="809593"/>
                <a:chOff x="5696016" y="3086100"/>
                <a:chExt cx="800080" cy="685799"/>
              </a:xfrm>
              <a:grpFill/>
            </p:grpSpPr>
            <p:sp>
              <p:nvSpPr>
                <p:cNvPr id="756" name="Vrije vorm: vorm 755">
                  <a:extLst>
                    <a:ext uri="{FF2B5EF4-FFF2-40B4-BE49-F238E27FC236}">
                      <a16:creationId xmlns:a16="http://schemas.microsoft.com/office/drawing/2014/main" id="{82C1357D-F423-71C4-E4F0-B4F48F2DB08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7" name="Vrije vorm: vorm 756">
                  <a:extLst>
                    <a:ext uri="{FF2B5EF4-FFF2-40B4-BE49-F238E27FC236}">
                      <a16:creationId xmlns:a16="http://schemas.microsoft.com/office/drawing/2014/main" id="{4F6C0B03-E0F0-4BB7-352F-6D3BCC30B61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8" name="Groep 737">
                <a:extLst>
                  <a:ext uri="{FF2B5EF4-FFF2-40B4-BE49-F238E27FC236}">
                    <a16:creationId xmlns:a16="http://schemas.microsoft.com/office/drawing/2014/main" id="{21760CF8-025E-E327-DAA2-924B0CCC9CE4}"/>
                  </a:ext>
                </a:extLst>
              </p:cNvPr>
              <p:cNvGrpSpPr/>
              <p:nvPr/>
            </p:nvGrpSpPr>
            <p:grpSpPr>
              <a:xfrm>
                <a:off x="4877736" y="1930399"/>
                <a:ext cx="944504" cy="809593"/>
                <a:chOff x="5696016" y="3086100"/>
                <a:chExt cx="800080" cy="685799"/>
              </a:xfrm>
              <a:grpFill/>
            </p:grpSpPr>
            <p:sp>
              <p:nvSpPr>
                <p:cNvPr id="754" name="Vrije vorm: vorm 753">
                  <a:extLst>
                    <a:ext uri="{FF2B5EF4-FFF2-40B4-BE49-F238E27FC236}">
                      <a16:creationId xmlns:a16="http://schemas.microsoft.com/office/drawing/2014/main" id="{CA4B70FD-9115-C1BA-28CF-56C7AA3618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5" name="Vrije vorm: vorm 754">
                  <a:extLst>
                    <a:ext uri="{FF2B5EF4-FFF2-40B4-BE49-F238E27FC236}">
                      <a16:creationId xmlns:a16="http://schemas.microsoft.com/office/drawing/2014/main" id="{A84A6DFF-045F-24B5-7C1F-FA56DC4790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39" name="Groep 738">
                <a:extLst>
                  <a:ext uri="{FF2B5EF4-FFF2-40B4-BE49-F238E27FC236}">
                    <a16:creationId xmlns:a16="http://schemas.microsoft.com/office/drawing/2014/main" id="{B360A352-CBA1-FC26-2C7D-7B5BFDFF50A7}"/>
                  </a:ext>
                </a:extLst>
              </p:cNvPr>
              <p:cNvGrpSpPr/>
              <p:nvPr/>
            </p:nvGrpSpPr>
            <p:grpSpPr>
              <a:xfrm>
                <a:off x="5930071" y="1930399"/>
                <a:ext cx="944504" cy="809593"/>
                <a:chOff x="5696016" y="3086100"/>
                <a:chExt cx="800080" cy="685799"/>
              </a:xfrm>
              <a:grpFill/>
            </p:grpSpPr>
            <p:sp>
              <p:nvSpPr>
                <p:cNvPr id="752" name="Vrije vorm: vorm 751">
                  <a:extLst>
                    <a:ext uri="{FF2B5EF4-FFF2-40B4-BE49-F238E27FC236}">
                      <a16:creationId xmlns:a16="http://schemas.microsoft.com/office/drawing/2014/main" id="{3A18660D-FF18-A5F6-DE5B-739D4D45FF2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3" name="Vrije vorm: vorm 752">
                  <a:extLst>
                    <a:ext uri="{FF2B5EF4-FFF2-40B4-BE49-F238E27FC236}">
                      <a16:creationId xmlns:a16="http://schemas.microsoft.com/office/drawing/2014/main" id="{79BFE0E0-15DE-10F8-FC7D-B28A9702928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0" name="Groep 739">
                <a:extLst>
                  <a:ext uri="{FF2B5EF4-FFF2-40B4-BE49-F238E27FC236}">
                    <a16:creationId xmlns:a16="http://schemas.microsoft.com/office/drawing/2014/main" id="{79A8E3C7-BD9C-AABB-F1B2-C5CE6599600D}"/>
                  </a:ext>
                </a:extLst>
              </p:cNvPr>
              <p:cNvGrpSpPr/>
              <p:nvPr/>
            </p:nvGrpSpPr>
            <p:grpSpPr>
              <a:xfrm>
                <a:off x="6982406" y="1930399"/>
                <a:ext cx="944504" cy="809593"/>
                <a:chOff x="5696016" y="3086100"/>
                <a:chExt cx="800080" cy="685799"/>
              </a:xfrm>
              <a:grpFill/>
            </p:grpSpPr>
            <p:sp>
              <p:nvSpPr>
                <p:cNvPr id="750" name="Vrije vorm: vorm 749">
                  <a:extLst>
                    <a:ext uri="{FF2B5EF4-FFF2-40B4-BE49-F238E27FC236}">
                      <a16:creationId xmlns:a16="http://schemas.microsoft.com/office/drawing/2014/main" id="{69129386-0909-6C22-8BAF-8F158EAA99F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51" name="Vrije vorm: vorm 750">
                  <a:extLst>
                    <a:ext uri="{FF2B5EF4-FFF2-40B4-BE49-F238E27FC236}">
                      <a16:creationId xmlns:a16="http://schemas.microsoft.com/office/drawing/2014/main" id="{62B9CA0D-C0BD-950C-2052-76F16073902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1" name="Groep 740">
                <a:extLst>
                  <a:ext uri="{FF2B5EF4-FFF2-40B4-BE49-F238E27FC236}">
                    <a16:creationId xmlns:a16="http://schemas.microsoft.com/office/drawing/2014/main" id="{6705FCA8-CE9C-8255-9E09-E12962FACB61}"/>
                  </a:ext>
                </a:extLst>
              </p:cNvPr>
              <p:cNvGrpSpPr/>
              <p:nvPr/>
            </p:nvGrpSpPr>
            <p:grpSpPr>
              <a:xfrm>
                <a:off x="8034741" y="1930399"/>
                <a:ext cx="944504" cy="809593"/>
                <a:chOff x="5696016" y="3086100"/>
                <a:chExt cx="800080" cy="685799"/>
              </a:xfrm>
              <a:grpFill/>
            </p:grpSpPr>
            <p:sp>
              <p:nvSpPr>
                <p:cNvPr id="748" name="Vrije vorm: vorm 747">
                  <a:extLst>
                    <a:ext uri="{FF2B5EF4-FFF2-40B4-BE49-F238E27FC236}">
                      <a16:creationId xmlns:a16="http://schemas.microsoft.com/office/drawing/2014/main" id="{81E7C1FE-8B62-A6E2-D8B8-AA4900FDFF9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49" name="Vrije vorm: vorm 748">
                  <a:extLst>
                    <a:ext uri="{FF2B5EF4-FFF2-40B4-BE49-F238E27FC236}">
                      <a16:creationId xmlns:a16="http://schemas.microsoft.com/office/drawing/2014/main" id="{43DFB0EB-EEC3-A125-E7EB-40407A1970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2" name="Groep 741">
                <a:extLst>
                  <a:ext uri="{FF2B5EF4-FFF2-40B4-BE49-F238E27FC236}">
                    <a16:creationId xmlns:a16="http://schemas.microsoft.com/office/drawing/2014/main" id="{86851AA7-B120-19A0-FFBB-D7A1379A0AE6}"/>
                  </a:ext>
                </a:extLst>
              </p:cNvPr>
              <p:cNvGrpSpPr/>
              <p:nvPr/>
            </p:nvGrpSpPr>
            <p:grpSpPr>
              <a:xfrm>
                <a:off x="9087076" y="1930399"/>
                <a:ext cx="944504" cy="809593"/>
                <a:chOff x="5696016" y="3086100"/>
                <a:chExt cx="800080" cy="685799"/>
              </a:xfrm>
              <a:grpFill/>
            </p:grpSpPr>
            <p:sp>
              <p:nvSpPr>
                <p:cNvPr id="746" name="Vrije vorm: vorm 745">
                  <a:extLst>
                    <a:ext uri="{FF2B5EF4-FFF2-40B4-BE49-F238E27FC236}">
                      <a16:creationId xmlns:a16="http://schemas.microsoft.com/office/drawing/2014/main" id="{96189C34-CE97-BFC6-5009-6C2B776DC6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47" name="Vrije vorm: vorm 746">
                  <a:extLst>
                    <a:ext uri="{FF2B5EF4-FFF2-40B4-BE49-F238E27FC236}">
                      <a16:creationId xmlns:a16="http://schemas.microsoft.com/office/drawing/2014/main" id="{B4CBD0AE-30AF-5367-332E-A0138CB541E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43" name="Groep 742">
                <a:extLst>
                  <a:ext uri="{FF2B5EF4-FFF2-40B4-BE49-F238E27FC236}">
                    <a16:creationId xmlns:a16="http://schemas.microsoft.com/office/drawing/2014/main" id="{D2DF224E-E85F-F7AC-D517-C737354B5F8B}"/>
                  </a:ext>
                </a:extLst>
              </p:cNvPr>
              <p:cNvGrpSpPr/>
              <p:nvPr/>
            </p:nvGrpSpPr>
            <p:grpSpPr>
              <a:xfrm>
                <a:off x="10139413" y="1930399"/>
                <a:ext cx="944504" cy="809593"/>
                <a:chOff x="5696016" y="3086100"/>
                <a:chExt cx="800080" cy="685799"/>
              </a:xfrm>
              <a:grpFill/>
            </p:grpSpPr>
            <p:sp>
              <p:nvSpPr>
                <p:cNvPr id="744" name="Vrije vorm: vorm 743">
                  <a:extLst>
                    <a:ext uri="{FF2B5EF4-FFF2-40B4-BE49-F238E27FC236}">
                      <a16:creationId xmlns:a16="http://schemas.microsoft.com/office/drawing/2014/main" id="{32533F51-4BD6-8E08-EEF4-707C5D9385F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45" name="Vrije vorm: vorm 744">
                  <a:extLst>
                    <a:ext uri="{FF2B5EF4-FFF2-40B4-BE49-F238E27FC236}">
                      <a16:creationId xmlns:a16="http://schemas.microsoft.com/office/drawing/2014/main" id="{DA0D8CEF-56B5-B066-6230-2F4354804A4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2" name="Groep 671">
              <a:extLst>
                <a:ext uri="{FF2B5EF4-FFF2-40B4-BE49-F238E27FC236}">
                  <a16:creationId xmlns:a16="http://schemas.microsoft.com/office/drawing/2014/main" id="{BF95949C-D57C-0113-0E82-9E3AC53F97FD}"/>
                </a:ext>
              </a:extLst>
            </p:cNvPr>
            <p:cNvGrpSpPr/>
            <p:nvPr/>
          </p:nvGrpSpPr>
          <p:grpSpPr>
            <a:xfrm>
              <a:off x="649432" y="1690867"/>
              <a:ext cx="2409536" cy="187292"/>
              <a:chOff x="668396" y="1930399"/>
              <a:chExt cx="10415521" cy="809593"/>
            </a:xfrm>
            <a:grpFill/>
          </p:grpSpPr>
          <p:grpSp>
            <p:nvGrpSpPr>
              <p:cNvPr id="704" name="Groep 703">
                <a:extLst>
                  <a:ext uri="{FF2B5EF4-FFF2-40B4-BE49-F238E27FC236}">
                    <a16:creationId xmlns:a16="http://schemas.microsoft.com/office/drawing/2014/main" id="{30E3D8C6-C507-1132-05AE-8E8755792477}"/>
                  </a:ext>
                </a:extLst>
              </p:cNvPr>
              <p:cNvGrpSpPr/>
              <p:nvPr/>
            </p:nvGrpSpPr>
            <p:grpSpPr>
              <a:xfrm>
                <a:off x="668396" y="1930399"/>
                <a:ext cx="944504" cy="809593"/>
                <a:chOff x="5696016" y="3086100"/>
                <a:chExt cx="800080" cy="685799"/>
              </a:xfrm>
              <a:grpFill/>
            </p:grpSpPr>
            <p:sp>
              <p:nvSpPr>
                <p:cNvPr id="732" name="Vrije vorm: vorm 731">
                  <a:extLst>
                    <a:ext uri="{FF2B5EF4-FFF2-40B4-BE49-F238E27FC236}">
                      <a16:creationId xmlns:a16="http://schemas.microsoft.com/office/drawing/2014/main" id="{F896770C-337A-F512-C503-70AB54BEFD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33" name="Vrije vorm: vorm 732">
                  <a:extLst>
                    <a:ext uri="{FF2B5EF4-FFF2-40B4-BE49-F238E27FC236}">
                      <a16:creationId xmlns:a16="http://schemas.microsoft.com/office/drawing/2014/main" id="{EE0E5D76-E641-9A84-E71E-A47AC82DECB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5" name="Groep 704">
                <a:extLst>
                  <a:ext uri="{FF2B5EF4-FFF2-40B4-BE49-F238E27FC236}">
                    <a16:creationId xmlns:a16="http://schemas.microsoft.com/office/drawing/2014/main" id="{A1166BEA-8A55-1C74-26B7-1F6F078F7024}"/>
                  </a:ext>
                </a:extLst>
              </p:cNvPr>
              <p:cNvGrpSpPr/>
              <p:nvPr/>
            </p:nvGrpSpPr>
            <p:grpSpPr>
              <a:xfrm>
                <a:off x="1720731" y="1930399"/>
                <a:ext cx="944504" cy="809593"/>
                <a:chOff x="5696016" y="3086100"/>
                <a:chExt cx="800080" cy="685799"/>
              </a:xfrm>
              <a:grpFill/>
            </p:grpSpPr>
            <p:sp>
              <p:nvSpPr>
                <p:cNvPr id="730" name="Vrije vorm: vorm 729">
                  <a:extLst>
                    <a:ext uri="{FF2B5EF4-FFF2-40B4-BE49-F238E27FC236}">
                      <a16:creationId xmlns:a16="http://schemas.microsoft.com/office/drawing/2014/main" id="{8427AE2D-D577-C524-C0F6-277057D762E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31" name="Vrije vorm: vorm 730">
                  <a:extLst>
                    <a:ext uri="{FF2B5EF4-FFF2-40B4-BE49-F238E27FC236}">
                      <a16:creationId xmlns:a16="http://schemas.microsoft.com/office/drawing/2014/main" id="{6096ACE5-0EB5-67C5-2740-DE20E617F5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6" name="Groep 705">
                <a:extLst>
                  <a:ext uri="{FF2B5EF4-FFF2-40B4-BE49-F238E27FC236}">
                    <a16:creationId xmlns:a16="http://schemas.microsoft.com/office/drawing/2014/main" id="{BE5C9FC8-4175-4946-0EC6-B13ED4BB33DB}"/>
                  </a:ext>
                </a:extLst>
              </p:cNvPr>
              <p:cNvGrpSpPr/>
              <p:nvPr/>
            </p:nvGrpSpPr>
            <p:grpSpPr>
              <a:xfrm>
                <a:off x="2773066" y="1930399"/>
                <a:ext cx="944504" cy="809593"/>
                <a:chOff x="5696016" y="3086100"/>
                <a:chExt cx="800080" cy="685799"/>
              </a:xfrm>
              <a:grpFill/>
            </p:grpSpPr>
            <p:sp>
              <p:nvSpPr>
                <p:cNvPr id="728" name="Vrije vorm: vorm 727">
                  <a:extLst>
                    <a:ext uri="{FF2B5EF4-FFF2-40B4-BE49-F238E27FC236}">
                      <a16:creationId xmlns:a16="http://schemas.microsoft.com/office/drawing/2014/main" id="{B355EFC8-4A5B-B46C-352E-1C53234F8F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9" name="Vrije vorm: vorm 728">
                  <a:extLst>
                    <a:ext uri="{FF2B5EF4-FFF2-40B4-BE49-F238E27FC236}">
                      <a16:creationId xmlns:a16="http://schemas.microsoft.com/office/drawing/2014/main" id="{42B3AFD6-69C0-497E-94FF-36D8C09EBF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7" name="Groep 706">
                <a:extLst>
                  <a:ext uri="{FF2B5EF4-FFF2-40B4-BE49-F238E27FC236}">
                    <a16:creationId xmlns:a16="http://schemas.microsoft.com/office/drawing/2014/main" id="{59F19A2E-809E-5DDA-D11B-FA6A76D5458D}"/>
                  </a:ext>
                </a:extLst>
              </p:cNvPr>
              <p:cNvGrpSpPr/>
              <p:nvPr/>
            </p:nvGrpSpPr>
            <p:grpSpPr>
              <a:xfrm>
                <a:off x="3825401" y="1930399"/>
                <a:ext cx="944504" cy="809593"/>
                <a:chOff x="5696016" y="3086100"/>
                <a:chExt cx="800080" cy="685799"/>
              </a:xfrm>
              <a:grpFill/>
            </p:grpSpPr>
            <p:sp>
              <p:nvSpPr>
                <p:cNvPr id="726" name="Vrije vorm: vorm 725">
                  <a:extLst>
                    <a:ext uri="{FF2B5EF4-FFF2-40B4-BE49-F238E27FC236}">
                      <a16:creationId xmlns:a16="http://schemas.microsoft.com/office/drawing/2014/main" id="{075DCA2F-FB51-B9AC-776A-3B33AD64EA5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7" name="Vrije vorm: vorm 726">
                  <a:extLst>
                    <a:ext uri="{FF2B5EF4-FFF2-40B4-BE49-F238E27FC236}">
                      <a16:creationId xmlns:a16="http://schemas.microsoft.com/office/drawing/2014/main" id="{9B0EA4EC-C3B8-CA08-5BAA-3D31FFF3EF3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8" name="Groep 707">
                <a:extLst>
                  <a:ext uri="{FF2B5EF4-FFF2-40B4-BE49-F238E27FC236}">
                    <a16:creationId xmlns:a16="http://schemas.microsoft.com/office/drawing/2014/main" id="{46590152-F38F-7B97-CF80-71CE78AC5715}"/>
                  </a:ext>
                </a:extLst>
              </p:cNvPr>
              <p:cNvGrpSpPr/>
              <p:nvPr/>
            </p:nvGrpSpPr>
            <p:grpSpPr>
              <a:xfrm>
                <a:off x="4877736" y="1930399"/>
                <a:ext cx="944504" cy="809593"/>
                <a:chOff x="5696016" y="3086100"/>
                <a:chExt cx="800080" cy="685799"/>
              </a:xfrm>
              <a:grpFill/>
            </p:grpSpPr>
            <p:sp>
              <p:nvSpPr>
                <p:cNvPr id="724" name="Vrije vorm: vorm 723">
                  <a:extLst>
                    <a:ext uri="{FF2B5EF4-FFF2-40B4-BE49-F238E27FC236}">
                      <a16:creationId xmlns:a16="http://schemas.microsoft.com/office/drawing/2014/main" id="{1AD2335A-A392-BBF1-A156-EEAAE008D88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5" name="Vrije vorm: vorm 724">
                  <a:extLst>
                    <a:ext uri="{FF2B5EF4-FFF2-40B4-BE49-F238E27FC236}">
                      <a16:creationId xmlns:a16="http://schemas.microsoft.com/office/drawing/2014/main" id="{0281E368-EB26-6581-2DBE-82A4732B5B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09" name="Groep 708">
                <a:extLst>
                  <a:ext uri="{FF2B5EF4-FFF2-40B4-BE49-F238E27FC236}">
                    <a16:creationId xmlns:a16="http://schemas.microsoft.com/office/drawing/2014/main" id="{772C8F2D-125F-8DBB-C3F2-996B578D91C7}"/>
                  </a:ext>
                </a:extLst>
              </p:cNvPr>
              <p:cNvGrpSpPr/>
              <p:nvPr/>
            </p:nvGrpSpPr>
            <p:grpSpPr>
              <a:xfrm>
                <a:off x="5930071" y="1930399"/>
                <a:ext cx="944504" cy="809593"/>
                <a:chOff x="5696016" y="3086100"/>
                <a:chExt cx="800080" cy="685799"/>
              </a:xfrm>
              <a:grpFill/>
            </p:grpSpPr>
            <p:sp>
              <p:nvSpPr>
                <p:cNvPr id="722" name="Vrije vorm: vorm 721">
                  <a:extLst>
                    <a:ext uri="{FF2B5EF4-FFF2-40B4-BE49-F238E27FC236}">
                      <a16:creationId xmlns:a16="http://schemas.microsoft.com/office/drawing/2014/main" id="{0FFD51C3-6D3D-D90B-2201-2E4C1D997CF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3" name="Vrije vorm: vorm 722">
                  <a:extLst>
                    <a:ext uri="{FF2B5EF4-FFF2-40B4-BE49-F238E27FC236}">
                      <a16:creationId xmlns:a16="http://schemas.microsoft.com/office/drawing/2014/main" id="{CA04E646-F40E-B6D3-665F-80EC22E0F0D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0" name="Groep 709">
                <a:extLst>
                  <a:ext uri="{FF2B5EF4-FFF2-40B4-BE49-F238E27FC236}">
                    <a16:creationId xmlns:a16="http://schemas.microsoft.com/office/drawing/2014/main" id="{81C12919-59D3-CE13-C8C4-7C7B22C2B3B9}"/>
                  </a:ext>
                </a:extLst>
              </p:cNvPr>
              <p:cNvGrpSpPr/>
              <p:nvPr/>
            </p:nvGrpSpPr>
            <p:grpSpPr>
              <a:xfrm>
                <a:off x="6982406" y="1930399"/>
                <a:ext cx="944504" cy="809593"/>
                <a:chOff x="5696016" y="3086100"/>
                <a:chExt cx="800080" cy="685799"/>
              </a:xfrm>
              <a:grpFill/>
            </p:grpSpPr>
            <p:sp>
              <p:nvSpPr>
                <p:cNvPr id="720" name="Vrije vorm: vorm 719">
                  <a:extLst>
                    <a:ext uri="{FF2B5EF4-FFF2-40B4-BE49-F238E27FC236}">
                      <a16:creationId xmlns:a16="http://schemas.microsoft.com/office/drawing/2014/main" id="{B355DED0-F425-2A4E-DF7D-2D6DAB4A993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21" name="Vrije vorm: vorm 720">
                  <a:extLst>
                    <a:ext uri="{FF2B5EF4-FFF2-40B4-BE49-F238E27FC236}">
                      <a16:creationId xmlns:a16="http://schemas.microsoft.com/office/drawing/2014/main" id="{8369172B-5321-39C5-A671-ED367AC3E8A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1" name="Groep 710">
                <a:extLst>
                  <a:ext uri="{FF2B5EF4-FFF2-40B4-BE49-F238E27FC236}">
                    <a16:creationId xmlns:a16="http://schemas.microsoft.com/office/drawing/2014/main" id="{85A32D93-2460-0ED0-969B-D943018DB2D1}"/>
                  </a:ext>
                </a:extLst>
              </p:cNvPr>
              <p:cNvGrpSpPr/>
              <p:nvPr/>
            </p:nvGrpSpPr>
            <p:grpSpPr>
              <a:xfrm>
                <a:off x="8034741" y="1930399"/>
                <a:ext cx="944504" cy="809593"/>
                <a:chOff x="5696016" y="3086100"/>
                <a:chExt cx="800080" cy="685799"/>
              </a:xfrm>
              <a:grpFill/>
            </p:grpSpPr>
            <p:sp>
              <p:nvSpPr>
                <p:cNvPr id="718" name="Vrije vorm: vorm 717">
                  <a:extLst>
                    <a:ext uri="{FF2B5EF4-FFF2-40B4-BE49-F238E27FC236}">
                      <a16:creationId xmlns:a16="http://schemas.microsoft.com/office/drawing/2014/main" id="{F6302CCC-DDB7-47D7-6E1D-9C2FF53A21B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9" name="Vrije vorm: vorm 718">
                  <a:extLst>
                    <a:ext uri="{FF2B5EF4-FFF2-40B4-BE49-F238E27FC236}">
                      <a16:creationId xmlns:a16="http://schemas.microsoft.com/office/drawing/2014/main" id="{C200CE89-8956-9782-6139-A3C22D1E13A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2" name="Groep 711">
                <a:extLst>
                  <a:ext uri="{FF2B5EF4-FFF2-40B4-BE49-F238E27FC236}">
                    <a16:creationId xmlns:a16="http://schemas.microsoft.com/office/drawing/2014/main" id="{768FADAF-965E-CB39-28E9-155DDA7E125D}"/>
                  </a:ext>
                </a:extLst>
              </p:cNvPr>
              <p:cNvGrpSpPr/>
              <p:nvPr/>
            </p:nvGrpSpPr>
            <p:grpSpPr>
              <a:xfrm>
                <a:off x="9087076" y="1930399"/>
                <a:ext cx="944504" cy="809593"/>
                <a:chOff x="5696016" y="3086100"/>
                <a:chExt cx="800080" cy="685799"/>
              </a:xfrm>
              <a:grpFill/>
            </p:grpSpPr>
            <p:sp>
              <p:nvSpPr>
                <p:cNvPr id="716" name="Vrije vorm: vorm 715">
                  <a:extLst>
                    <a:ext uri="{FF2B5EF4-FFF2-40B4-BE49-F238E27FC236}">
                      <a16:creationId xmlns:a16="http://schemas.microsoft.com/office/drawing/2014/main" id="{446B983B-D608-E54C-E69D-3FFD6183837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7" name="Vrije vorm: vorm 716">
                  <a:extLst>
                    <a:ext uri="{FF2B5EF4-FFF2-40B4-BE49-F238E27FC236}">
                      <a16:creationId xmlns:a16="http://schemas.microsoft.com/office/drawing/2014/main" id="{369B2FE4-6631-9EC5-1E5A-3FE8FD501B1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713" name="Groep 712">
                <a:extLst>
                  <a:ext uri="{FF2B5EF4-FFF2-40B4-BE49-F238E27FC236}">
                    <a16:creationId xmlns:a16="http://schemas.microsoft.com/office/drawing/2014/main" id="{78B957E1-6B8E-E314-CE51-FD2B07CB71B3}"/>
                  </a:ext>
                </a:extLst>
              </p:cNvPr>
              <p:cNvGrpSpPr/>
              <p:nvPr/>
            </p:nvGrpSpPr>
            <p:grpSpPr>
              <a:xfrm>
                <a:off x="10139413" y="1930399"/>
                <a:ext cx="944504" cy="809593"/>
                <a:chOff x="5696016" y="3086100"/>
                <a:chExt cx="800080" cy="685799"/>
              </a:xfrm>
              <a:grpFill/>
            </p:grpSpPr>
            <p:sp>
              <p:nvSpPr>
                <p:cNvPr id="714" name="Vrije vorm: vorm 713">
                  <a:extLst>
                    <a:ext uri="{FF2B5EF4-FFF2-40B4-BE49-F238E27FC236}">
                      <a16:creationId xmlns:a16="http://schemas.microsoft.com/office/drawing/2014/main" id="{19D65BDB-20C0-525B-67FA-C4682E50418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15" name="Vrije vorm: vorm 714">
                  <a:extLst>
                    <a:ext uri="{FF2B5EF4-FFF2-40B4-BE49-F238E27FC236}">
                      <a16:creationId xmlns:a16="http://schemas.microsoft.com/office/drawing/2014/main" id="{43ED4219-75B9-4CF4-F097-E5B05B3DD13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673" name="Groep 672">
              <a:extLst>
                <a:ext uri="{FF2B5EF4-FFF2-40B4-BE49-F238E27FC236}">
                  <a16:creationId xmlns:a16="http://schemas.microsoft.com/office/drawing/2014/main" id="{8D15447C-26DA-04F6-B43A-B0BC61DC4229}"/>
                </a:ext>
              </a:extLst>
            </p:cNvPr>
            <p:cNvGrpSpPr/>
            <p:nvPr/>
          </p:nvGrpSpPr>
          <p:grpSpPr>
            <a:xfrm>
              <a:off x="649432" y="1924901"/>
              <a:ext cx="2409536" cy="187292"/>
              <a:chOff x="668396" y="1930399"/>
              <a:chExt cx="10415521" cy="809593"/>
            </a:xfrm>
            <a:grpFill/>
          </p:grpSpPr>
          <p:grpSp>
            <p:nvGrpSpPr>
              <p:cNvPr id="674" name="Groep 673">
                <a:extLst>
                  <a:ext uri="{FF2B5EF4-FFF2-40B4-BE49-F238E27FC236}">
                    <a16:creationId xmlns:a16="http://schemas.microsoft.com/office/drawing/2014/main" id="{9CAF7BA5-3BB3-7C01-E22A-F3B158E467D1}"/>
                  </a:ext>
                </a:extLst>
              </p:cNvPr>
              <p:cNvGrpSpPr/>
              <p:nvPr/>
            </p:nvGrpSpPr>
            <p:grpSpPr>
              <a:xfrm>
                <a:off x="668396" y="1930399"/>
                <a:ext cx="944504" cy="809593"/>
                <a:chOff x="5696016" y="3086100"/>
                <a:chExt cx="800080" cy="685799"/>
              </a:xfrm>
              <a:grpFill/>
            </p:grpSpPr>
            <p:sp>
              <p:nvSpPr>
                <p:cNvPr id="702" name="Vrije vorm: vorm 701">
                  <a:extLst>
                    <a:ext uri="{FF2B5EF4-FFF2-40B4-BE49-F238E27FC236}">
                      <a16:creationId xmlns:a16="http://schemas.microsoft.com/office/drawing/2014/main" id="{39241ED8-1ACE-BEFC-2BFE-254DF5F0E32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03" name="Vrije vorm: vorm 702">
                  <a:extLst>
                    <a:ext uri="{FF2B5EF4-FFF2-40B4-BE49-F238E27FC236}">
                      <a16:creationId xmlns:a16="http://schemas.microsoft.com/office/drawing/2014/main" id="{B99A43AA-A6F2-204B-AF8C-18530104E62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5" name="Groep 674">
                <a:extLst>
                  <a:ext uri="{FF2B5EF4-FFF2-40B4-BE49-F238E27FC236}">
                    <a16:creationId xmlns:a16="http://schemas.microsoft.com/office/drawing/2014/main" id="{8086DD85-9846-E773-1E96-9BA01BCB6045}"/>
                  </a:ext>
                </a:extLst>
              </p:cNvPr>
              <p:cNvGrpSpPr/>
              <p:nvPr/>
            </p:nvGrpSpPr>
            <p:grpSpPr>
              <a:xfrm>
                <a:off x="1720731" y="1930399"/>
                <a:ext cx="944504" cy="809593"/>
                <a:chOff x="5696016" y="3086100"/>
                <a:chExt cx="800080" cy="685799"/>
              </a:xfrm>
              <a:grpFill/>
            </p:grpSpPr>
            <p:sp>
              <p:nvSpPr>
                <p:cNvPr id="700" name="Vrije vorm: vorm 699">
                  <a:extLst>
                    <a:ext uri="{FF2B5EF4-FFF2-40B4-BE49-F238E27FC236}">
                      <a16:creationId xmlns:a16="http://schemas.microsoft.com/office/drawing/2014/main" id="{501F92E8-B062-6F2E-2315-16778E693C3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701" name="Vrije vorm: vorm 700">
                  <a:extLst>
                    <a:ext uri="{FF2B5EF4-FFF2-40B4-BE49-F238E27FC236}">
                      <a16:creationId xmlns:a16="http://schemas.microsoft.com/office/drawing/2014/main" id="{973202D5-3831-06DC-1F57-3AB304930A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6" name="Groep 675">
                <a:extLst>
                  <a:ext uri="{FF2B5EF4-FFF2-40B4-BE49-F238E27FC236}">
                    <a16:creationId xmlns:a16="http://schemas.microsoft.com/office/drawing/2014/main" id="{318900F1-C924-ACEE-EC8D-E61AA95D3420}"/>
                  </a:ext>
                </a:extLst>
              </p:cNvPr>
              <p:cNvGrpSpPr/>
              <p:nvPr/>
            </p:nvGrpSpPr>
            <p:grpSpPr>
              <a:xfrm>
                <a:off x="2773066" y="1930399"/>
                <a:ext cx="944504" cy="809593"/>
                <a:chOff x="5696016" y="3086100"/>
                <a:chExt cx="800080" cy="685799"/>
              </a:xfrm>
              <a:grpFill/>
            </p:grpSpPr>
            <p:sp>
              <p:nvSpPr>
                <p:cNvPr id="698" name="Vrije vorm: vorm 697">
                  <a:extLst>
                    <a:ext uri="{FF2B5EF4-FFF2-40B4-BE49-F238E27FC236}">
                      <a16:creationId xmlns:a16="http://schemas.microsoft.com/office/drawing/2014/main" id="{A148834A-EC98-4D12-D740-E996350F5BF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9" name="Vrije vorm: vorm 698">
                  <a:extLst>
                    <a:ext uri="{FF2B5EF4-FFF2-40B4-BE49-F238E27FC236}">
                      <a16:creationId xmlns:a16="http://schemas.microsoft.com/office/drawing/2014/main" id="{F2B1DFE1-6BD0-28CD-4517-8F36029905D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7" name="Groep 676">
                <a:extLst>
                  <a:ext uri="{FF2B5EF4-FFF2-40B4-BE49-F238E27FC236}">
                    <a16:creationId xmlns:a16="http://schemas.microsoft.com/office/drawing/2014/main" id="{DB6048FB-F1DD-3071-2EBD-778B5632A017}"/>
                  </a:ext>
                </a:extLst>
              </p:cNvPr>
              <p:cNvGrpSpPr/>
              <p:nvPr/>
            </p:nvGrpSpPr>
            <p:grpSpPr>
              <a:xfrm>
                <a:off x="3825401" y="1930399"/>
                <a:ext cx="944504" cy="809593"/>
                <a:chOff x="5696016" y="3086100"/>
                <a:chExt cx="800080" cy="685799"/>
              </a:xfrm>
              <a:grpFill/>
            </p:grpSpPr>
            <p:sp>
              <p:nvSpPr>
                <p:cNvPr id="696" name="Vrije vorm: vorm 695">
                  <a:extLst>
                    <a:ext uri="{FF2B5EF4-FFF2-40B4-BE49-F238E27FC236}">
                      <a16:creationId xmlns:a16="http://schemas.microsoft.com/office/drawing/2014/main" id="{8F39FE18-3099-6520-0101-2AC7A07B3BD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7" name="Vrije vorm: vorm 696">
                  <a:extLst>
                    <a:ext uri="{FF2B5EF4-FFF2-40B4-BE49-F238E27FC236}">
                      <a16:creationId xmlns:a16="http://schemas.microsoft.com/office/drawing/2014/main" id="{B19C1D7A-D16E-727E-3351-E464C254EA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8" name="Groep 677">
                <a:extLst>
                  <a:ext uri="{FF2B5EF4-FFF2-40B4-BE49-F238E27FC236}">
                    <a16:creationId xmlns:a16="http://schemas.microsoft.com/office/drawing/2014/main" id="{769C02E4-F50E-1B7B-9343-9E533F57F18D}"/>
                  </a:ext>
                </a:extLst>
              </p:cNvPr>
              <p:cNvGrpSpPr/>
              <p:nvPr/>
            </p:nvGrpSpPr>
            <p:grpSpPr>
              <a:xfrm>
                <a:off x="4877736" y="1930399"/>
                <a:ext cx="944504" cy="809593"/>
                <a:chOff x="5696016" y="3086100"/>
                <a:chExt cx="800080" cy="685799"/>
              </a:xfrm>
              <a:grpFill/>
            </p:grpSpPr>
            <p:sp>
              <p:nvSpPr>
                <p:cNvPr id="694" name="Vrije vorm: vorm 693">
                  <a:extLst>
                    <a:ext uri="{FF2B5EF4-FFF2-40B4-BE49-F238E27FC236}">
                      <a16:creationId xmlns:a16="http://schemas.microsoft.com/office/drawing/2014/main" id="{138A6C18-0333-2065-1158-9BD40EF6362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5" name="Vrije vorm: vorm 694">
                  <a:extLst>
                    <a:ext uri="{FF2B5EF4-FFF2-40B4-BE49-F238E27FC236}">
                      <a16:creationId xmlns:a16="http://schemas.microsoft.com/office/drawing/2014/main" id="{D092B12E-22C0-3158-DC11-ECEE802D93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79" name="Groep 678">
                <a:extLst>
                  <a:ext uri="{FF2B5EF4-FFF2-40B4-BE49-F238E27FC236}">
                    <a16:creationId xmlns:a16="http://schemas.microsoft.com/office/drawing/2014/main" id="{EFDBE156-D4DE-891F-5BE9-2DBBE949BFEA}"/>
                  </a:ext>
                </a:extLst>
              </p:cNvPr>
              <p:cNvGrpSpPr/>
              <p:nvPr/>
            </p:nvGrpSpPr>
            <p:grpSpPr>
              <a:xfrm>
                <a:off x="5930071" y="1930399"/>
                <a:ext cx="944504" cy="809593"/>
                <a:chOff x="5696016" y="3086100"/>
                <a:chExt cx="800080" cy="685799"/>
              </a:xfrm>
              <a:grpFill/>
            </p:grpSpPr>
            <p:sp>
              <p:nvSpPr>
                <p:cNvPr id="692" name="Vrije vorm: vorm 691">
                  <a:extLst>
                    <a:ext uri="{FF2B5EF4-FFF2-40B4-BE49-F238E27FC236}">
                      <a16:creationId xmlns:a16="http://schemas.microsoft.com/office/drawing/2014/main" id="{18AA960A-54A8-4E44-0F84-8D888C380AC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3" name="Vrije vorm: vorm 692">
                  <a:extLst>
                    <a:ext uri="{FF2B5EF4-FFF2-40B4-BE49-F238E27FC236}">
                      <a16:creationId xmlns:a16="http://schemas.microsoft.com/office/drawing/2014/main" id="{6198FFD3-1C60-5470-AEF6-A2FB7776958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0" name="Groep 679">
                <a:extLst>
                  <a:ext uri="{FF2B5EF4-FFF2-40B4-BE49-F238E27FC236}">
                    <a16:creationId xmlns:a16="http://schemas.microsoft.com/office/drawing/2014/main" id="{D1C4A4C6-E4F8-EA7A-D0B5-939309CEC13A}"/>
                  </a:ext>
                </a:extLst>
              </p:cNvPr>
              <p:cNvGrpSpPr/>
              <p:nvPr/>
            </p:nvGrpSpPr>
            <p:grpSpPr>
              <a:xfrm>
                <a:off x="6982406" y="1930399"/>
                <a:ext cx="944504" cy="809593"/>
                <a:chOff x="5696016" y="3086100"/>
                <a:chExt cx="800080" cy="685799"/>
              </a:xfrm>
              <a:grpFill/>
            </p:grpSpPr>
            <p:sp>
              <p:nvSpPr>
                <p:cNvPr id="690" name="Vrije vorm: vorm 689">
                  <a:extLst>
                    <a:ext uri="{FF2B5EF4-FFF2-40B4-BE49-F238E27FC236}">
                      <a16:creationId xmlns:a16="http://schemas.microsoft.com/office/drawing/2014/main" id="{D35957F5-2856-9DF3-A85C-49E039E03C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91" name="Vrije vorm: vorm 690">
                  <a:extLst>
                    <a:ext uri="{FF2B5EF4-FFF2-40B4-BE49-F238E27FC236}">
                      <a16:creationId xmlns:a16="http://schemas.microsoft.com/office/drawing/2014/main" id="{8FD29776-1DA1-6751-DB24-ED6D6233AA5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1" name="Groep 680">
                <a:extLst>
                  <a:ext uri="{FF2B5EF4-FFF2-40B4-BE49-F238E27FC236}">
                    <a16:creationId xmlns:a16="http://schemas.microsoft.com/office/drawing/2014/main" id="{E9112449-42CA-BF98-195B-B6CBC5F28112}"/>
                  </a:ext>
                </a:extLst>
              </p:cNvPr>
              <p:cNvGrpSpPr/>
              <p:nvPr/>
            </p:nvGrpSpPr>
            <p:grpSpPr>
              <a:xfrm>
                <a:off x="8034741" y="1930399"/>
                <a:ext cx="944504" cy="809593"/>
                <a:chOff x="5696016" y="3086100"/>
                <a:chExt cx="800080" cy="685799"/>
              </a:xfrm>
              <a:grpFill/>
            </p:grpSpPr>
            <p:sp>
              <p:nvSpPr>
                <p:cNvPr id="688" name="Vrije vorm: vorm 687">
                  <a:extLst>
                    <a:ext uri="{FF2B5EF4-FFF2-40B4-BE49-F238E27FC236}">
                      <a16:creationId xmlns:a16="http://schemas.microsoft.com/office/drawing/2014/main" id="{8936723A-15F4-0546-BBD2-463B350C9CE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89" name="Vrije vorm: vorm 688">
                  <a:extLst>
                    <a:ext uri="{FF2B5EF4-FFF2-40B4-BE49-F238E27FC236}">
                      <a16:creationId xmlns:a16="http://schemas.microsoft.com/office/drawing/2014/main" id="{B9C4FE41-D756-BCEA-C4AC-C18A14718E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2" name="Groep 681">
                <a:extLst>
                  <a:ext uri="{FF2B5EF4-FFF2-40B4-BE49-F238E27FC236}">
                    <a16:creationId xmlns:a16="http://schemas.microsoft.com/office/drawing/2014/main" id="{1977065E-21C3-04AF-CBC6-70ACF2444360}"/>
                  </a:ext>
                </a:extLst>
              </p:cNvPr>
              <p:cNvGrpSpPr/>
              <p:nvPr/>
            </p:nvGrpSpPr>
            <p:grpSpPr>
              <a:xfrm>
                <a:off x="9087076" y="1930399"/>
                <a:ext cx="944504" cy="809593"/>
                <a:chOff x="5696016" y="3086100"/>
                <a:chExt cx="800080" cy="685799"/>
              </a:xfrm>
              <a:grpFill/>
            </p:grpSpPr>
            <p:sp>
              <p:nvSpPr>
                <p:cNvPr id="686" name="Vrije vorm: vorm 685">
                  <a:extLst>
                    <a:ext uri="{FF2B5EF4-FFF2-40B4-BE49-F238E27FC236}">
                      <a16:creationId xmlns:a16="http://schemas.microsoft.com/office/drawing/2014/main" id="{403E3D5F-ED21-A8E1-09C4-EBEAA773382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87" name="Vrije vorm: vorm 686">
                  <a:extLst>
                    <a:ext uri="{FF2B5EF4-FFF2-40B4-BE49-F238E27FC236}">
                      <a16:creationId xmlns:a16="http://schemas.microsoft.com/office/drawing/2014/main" id="{E66BF325-1E93-56BD-BBFC-55BC8BE66FE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683" name="Groep 682">
                <a:extLst>
                  <a:ext uri="{FF2B5EF4-FFF2-40B4-BE49-F238E27FC236}">
                    <a16:creationId xmlns:a16="http://schemas.microsoft.com/office/drawing/2014/main" id="{E8161F04-6399-6461-48FB-E9E3453D8A16}"/>
                  </a:ext>
                </a:extLst>
              </p:cNvPr>
              <p:cNvGrpSpPr/>
              <p:nvPr/>
            </p:nvGrpSpPr>
            <p:grpSpPr>
              <a:xfrm>
                <a:off x="10139413" y="1930399"/>
                <a:ext cx="944504" cy="809593"/>
                <a:chOff x="5696016" y="3086100"/>
                <a:chExt cx="800080" cy="685799"/>
              </a:xfrm>
              <a:grpFill/>
            </p:grpSpPr>
            <p:sp>
              <p:nvSpPr>
                <p:cNvPr id="684" name="Vrije vorm: vorm 683">
                  <a:extLst>
                    <a:ext uri="{FF2B5EF4-FFF2-40B4-BE49-F238E27FC236}">
                      <a16:creationId xmlns:a16="http://schemas.microsoft.com/office/drawing/2014/main" id="{85940F76-F914-E6CA-AC69-69866143D66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685" name="Vrije vorm: vorm 684">
                  <a:extLst>
                    <a:ext uri="{FF2B5EF4-FFF2-40B4-BE49-F238E27FC236}">
                      <a16:creationId xmlns:a16="http://schemas.microsoft.com/office/drawing/2014/main" id="{F9BF0EB2-13A2-131F-48E6-48E2EAD68F0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grpSp>
      </p:grpSp>
      <p:grpSp>
        <p:nvGrpSpPr>
          <p:cNvPr id="884" name="Groep 883">
            <a:extLst>
              <a:ext uri="{FF2B5EF4-FFF2-40B4-BE49-F238E27FC236}">
                <a16:creationId xmlns:a16="http://schemas.microsoft.com/office/drawing/2014/main" id="{A8866450-FADC-A630-207B-A2F957046501}"/>
              </a:ext>
            </a:extLst>
          </p:cNvPr>
          <p:cNvGrpSpPr/>
          <p:nvPr/>
        </p:nvGrpSpPr>
        <p:grpSpPr>
          <a:xfrm>
            <a:off x="8527169" y="2044547"/>
            <a:ext cx="763072" cy="3473127"/>
            <a:chOff x="7133223" y="533400"/>
            <a:chExt cx="940327" cy="4279900"/>
          </a:xfrm>
          <a:solidFill>
            <a:schemeClr val="accent2"/>
          </a:solidFill>
        </p:grpSpPr>
        <p:grpSp>
          <p:nvGrpSpPr>
            <p:cNvPr id="885" name="Groep 884">
              <a:extLst>
                <a:ext uri="{FF2B5EF4-FFF2-40B4-BE49-F238E27FC236}">
                  <a16:creationId xmlns:a16="http://schemas.microsoft.com/office/drawing/2014/main" id="{EA320540-BCEC-9428-70EC-34E25BA539D6}"/>
                </a:ext>
              </a:extLst>
            </p:cNvPr>
            <p:cNvGrpSpPr/>
            <p:nvPr/>
          </p:nvGrpSpPr>
          <p:grpSpPr>
            <a:xfrm>
              <a:off x="7139131" y="533400"/>
              <a:ext cx="289443" cy="248100"/>
              <a:chOff x="5696016" y="3086100"/>
              <a:chExt cx="800080" cy="685799"/>
            </a:xfrm>
            <a:grpFill/>
          </p:grpSpPr>
          <p:sp>
            <p:nvSpPr>
              <p:cNvPr id="1009" name="Vrije vorm: vorm 1008">
                <a:extLst>
                  <a:ext uri="{FF2B5EF4-FFF2-40B4-BE49-F238E27FC236}">
                    <a16:creationId xmlns:a16="http://schemas.microsoft.com/office/drawing/2014/main" id="{4CD32B32-50CB-AF79-7462-63BCAB3960A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10" name="Vrije vorm: vorm 1009">
                <a:extLst>
                  <a:ext uri="{FF2B5EF4-FFF2-40B4-BE49-F238E27FC236}">
                    <a16:creationId xmlns:a16="http://schemas.microsoft.com/office/drawing/2014/main" id="{67535CC2-B144-2605-A79C-6AE14DD8084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6" name="Groep 885">
              <a:extLst>
                <a:ext uri="{FF2B5EF4-FFF2-40B4-BE49-F238E27FC236}">
                  <a16:creationId xmlns:a16="http://schemas.microsoft.com/office/drawing/2014/main" id="{4207EB51-8347-918C-0AD4-F2EEB53F36A1}"/>
                </a:ext>
              </a:extLst>
            </p:cNvPr>
            <p:cNvGrpSpPr/>
            <p:nvPr/>
          </p:nvGrpSpPr>
          <p:grpSpPr>
            <a:xfrm>
              <a:off x="7461619" y="533400"/>
              <a:ext cx="289443" cy="248100"/>
              <a:chOff x="5696016" y="3086100"/>
              <a:chExt cx="800080" cy="685799"/>
            </a:xfrm>
            <a:grpFill/>
          </p:grpSpPr>
          <p:sp>
            <p:nvSpPr>
              <p:cNvPr id="1007" name="Vrije vorm: vorm 1006">
                <a:extLst>
                  <a:ext uri="{FF2B5EF4-FFF2-40B4-BE49-F238E27FC236}">
                    <a16:creationId xmlns:a16="http://schemas.microsoft.com/office/drawing/2014/main" id="{E9909EDA-A95F-49BA-972F-42527711165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8" name="Vrije vorm: vorm 1007">
                <a:extLst>
                  <a:ext uri="{FF2B5EF4-FFF2-40B4-BE49-F238E27FC236}">
                    <a16:creationId xmlns:a16="http://schemas.microsoft.com/office/drawing/2014/main" id="{FD62713B-F4BB-9F0E-47DF-BFADFFDFBF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7" name="Groep 886">
              <a:extLst>
                <a:ext uri="{FF2B5EF4-FFF2-40B4-BE49-F238E27FC236}">
                  <a16:creationId xmlns:a16="http://schemas.microsoft.com/office/drawing/2014/main" id="{7F1695CE-D100-58C0-D030-773FF6A9005D}"/>
                </a:ext>
              </a:extLst>
            </p:cNvPr>
            <p:cNvGrpSpPr/>
            <p:nvPr/>
          </p:nvGrpSpPr>
          <p:grpSpPr>
            <a:xfrm>
              <a:off x="7784107" y="533400"/>
              <a:ext cx="289443" cy="248100"/>
              <a:chOff x="5696016" y="3086100"/>
              <a:chExt cx="800080" cy="685799"/>
            </a:xfrm>
            <a:grpFill/>
          </p:grpSpPr>
          <p:sp>
            <p:nvSpPr>
              <p:cNvPr id="1005" name="Vrije vorm: vorm 1004">
                <a:extLst>
                  <a:ext uri="{FF2B5EF4-FFF2-40B4-BE49-F238E27FC236}">
                    <a16:creationId xmlns:a16="http://schemas.microsoft.com/office/drawing/2014/main" id="{DAC6000A-4E70-92DF-68D6-4E802EBDA88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6" name="Vrije vorm: vorm 1005">
                <a:extLst>
                  <a:ext uri="{FF2B5EF4-FFF2-40B4-BE49-F238E27FC236}">
                    <a16:creationId xmlns:a16="http://schemas.microsoft.com/office/drawing/2014/main" id="{135EBC76-4B2F-9BD9-BA8A-3F0F0175A6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8" name="Groep 887">
              <a:extLst>
                <a:ext uri="{FF2B5EF4-FFF2-40B4-BE49-F238E27FC236}">
                  <a16:creationId xmlns:a16="http://schemas.microsoft.com/office/drawing/2014/main" id="{D4BDB15D-BF26-1C69-529F-172EF4602441}"/>
                </a:ext>
              </a:extLst>
            </p:cNvPr>
            <p:cNvGrpSpPr/>
            <p:nvPr/>
          </p:nvGrpSpPr>
          <p:grpSpPr>
            <a:xfrm>
              <a:off x="7139131" y="843417"/>
              <a:ext cx="289443" cy="248100"/>
              <a:chOff x="5696016" y="3086100"/>
              <a:chExt cx="800080" cy="685799"/>
            </a:xfrm>
            <a:grpFill/>
          </p:grpSpPr>
          <p:sp>
            <p:nvSpPr>
              <p:cNvPr id="1003" name="Vrije vorm: vorm 1002">
                <a:extLst>
                  <a:ext uri="{FF2B5EF4-FFF2-40B4-BE49-F238E27FC236}">
                    <a16:creationId xmlns:a16="http://schemas.microsoft.com/office/drawing/2014/main" id="{A0C431DD-9877-85A2-9A3F-46BEE3947DB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4" name="Vrije vorm: vorm 1003">
                <a:extLst>
                  <a:ext uri="{FF2B5EF4-FFF2-40B4-BE49-F238E27FC236}">
                    <a16:creationId xmlns:a16="http://schemas.microsoft.com/office/drawing/2014/main" id="{AFB55A97-64AB-3F00-6560-4C501DE9442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89" name="Groep 888">
              <a:extLst>
                <a:ext uri="{FF2B5EF4-FFF2-40B4-BE49-F238E27FC236}">
                  <a16:creationId xmlns:a16="http://schemas.microsoft.com/office/drawing/2014/main" id="{0DA5669F-B291-564C-1D43-774E3E7D913D}"/>
                </a:ext>
              </a:extLst>
            </p:cNvPr>
            <p:cNvGrpSpPr/>
            <p:nvPr/>
          </p:nvGrpSpPr>
          <p:grpSpPr>
            <a:xfrm>
              <a:off x="7461619" y="843417"/>
              <a:ext cx="289443" cy="248100"/>
              <a:chOff x="5696016" y="3086100"/>
              <a:chExt cx="800080" cy="685799"/>
            </a:xfrm>
            <a:grpFill/>
          </p:grpSpPr>
          <p:sp>
            <p:nvSpPr>
              <p:cNvPr id="1001" name="Vrije vorm: vorm 1000">
                <a:extLst>
                  <a:ext uri="{FF2B5EF4-FFF2-40B4-BE49-F238E27FC236}">
                    <a16:creationId xmlns:a16="http://schemas.microsoft.com/office/drawing/2014/main" id="{0871F5B5-7EF3-70F1-11EB-C15FCD3161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2" name="Vrije vorm: vorm 1001">
                <a:extLst>
                  <a:ext uri="{FF2B5EF4-FFF2-40B4-BE49-F238E27FC236}">
                    <a16:creationId xmlns:a16="http://schemas.microsoft.com/office/drawing/2014/main" id="{B88C1E68-4A3D-2467-8A6E-3DF34F0C5E7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0" name="Groep 889">
              <a:extLst>
                <a:ext uri="{FF2B5EF4-FFF2-40B4-BE49-F238E27FC236}">
                  <a16:creationId xmlns:a16="http://schemas.microsoft.com/office/drawing/2014/main" id="{FBA4C61B-50EA-2CF7-419E-4DE40CDF7F18}"/>
                </a:ext>
              </a:extLst>
            </p:cNvPr>
            <p:cNvGrpSpPr/>
            <p:nvPr/>
          </p:nvGrpSpPr>
          <p:grpSpPr>
            <a:xfrm>
              <a:off x="7784107" y="843417"/>
              <a:ext cx="289443" cy="248100"/>
              <a:chOff x="5696016" y="3086100"/>
              <a:chExt cx="800080" cy="685799"/>
            </a:xfrm>
            <a:grpFill/>
          </p:grpSpPr>
          <p:sp>
            <p:nvSpPr>
              <p:cNvPr id="999" name="Vrije vorm: vorm 998">
                <a:extLst>
                  <a:ext uri="{FF2B5EF4-FFF2-40B4-BE49-F238E27FC236}">
                    <a16:creationId xmlns:a16="http://schemas.microsoft.com/office/drawing/2014/main" id="{C03A505D-3240-9DEC-C1F6-8EB2D5D5B23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00" name="Vrije vorm: vorm 999">
                <a:extLst>
                  <a:ext uri="{FF2B5EF4-FFF2-40B4-BE49-F238E27FC236}">
                    <a16:creationId xmlns:a16="http://schemas.microsoft.com/office/drawing/2014/main" id="{C6FE8B04-AE53-2533-5323-F1B036E5620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1" name="Groep 890">
              <a:extLst>
                <a:ext uri="{FF2B5EF4-FFF2-40B4-BE49-F238E27FC236}">
                  <a16:creationId xmlns:a16="http://schemas.microsoft.com/office/drawing/2014/main" id="{48F504E4-B862-1F8F-28A6-2BE144DB4612}"/>
                </a:ext>
              </a:extLst>
            </p:cNvPr>
            <p:cNvGrpSpPr/>
            <p:nvPr/>
          </p:nvGrpSpPr>
          <p:grpSpPr>
            <a:xfrm>
              <a:off x="7139131" y="1153435"/>
              <a:ext cx="289443" cy="248100"/>
              <a:chOff x="5696016" y="3086100"/>
              <a:chExt cx="800080" cy="685799"/>
            </a:xfrm>
            <a:grpFill/>
          </p:grpSpPr>
          <p:sp>
            <p:nvSpPr>
              <p:cNvPr id="997" name="Vrije vorm: vorm 996">
                <a:extLst>
                  <a:ext uri="{FF2B5EF4-FFF2-40B4-BE49-F238E27FC236}">
                    <a16:creationId xmlns:a16="http://schemas.microsoft.com/office/drawing/2014/main" id="{B245C8EA-37EB-9B59-46D2-B3EE76D53AA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8" name="Vrije vorm: vorm 997">
                <a:extLst>
                  <a:ext uri="{FF2B5EF4-FFF2-40B4-BE49-F238E27FC236}">
                    <a16:creationId xmlns:a16="http://schemas.microsoft.com/office/drawing/2014/main" id="{787C68C0-D6C0-9DCC-DEAA-5F556E163D2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2" name="Groep 891">
              <a:extLst>
                <a:ext uri="{FF2B5EF4-FFF2-40B4-BE49-F238E27FC236}">
                  <a16:creationId xmlns:a16="http://schemas.microsoft.com/office/drawing/2014/main" id="{32D1AEB3-67A4-39CD-5F32-BE408B786859}"/>
                </a:ext>
              </a:extLst>
            </p:cNvPr>
            <p:cNvGrpSpPr/>
            <p:nvPr/>
          </p:nvGrpSpPr>
          <p:grpSpPr>
            <a:xfrm>
              <a:off x="7461619" y="1153435"/>
              <a:ext cx="289443" cy="248100"/>
              <a:chOff x="5696016" y="3086100"/>
              <a:chExt cx="800080" cy="685799"/>
            </a:xfrm>
            <a:grpFill/>
          </p:grpSpPr>
          <p:sp>
            <p:nvSpPr>
              <p:cNvPr id="995" name="Vrije vorm: vorm 994">
                <a:extLst>
                  <a:ext uri="{FF2B5EF4-FFF2-40B4-BE49-F238E27FC236}">
                    <a16:creationId xmlns:a16="http://schemas.microsoft.com/office/drawing/2014/main" id="{815BFA54-3736-2212-E1ED-5CDD274FC4F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6" name="Vrije vorm: vorm 995">
                <a:extLst>
                  <a:ext uri="{FF2B5EF4-FFF2-40B4-BE49-F238E27FC236}">
                    <a16:creationId xmlns:a16="http://schemas.microsoft.com/office/drawing/2014/main" id="{6390A268-54AB-46D1-EC54-A6818992115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3" name="Groep 892">
              <a:extLst>
                <a:ext uri="{FF2B5EF4-FFF2-40B4-BE49-F238E27FC236}">
                  <a16:creationId xmlns:a16="http://schemas.microsoft.com/office/drawing/2014/main" id="{764CEC78-91EA-B914-B6D6-2B2C9A2CB86F}"/>
                </a:ext>
              </a:extLst>
            </p:cNvPr>
            <p:cNvGrpSpPr/>
            <p:nvPr/>
          </p:nvGrpSpPr>
          <p:grpSpPr>
            <a:xfrm>
              <a:off x="7784107" y="1153435"/>
              <a:ext cx="289443" cy="248100"/>
              <a:chOff x="5696016" y="3086100"/>
              <a:chExt cx="800080" cy="685799"/>
            </a:xfrm>
            <a:grpFill/>
          </p:grpSpPr>
          <p:sp>
            <p:nvSpPr>
              <p:cNvPr id="993" name="Vrije vorm: vorm 992">
                <a:extLst>
                  <a:ext uri="{FF2B5EF4-FFF2-40B4-BE49-F238E27FC236}">
                    <a16:creationId xmlns:a16="http://schemas.microsoft.com/office/drawing/2014/main" id="{1DA0D227-DC56-FE93-8604-0976C72D66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4" name="Vrije vorm: vorm 993">
                <a:extLst>
                  <a:ext uri="{FF2B5EF4-FFF2-40B4-BE49-F238E27FC236}">
                    <a16:creationId xmlns:a16="http://schemas.microsoft.com/office/drawing/2014/main" id="{170DD0F0-A520-6D12-2149-EDF19E2CFDC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4" name="Groep 893">
              <a:extLst>
                <a:ext uri="{FF2B5EF4-FFF2-40B4-BE49-F238E27FC236}">
                  <a16:creationId xmlns:a16="http://schemas.microsoft.com/office/drawing/2014/main" id="{D4FF4017-E427-8852-2E03-1D8AAEB51897}"/>
                </a:ext>
              </a:extLst>
            </p:cNvPr>
            <p:cNvGrpSpPr/>
            <p:nvPr/>
          </p:nvGrpSpPr>
          <p:grpSpPr>
            <a:xfrm>
              <a:off x="7139131" y="1463451"/>
              <a:ext cx="289443" cy="248100"/>
              <a:chOff x="5696016" y="3086100"/>
              <a:chExt cx="800080" cy="685799"/>
            </a:xfrm>
            <a:grpFill/>
          </p:grpSpPr>
          <p:sp>
            <p:nvSpPr>
              <p:cNvPr id="991" name="Vrije vorm: vorm 990">
                <a:extLst>
                  <a:ext uri="{FF2B5EF4-FFF2-40B4-BE49-F238E27FC236}">
                    <a16:creationId xmlns:a16="http://schemas.microsoft.com/office/drawing/2014/main" id="{E78C36AC-A2E3-C5B5-4C93-1325E8ADE09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2" name="Vrije vorm: vorm 991">
                <a:extLst>
                  <a:ext uri="{FF2B5EF4-FFF2-40B4-BE49-F238E27FC236}">
                    <a16:creationId xmlns:a16="http://schemas.microsoft.com/office/drawing/2014/main" id="{32B470F2-2DBE-320A-423A-6280A1E72D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5" name="Groep 894">
              <a:extLst>
                <a:ext uri="{FF2B5EF4-FFF2-40B4-BE49-F238E27FC236}">
                  <a16:creationId xmlns:a16="http://schemas.microsoft.com/office/drawing/2014/main" id="{9732A905-7671-B1E7-4D42-6CAAB45B0B78}"/>
                </a:ext>
              </a:extLst>
            </p:cNvPr>
            <p:cNvGrpSpPr/>
            <p:nvPr/>
          </p:nvGrpSpPr>
          <p:grpSpPr>
            <a:xfrm>
              <a:off x="7461619" y="1463451"/>
              <a:ext cx="289443" cy="248100"/>
              <a:chOff x="5696016" y="3086100"/>
              <a:chExt cx="800080" cy="685799"/>
            </a:xfrm>
            <a:grpFill/>
          </p:grpSpPr>
          <p:sp>
            <p:nvSpPr>
              <p:cNvPr id="989" name="Vrije vorm: vorm 988">
                <a:extLst>
                  <a:ext uri="{FF2B5EF4-FFF2-40B4-BE49-F238E27FC236}">
                    <a16:creationId xmlns:a16="http://schemas.microsoft.com/office/drawing/2014/main" id="{E3EBBB07-09F7-AB03-66DA-3C512B30C26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90" name="Vrije vorm: vorm 989">
                <a:extLst>
                  <a:ext uri="{FF2B5EF4-FFF2-40B4-BE49-F238E27FC236}">
                    <a16:creationId xmlns:a16="http://schemas.microsoft.com/office/drawing/2014/main" id="{B75D4583-F394-2118-90A1-F2AA7376D59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6" name="Groep 895">
              <a:extLst>
                <a:ext uri="{FF2B5EF4-FFF2-40B4-BE49-F238E27FC236}">
                  <a16:creationId xmlns:a16="http://schemas.microsoft.com/office/drawing/2014/main" id="{1D1500A8-C7FF-9500-68A1-5D07301C32B0}"/>
                </a:ext>
              </a:extLst>
            </p:cNvPr>
            <p:cNvGrpSpPr/>
            <p:nvPr/>
          </p:nvGrpSpPr>
          <p:grpSpPr>
            <a:xfrm>
              <a:off x="7784107" y="1463451"/>
              <a:ext cx="289443" cy="248100"/>
              <a:chOff x="5696016" y="3086100"/>
              <a:chExt cx="800080" cy="685799"/>
            </a:xfrm>
            <a:grpFill/>
          </p:grpSpPr>
          <p:sp>
            <p:nvSpPr>
              <p:cNvPr id="987" name="Vrije vorm: vorm 986">
                <a:extLst>
                  <a:ext uri="{FF2B5EF4-FFF2-40B4-BE49-F238E27FC236}">
                    <a16:creationId xmlns:a16="http://schemas.microsoft.com/office/drawing/2014/main" id="{CA32AFAF-B5D7-27C8-4BD3-6FAC2918ED1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8" name="Vrije vorm: vorm 987">
                <a:extLst>
                  <a:ext uri="{FF2B5EF4-FFF2-40B4-BE49-F238E27FC236}">
                    <a16:creationId xmlns:a16="http://schemas.microsoft.com/office/drawing/2014/main" id="{7BA81927-D6D5-1B4A-3269-59BD007A0C7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7" name="Groep 896">
              <a:extLst>
                <a:ext uri="{FF2B5EF4-FFF2-40B4-BE49-F238E27FC236}">
                  <a16:creationId xmlns:a16="http://schemas.microsoft.com/office/drawing/2014/main" id="{8FE10FAE-AFBC-4E4E-E182-4F712F6EEC6B}"/>
                </a:ext>
              </a:extLst>
            </p:cNvPr>
            <p:cNvGrpSpPr/>
            <p:nvPr/>
          </p:nvGrpSpPr>
          <p:grpSpPr>
            <a:xfrm>
              <a:off x="7139131" y="1773467"/>
              <a:ext cx="289443" cy="248100"/>
              <a:chOff x="5696016" y="3086100"/>
              <a:chExt cx="800080" cy="685799"/>
            </a:xfrm>
            <a:grpFill/>
          </p:grpSpPr>
          <p:sp>
            <p:nvSpPr>
              <p:cNvPr id="985" name="Vrije vorm: vorm 984">
                <a:extLst>
                  <a:ext uri="{FF2B5EF4-FFF2-40B4-BE49-F238E27FC236}">
                    <a16:creationId xmlns:a16="http://schemas.microsoft.com/office/drawing/2014/main" id="{B6D204FC-ADEA-3175-0A16-2FE81239D4B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6" name="Vrije vorm: vorm 985">
                <a:extLst>
                  <a:ext uri="{FF2B5EF4-FFF2-40B4-BE49-F238E27FC236}">
                    <a16:creationId xmlns:a16="http://schemas.microsoft.com/office/drawing/2014/main" id="{F7850505-699A-B3F3-8CEB-8407119D998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8" name="Groep 897">
              <a:extLst>
                <a:ext uri="{FF2B5EF4-FFF2-40B4-BE49-F238E27FC236}">
                  <a16:creationId xmlns:a16="http://schemas.microsoft.com/office/drawing/2014/main" id="{A5F6A505-2A4A-E183-AD2C-D243FB06E377}"/>
                </a:ext>
              </a:extLst>
            </p:cNvPr>
            <p:cNvGrpSpPr/>
            <p:nvPr/>
          </p:nvGrpSpPr>
          <p:grpSpPr>
            <a:xfrm>
              <a:off x="7461619" y="1773467"/>
              <a:ext cx="289443" cy="248100"/>
              <a:chOff x="5696016" y="3086100"/>
              <a:chExt cx="800080" cy="685799"/>
            </a:xfrm>
            <a:grpFill/>
          </p:grpSpPr>
          <p:sp>
            <p:nvSpPr>
              <p:cNvPr id="983" name="Vrije vorm: vorm 982">
                <a:extLst>
                  <a:ext uri="{FF2B5EF4-FFF2-40B4-BE49-F238E27FC236}">
                    <a16:creationId xmlns:a16="http://schemas.microsoft.com/office/drawing/2014/main" id="{4B2D09A0-D11A-1DE6-E932-A58370763A4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4" name="Vrije vorm: vorm 983">
                <a:extLst>
                  <a:ext uri="{FF2B5EF4-FFF2-40B4-BE49-F238E27FC236}">
                    <a16:creationId xmlns:a16="http://schemas.microsoft.com/office/drawing/2014/main" id="{5E2FDDF9-FB47-3336-8DEC-579F950C726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899" name="Groep 898">
              <a:extLst>
                <a:ext uri="{FF2B5EF4-FFF2-40B4-BE49-F238E27FC236}">
                  <a16:creationId xmlns:a16="http://schemas.microsoft.com/office/drawing/2014/main" id="{917A45AC-52F3-3E25-5265-517766C47B27}"/>
                </a:ext>
              </a:extLst>
            </p:cNvPr>
            <p:cNvGrpSpPr/>
            <p:nvPr/>
          </p:nvGrpSpPr>
          <p:grpSpPr>
            <a:xfrm>
              <a:off x="7784107" y="1773467"/>
              <a:ext cx="289443" cy="248100"/>
              <a:chOff x="5696016" y="3086100"/>
              <a:chExt cx="800080" cy="685799"/>
            </a:xfrm>
            <a:grpFill/>
          </p:grpSpPr>
          <p:sp>
            <p:nvSpPr>
              <p:cNvPr id="981" name="Vrije vorm: vorm 980">
                <a:extLst>
                  <a:ext uri="{FF2B5EF4-FFF2-40B4-BE49-F238E27FC236}">
                    <a16:creationId xmlns:a16="http://schemas.microsoft.com/office/drawing/2014/main" id="{84185B24-8C5E-4930-9641-0CF235ADEE2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2" name="Vrije vorm: vorm 981">
                <a:extLst>
                  <a:ext uri="{FF2B5EF4-FFF2-40B4-BE49-F238E27FC236}">
                    <a16:creationId xmlns:a16="http://schemas.microsoft.com/office/drawing/2014/main" id="{85C56EFF-AB02-2295-A4B9-FC57F249AB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0" name="Groep 899">
              <a:extLst>
                <a:ext uri="{FF2B5EF4-FFF2-40B4-BE49-F238E27FC236}">
                  <a16:creationId xmlns:a16="http://schemas.microsoft.com/office/drawing/2014/main" id="{97898D0D-C4E6-D1BD-73CE-15EFCF5EE5DF}"/>
                </a:ext>
              </a:extLst>
            </p:cNvPr>
            <p:cNvGrpSpPr/>
            <p:nvPr/>
          </p:nvGrpSpPr>
          <p:grpSpPr>
            <a:xfrm>
              <a:off x="7139131" y="2083483"/>
              <a:ext cx="289443" cy="248100"/>
              <a:chOff x="5696016" y="3086100"/>
              <a:chExt cx="800080" cy="685799"/>
            </a:xfrm>
            <a:grpFill/>
          </p:grpSpPr>
          <p:sp>
            <p:nvSpPr>
              <p:cNvPr id="979" name="Vrije vorm: vorm 978">
                <a:extLst>
                  <a:ext uri="{FF2B5EF4-FFF2-40B4-BE49-F238E27FC236}">
                    <a16:creationId xmlns:a16="http://schemas.microsoft.com/office/drawing/2014/main" id="{B3EE656A-0225-7984-1DEC-7C1E9E3AE33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80" name="Vrije vorm: vorm 979">
                <a:extLst>
                  <a:ext uri="{FF2B5EF4-FFF2-40B4-BE49-F238E27FC236}">
                    <a16:creationId xmlns:a16="http://schemas.microsoft.com/office/drawing/2014/main" id="{B87EE1B7-700C-F8CB-05CD-8C3104D0E2C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1" name="Groep 900">
              <a:extLst>
                <a:ext uri="{FF2B5EF4-FFF2-40B4-BE49-F238E27FC236}">
                  <a16:creationId xmlns:a16="http://schemas.microsoft.com/office/drawing/2014/main" id="{1FDCE8EB-4335-6FBC-8EB5-DDA1985E87D0}"/>
                </a:ext>
              </a:extLst>
            </p:cNvPr>
            <p:cNvGrpSpPr/>
            <p:nvPr/>
          </p:nvGrpSpPr>
          <p:grpSpPr>
            <a:xfrm>
              <a:off x="7461619" y="2083483"/>
              <a:ext cx="289443" cy="248100"/>
              <a:chOff x="5696016" y="3086100"/>
              <a:chExt cx="800080" cy="685799"/>
            </a:xfrm>
            <a:grpFill/>
          </p:grpSpPr>
          <p:sp>
            <p:nvSpPr>
              <p:cNvPr id="977" name="Vrije vorm: vorm 976">
                <a:extLst>
                  <a:ext uri="{FF2B5EF4-FFF2-40B4-BE49-F238E27FC236}">
                    <a16:creationId xmlns:a16="http://schemas.microsoft.com/office/drawing/2014/main" id="{8193BAC1-4993-6905-5CF6-D51486E1DAA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8" name="Vrije vorm: vorm 977">
                <a:extLst>
                  <a:ext uri="{FF2B5EF4-FFF2-40B4-BE49-F238E27FC236}">
                    <a16:creationId xmlns:a16="http://schemas.microsoft.com/office/drawing/2014/main" id="{8DC3C038-BDAE-8824-62E3-DBF9E5E2B6A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2" name="Groep 901">
              <a:extLst>
                <a:ext uri="{FF2B5EF4-FFF2-40B4-BE49-F238E27FC236}">
                  <a16:creationId xmlns:a16="http://schemas.microsoft.com/office/drawing/2014/main" id="{6BD35FB7-2D14-2381-E896-0F9E66D421A6}"/>
                </a:ext>
              </a:extLst>
            </p:cNvPr>
            <p:cNvGrpSpPr/>
            <p:nvPr/>
          </p:nvGrpSpPr>
          <p:grpSpPr>
            <a:xfrm>
              <a:off x="7784107" y="2083483"/>
              <a:ext cx="289443" cy="248100"/>
              <a:chOff x="5696016" y="3086100"/>
              <a:chExt cx="800080" cy="685799"/>
            </a:xfrm>
            <a:grpFill/>
          </p:grpSpPr>
          <p:sp>
            <p:nvSpPr>
              <p:cNvPr id="975" name="Vrije vorm: vorm 974">
                <a:extLst>
                  <a:ext uri="{FF2B5EF4-FFF2-40B4-BE49-F238E27FC236}">
                    <a16:creationId xmlns:a16="http://schemas.microsoft.com/office/drawing/2014/main" id="{1003E0D4-FD64-9C03-9B8A-D33C73EF086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6" name="Vrije vorm: vorm 975">
                <a:extLst>
                  <a:ext uri="{FF2B5EF4-FFF2-40B4-BE49-F238E27FC236}">
                    <a16:creationId xmlns:a16="http://schemas.microsoft.com/office/drawing/2014/main" id="{166306A4-0423-4630-E682-7F0541011ED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3" name="Groep 902">
              <a:extLst>
                <a:ext uri="{FF2B5EF4-FFF2-40B4-BE49-F238E27FC236}">
                  <a16:creationId xmlns:a16="http://schemas.microsoft.com/office/drawing/2014/main" id="{D8B80BE5-3A47-8BE1-37FA-C550BDDC1ECC}"/>
                </a:ext>
              </a:extLst>
            </p:cNvPr>
            <p:cNvGrpSpPr/>
            <p:nvPr/>
          </p:nvGrpSpPr>
          <p:grpSpPr>
            <a:xfrm>
              <a:off x="7139131" y="2393500"/>
              <a:ext cx="289443" cy="248100"/>
              <a:chOff x="5696016" y="3086100"/>
              <a:chExt cx="800080" cy="685799"/>
            </a:xfrm>
            <a:grpFill/>
          </p:grpSpPr>
          <p:sp>
            <p:nvSpPr>
              <p:cNvPr id="973" name="Vrije vorm: vorm 972">
                <a:extLst>
                  <a:ext uri="{FF2B5EF4-FFF2-40B4-BE49-F238E27FC236}">
                    <a16:creationId xmlns:a16="http://schemas.microsoft.com/office/drawing/2014/main" id="{2CE6ED8E-8CDB-E39A-8746-691C472DB2A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4" name="Vrije vorm: vorm 973">
                <a:extLst>
                  <a:ext uri="{FF2B5EF4-FFF2-40B4-BE49-F238E27FC236}">
                    <a16:creationId xmlns:a16="http://schemas.microsoft.com/office/drawing/2014/main" id="{B89204E6-CA9F-D3BB-A2E8-407A4A83CBE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4" name="Groep 903">
              <a:extLst>
                <a:ext uri="{FF2B5EF4-FFF2-40B4-BE49-F238E27FC236}">
                  <a16:creationId xmlns:a16="http://schemas.microsoft.com/office/drawing/2014/main" id="{6D175359-9A4D-2E33-7E80-FFA7EFDEBEB7}"/>
                </a:ext>
              </a:extLst>
            </p:cNvPr>
            <p:cNvGrpSpPr/>
            <p:nvPr/>
          </p:nvGrpSpPr>
          <p:grpSpPr>
            <a:xfrm>
              <a:off x="7461619" y="2393500"/>
              <a:ext cx="289443" cy="248100"/>
              <a:chOff x="5696016" y="3086100"/>
              <a:chExt cx="800080" cy="685799"/>
            </a:xfrm>
            <a:grpFill/>
          </p:grpSpPr>
          <p:sp>
            <p:nvSpPr>
              <p:cNvPr id="971" name="Vrije vorm: vorm 970">
                <a:extLst>
                  <a:ext uri="{FF2B5EF4-FFF2-40B4-BE49-F238E27FC236}">
                    <a16:creationId xmlns:a16="http://schemas.microsoft.com/office/drawing/2014/main" id="{D63F08B2-DA67-D713-91F9-9CD5BF11DD1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2" name="Vrije vorm: vorm 971">
                <a:extLst>
                  <a:ext uri="{FF2B5EF4-FFF2-40B4-BE49-F238E27FC236}">
                    <a16:creationId xmlns:a16="http://schemas.microsoft.com/office/drawing/2014/main" id="{B0ABA6D1-2CA1-4DA0-866C-7D9CC7A4986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5" name="Groep 904">
              <a:extLst>
                <a:ext uri="{FF2B5EF4-FFF2-40B4-BE49-F238E27FC236}">
                  <a16:creationId xmlns:a16="http://schemas.microsoft.com/office/drawing/2014/main" id="{3C1C6C9D-0997-9EFA-84BE-484B4D9B5C65}"/>
                </a:ext>
              </a:extLst>
            </p:cNvPr>
            <p:cNvGrpSpPr/>
            <p:nvPr/>
          </p:nvGrpSpPr>
          <p:grpSpPr>
            <a:xfrm>
              <a:off x="7784107" y="2393500"/>
              <a:ext cx="289443" cy="248100"/>
              <a:chOff x="5696016" y="3086100"/>
              <a:chExt cx="800080" cy="685799"/>
            </a:xfrm>
            <a:grpFill/>
          </p:grpSpPr>
          <p:sp>
            <p:nvSpPr>
              <p:cNvPr id="969" name="Vrije vorm: vorm 968">
                <a:extLst>
                  <a:ext uri="{FF2B5EF4-FFF2-40B4-BE49-F238E27FC236}">
                    <a16:creationId xmlns:a16="http://schemas.microsoft.com/office/drawing/2014/main" id="{9740FFF5-A5CB-474E-850C-AAE8C6A6CC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70" name="Vrije vorm: vorm 969">
                <a:extLst>
                  <a:ext uri="{FF2B5EF4-FFF2-40B4-BE49-F238E27FC236}">
                    <a16:creationId xmlns:a16="http://schemas.microsoft.com/office/drawing/2014/main" id="{26803EFD-23F6-E79D-8EBE-52CDD035823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6" name="Groep 905">
              <a:extLst>
                <a:ext uri="{FF2B5EF4-FFF2-40B4-BE49-F238E27FC236}">
                  <a16:creationId xmlns:a16="http://schemas.microsoft.com/office/drawing/2014/main" id="{C44C95C0-2450-1CE1-A457-9853E600F2D0}"/>
                </a:ext>
              </a:extLst>
            </p:cNvPr>
            <p:cNvGrpSpPr/>
            <p:nvPr/>
          </p:nvGrpSpPr>
          <p:grpSpPr>
            <a:xfrm>
              <a:off x="7133223" y="2705100"/>
              <a:ext cx="289443" cy="248100"/>
              <a:chOff x="5696016" y="3086100"/>
              <a:chExt cx="800080" cy="685799"/>
            </a:xfrm>
            <a:grpFill/>
          </p:grpSpPr>
          <p:sp>
            <p:nvSpPr>
              <p:cNvPr id="967" name="Vrije vorm: vorm 966">
                <a:extLst>
                  <a:ext uri="{FF2B5EF4-FFF2-40B4-BE49-F238E27FC236}">
                    <a16:creationId xmlns:a16="http://schemas.microsoft.com/office/drawing/2014/main" id="{B78E1595-6209-964F-3D6E-A2CAFF5A3E0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8" name="Vrije vorm: vorm 967">
                <a:extLst>
                  <a:ext uri="{FF2B5EF4-FFF2-40B4-BE49-F238E27FC236}">
                    <a16:creationId xmlns:a16="http://schemas.microsoft.com/office/drawing/2014/main" id="{58A1CF41-6EB6-A89F-A416-34EFB8DDA59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7" name="Groep 906">
              <a:extLst>
                <a:ext uri="{FF2B5EF4-FFF2-40B4-BE49-F238E27FC236}">
                  <a16:creationId xmlns:a16="http://schemas.microsoft.com/office/drawing/2014/main" id="{CF8AFF29-B135-51EE-D20C-551E7B0C0670}"/>
                </a:ext>
              </a:extLst>
            </p:cNvPr>
            <p:cNvGrpSpPr/>
            <p:nvPr/>
          </p:nvGrpSpPr>
          <p:grpSpPr>
            <a:xfrm>
              <a:off x="7455711" y="2705100"/>
              <a:ext cx="289443" cy="248100"/>
              <a:chOff x="5696016" y="3086100"/>
              <a:chExt cx="800080" cy="685799"/>
            </a:xfrm>
            <a:grpFill/>
          </p:grpSpPr>
          <p:sp>
            <p:nvSpPr>
              <p:cNvPr id="965" name="Vrije vorm: vorm 964">
                <a:extLst>
                  <a:ext uri="{FF2B5EF4-FFF2-40B4-BE49-F238E27FC236}">
                    <a16:creationId xmlns:a16="http://schemas.microsoft.com/office/drawing/2014/main" id="{264E3941-B7A3-5527-2F3E-4A86E09CE6C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6" name="Vrije vorm: vorm 965">
                <a:extLst>
                  <a:ext uri="{FF2B5EF4-FFF2-40B4-BE49-F238E27FC236}">
                    <a16:creationId xmlns:a16="http://schemas.microsoft.com/office/drawing/2014/main" id="{93CAC425-6FEC-63D9-41AB-85190EDD73C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8" name="Groep 907">
              <a:extLst>
                <a:ext uri="{FF2B5EF4-FFF2-40B4-BE49-F238E27FC236}">
                  <a16:creationId xmlns:a16="http://schemas.microsoft.com/office/drawing/2014/main" id="{5AEE32DD-800E-FB35-A28F-3586405DCDB6}"/>
                </a:ext>
              </a:extLst>
            </p:cNvPr>
            <p:cNvGrpSpPr/>
            <p:nvPr/>
          </p:nvGrpSpPr>
          <p:grpSpPr>
            <a:xfrm>
              <a:off x="7778199" y="2705100"/>
              <a:ext cx="289443" cy="248100"/>
              <a:chOff x="5696016" y="3086100"/>
              <a:chExt cx="800080" cy="685799"/>
            </a:xfrm>
            <a:grpFill/>
          </p:grpSpPr>
          <p:sp>
            <p:nvSpPr>
              <p:cNvPr id="963" name="Vrije vorm: vorm 962">
                <a:extLst>
                  <a:ext uri="{FF2B5EF4-FFF2-40B4-BE49-F238E27FC236}">
                    <a16:creationId xmlns:a16="http://schemas.microsoft.com/office/drawing/2014/main" id="{8003F624-44A3-32CF-0305-4BAB7BC9BD7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4" name="Vrije vorm: vorm 963">
                <a:extLst>
                  <a:ext uri="{FF2B5EF4-FFF2-40B4-BE49-F238E27FC236}">
                    <a16:creationId xmlns:a16="http://schemas.microsoft.com/office/drawing/2014/main" id="{FB902932-E6E6-70CB-58B7-97321A4B78B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09" name="Groep 908">
              <a:extLst>
                <a:ext uri="{FF2B5EF4-FFF2-40B4-BE49-F238E27FC236}">
                  <a16:creationId xmlns:a16="http://schemas.microsoft.com/office/drawing/2014/main" id="{7A351CA7-D452-BE6E-0EFA-23D6BEE6313B}"/>
                </a:ext>
              </a:extLst>
            </p:cNvPr>
            <p:cNvGrpSpPr/>
            <p:nvPr/>
          </p:nvGrpSpPr>
          <p:grpSpPr>
            <a:xfrm>
              <a:off x="7133223" y="3015117"/>
              <a:ext cx="289443" cy="248100"/>
              <a:chOff x="5696016" y="3086100"/>
              <a:chExt cx="800080" cy="685799"/>
            </a:xfrm>
            <a:grpFill/>
          </p:grpSpPr>
          <p:sp>
            <p:nvSpPr>
              <p:cNvPr id="961" name="Vrije vorm: vorm 960">
                <a:extLst>
                  <a:ext uri="{FF2B5EF4-FFF2-40B4-BE49-F238E27FC236}">
                    <a16:creationId xmlns:a16="http://schemas.microsoft.com/office/drawing/2014/main" id="{82A06260-1AF0-FC26-C711-0BF106CF0B1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2" name="Vrije vorm: vorm 961">
                <a:extLst>
                  <a:ext uri="{FF2B5EF4-FFF2-40B4-BE49-F238E27FC236}">
                    <a16:creationId xmlns:a16="http://schemas.microsoft.com/office/drawing/2014/main" id="{C1FD44BF-27D1-6537-BC96-796B06CB69E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0" name="Groep 909">
              <a:extLst>
                <a:ext uri="{FF2B5EF4-FFF2-40B4-BE49-F238E27FC236}">
                  <a16:creationId xmlns:a16="http://schemas.microsoft.com/office/drawing/2014/main" id="{6C4EB8DF-B04E-9B1D-89D7-312ECC69EEDF}"/>
                </a:ext>
              </a:extLst>
            </p:cNvPr>
            <p:cNvGrpSpPr/>
            <p:nvPr/>
          </p:nvGrpSpPr>
          <p:grpSpPr>
            <a:xfrm>
              <a:off x="7455711" y="3015117"/>
              <a:ext cx="289443" cy="248100"/>
              <a:chOff x="5696016" y="3086100"/>
              <a:chExt cx="800080" cy="685799"/>
            </a:xfrm>
            <a:grpFill/>
          </p:grpSpPr>
          <p:sp>
            <p:nvSpPr>
              <p:cNvPr id="959" name="Vrije vorm: vorm 958">
                <a:extLst>
                  <a:ext uri="{FF2B5EF4-FFF2-40B4-BE49-F238E27FC236}">
                    <a16:creationId xmlns:a16="http://schemas.microsoft.com/office/drawing/2014/main" id="{52F876C6-DF04-904D-5AB8-9702B3EB187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60" name="Vrije vorm: vorm 959">
                <a:extLst>
                  <a:ext uri="{FF2B5EF4-FFF2-40B4-BE49-F238E27FC236}">
                    <a16:creationId xmlns:a16="http://schemas.microsoft.com/office/drawing/2014/main" id="{7E42FC6D-B416-A266-8056-6B6CD61A2D8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1" name="Groep 910">
              <a:extLst>
                <a:ext uri="{FF2B5EF4-FFF2-40B4-BE49-F238E27FC236}">
                  <a16:creationId xmlns:a16="http://schemas.microsoft.com/office/drawing/2014/main" id="{20EFAEBB-5BFC-DFFE-6365-4E1261C7EF48}"/>
                </a:ext>
              </a:extLst>
            </p:cNvPr>
            <p:cNvGrpSpPr/>
            <p:nvPr/>
          </p:nvGrpSpPr>
          <p:grpSpPr>
            <a:xfrm>
              <a:off x="7778199" y="3015117"/>
              <a:ext cx="289443" cy="248100"/>
              <a:chOff x="5696016" y="3086100"/>
              <a:chExt cx="800080" cy="685799"/>
            </a:xfrm>
            <a:grpFill/>
          </p:grpSpPr>
          <p:sp>
            <p:nvSpPr>
              <p:cNvPr id="957" name="Vrije vorm: vorm 956">
                <a:extLst>
                  <a:ext uri="{FF2B5EF4-FFF2-40B4-BE49-F238E27FC236}">
                    <a16:creationId xmlns:a16="http://schemas.microsoft.com/office/drawing/2014/main" id="{F505EFC2-AC14-CC51-47CA-1893C349615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8" name="Vrije vorm: vorm 957">
                <a:extLst>
                  <a:ext uri="{FF2B5EF4-FFF2-40B4-BE49-F238E27FC236}">
                    <a16:creationId xmlns:a16="http://schemas.microsoft.com/office/drawing/2014/main" id="{DCC92245-8E9B-AD0A-BD0D-FE1646E1F96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2" name="Groep 911">
              <a:extLst>
                <a:ext uri="{FF2B5EF4-FFF2-40B4-BE49-F238E27FC236}">
                  <a16:creationId xmlns:a16="http://schemas.microsoft.com/office/drawing/2014/main" id="{089BD56C-2CAB-1BD2-3FC6-ADBE877B9D41}"/>
                </a:ext>
              </a:extLst>
            </p:cNvPr>
            <p:cNvGrpSpPr/>
            <p:nvPr/>
          </p:nvGrpSpPr>
          <p:grpSpPr>
            <a:xfrm>
              <a:off x="7133223" y="3325135"/>
              <a:ext cx="289443" cy="248100"/>
              <a:chOff x="5696016" y="3086100"/>
              <a:chExt cx="800080" cy="685799"/>
            </a:xfrm>
            <a:grpFill/>
          </p:grpSpPr>
          <p:sp>
            <p:nvSpPr>
              <p:cNvPr id="955" name="Vrije vorm: vorm 954">
                <a:extLst>
                  <a:ext uri="{FF2B5EF4-FFF2-40B4-BE49-F238E27FC236}">
                    <a16:creationId xmlns:a16="http://schemas.microsoft.com/office/drawing/2014/main" id="{C1B13B36-7D34-04D8-D824-654D4ED3991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6" name="Vrije vorm: vorm 955">
                <a:extLst>
                  <a:ext uri="{FF2B5EF4-FFF2-40B4-BE49-F238E27FC236}">
                    <a16:creationId xmlns:a16="http://schemas.microsoft.com/office/drawing/2014/main" id="{F03751A2-1E8A-D4EA-A704-1E023D968D3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3" name="Groep 912">
              <a:extLst>
                <a:ext uri="{FF2B5EF4-FFF2-40B4-BE49-F238E27FC236}">
                  <a16:creationId xmlns:a16="http://schemas.microsoft.com/office/drawing/2014/main" id="{E5F497B3-6454-2EFF-85F4-3F6EC9F4A7C8}"/>
                </a:ext>
              </a:extLst>
            </p:cNvPr>
            <p:cNvGrpSpPr/>
            <p:nvPr/>
          </p:nvGrpSpPr>
          <p:grpSpPr>
            <a:xfrm>
              <a:off x="7455711" y="3325135"/>
              <a:ext cx="289443" cy="248100"/>
              <a:chOff x="5696016" y="3086100"/>
              <a:chExt cx="800080" cy="685799"/>
            </a:xfrm>
            <a:grpFill/>
          </p:grpSpPr>
          <p:sp>
            <p:nvSpPr>
              <p:cNvPr id="953" name="Vrije vorm: vorm 952">
                <a:extLst>
                  <a:ext uri="{FF2B5EF4-FFF2-40B4-BE49-F238E27FC236}">
                    <a16:creationId xmlns:a16="http://schemas.microsoft.com/office/drawing/2014/main" id="{3D00D710-11B6-3F8A-1910-C8F7335862D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4" name="Vrije vorm: vorm 953">
                <a:extLst>
                  <a:ext uri="{FF2B5EF4-FFF2-40B4-BE49-F238E27FC236}">
                    <a16:creationId xmlns:a16="http://schemas.microsoft.com/office/drawing/2014/main" id="{5DE6A43B-FD38-F2B2-F9C9-2A7BE59C42F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4" name="Groep 913">
              <a:extLst>
                <a:ext uri="{FF2B5EF4-FFF2-40B4-BE49-F238E27FC236}">
                  <a16:creationId xmlns:a16="http://schemas.microsoft.com/office/drawing/2014/main" id="{2A5EB047-5CB5-8EE8-F8EC-D827F48B1839}"/>
                </a:ext>
              </a:extLst>
            </p:cNvPr>
            <p:cNvGrpSpPr/>
            <p:nvPr/>
          </p:nvGrpSpPr>
          <p:grpSpPr>
            <a:xfrm>
              <a:off x="7778199" y="3325135"/>
              <a:ext cx="289443" cy="248100"/>
              <a:chOff x="5696016" y="3086100"/>
              <a:chExt cx="800080" cy="685799"/>
            </a:xfrm>
            <a:grpFill/>
          </p:grpSpPr>
          <p:sp>
            <p:nvSpPr>
              <p:cNvPr id="951" name="Vrije vorm: vorm 950">
                <a:extLst>
                  <a:ext uri="{FF2B5EF4-FFF2-40B4-BE49-F238E27FC236}">
                    <a16:creationId xmlns:a16="http://schemas.microsoft.com/office/drawing/2014/main" id="{168FAE7F-ACA0-4472-2DE4-39D38E7AFE8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2" name="Vrije vorm: vorm 951">
                <a:extLst>
                  <a:ext uri="{FF2B5EF4-FFF2-40B4-BE49-F238E27FC236}">
                    <a16:creationId xmlns:a16="http://schemas.microsoft.com/office/drawing/2014/main" id="{1A9A2B64-71DF-FF08-6DFB-0C26E0DE8C5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5" name="Groep 914">
              <a:extLst>
                <a:ext uri="{FF2B5EF4-FFF2-40B4-BE49-F238E27FC236}">
                  <a16:creationId xmlns:a16="http://schemas.microsoft.com/office/drawing/2014/main" id="{3E902759-B403-8EB3-3E3B-95608BA4673E}"/>
                </a:ext>
              </a:extLst>
            </p:cNvPr>
            <p:cNvGrpSpPr/>
            <p:nvPr/>
          </p:nvGrpSpPr>
          <p:grpSpPr>
            <a:xfrm>
              <a:off x="7133223" y="3635151"/>
              <a:ext cx="289443" cy="248100"/>
              <a:chOff x="5696016" y="3086100"/>
              <a:chExt cx="800080" cy="685799"/>
            </a:xfrm>
            <a:grpFill/>
          </p:grpSpPr>
          <p:sp>
            <p:nvSpPr>
              <p:cNvPr id="949" name="Vrije vorm: vorm 948">
                <a:extLst>
                  <a:ext uri="{FF2B5EF4-FFF2-40B4-BE49-F238E27FC236}">
                    <a16:creationId xmlns:a16="http://schemas.microsoft.com/office/drawing/2014/main" id="{2FE5371D-8CB3-2DBE-C0EC-FA5F4146644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50" name="Vrije vorm: vorm 949">
                <a:extLst>
                  <a:ext uri="{FF2B5EF4-FFF2-40B4-BE49-F238E27FC236}">
                    <a16:creationId xmlns:a16="http://schemas.microsoft.com/office/drawing/2014/main" id="{59335AA5-99DA-A5CA-6A6A-92AF829DED4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6" name="Groep 915">
              <a:extLst>
                <a:ext uri="{FF2B5EF4-FFF2-40B4-BE49-F238E27FC236}">
                  <a16:creationId xmlns:a16="http://schemas.microsoft.com/office/drawing/2014/main" id="{4E4D4384-8CC1-7880-D6C5-16C020DB2CF5}"/>
                </a:ext>
              </a:extLst>
            </p:cNvPr>
            <p:cNvGrpSpPr/>
            <p:nvPr/>
          </p:nvGrpSpPr>
          <p:grpSpPr>
            <a:xfrm>
              <a:off x="7455711" y="3635151"/>
              <a:ext cx="289443" cy="248100"/>
              <a:chOff x="5696016" y="3086100"/>
              <a:chExt cx="800080" cy="685799"/>
            </a:xfrm>
            <a:grpFill/>
          </p:grpSpPr>
          <p:sp>
            <p:nvSpPr>
              <p:cNvPr id="947" name="Vrije vorm: vorm 946">
                <a:extLst>
                  <a:ext uri="{FF2B5EF4-FFF2-40B4-BE49-F238E27FC236}">
                    <a16:creationId xmlns:a16="http://schemas.microsoft.com/office/drawing/2014/main" id="{F1047819-B48F-B5CE-925F-F694845C7ED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8" name="Vrije vorm: vorm 947">
                <a:extLst>
                  <a:ext uri="{FF2B5EF4-FFF2-40B4-BE49-F238E27FC236}">
                    <a16:creationId xmlns:a16="http://schemas.microsoft.com/office/drawing/2014/main" id="{3C920A06-DA70-5AE0-ABAD-9FF4A9485A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7" name="Groep 916">
              <a:extLst>
                <a:ext uri="{FF2B5EF4-FFF2-40B4-BE49-F238E27FC236}">
                  <a16:creationId xmlns:a16="http://schemas.microsoft.com/office/drawing/2014/main" id="{93375EB3-7E71-1786-98D0-6C666A38F0EA}"/>
                </a:ext>
              </a:extLst>
            </p:cNvPr>
            <p:cNvGrpSpPr/>
            <p:nvPr/>
          </p:nvGrpSpPr>
          <p:grpSpPr>
            <a:xfrm>
              <a:off x="7778199" y="3635151"/>
              <a:ext cx="289443" cy="248100"/>
              <a:chOff x="5696016" y="3086100"/>
              <a:chExt cx="800080" cy="685799"/>
            </a:xfrm>
            <a:grpFill/>
          </p:grpSpPr>
          <p:sp>
            <p:nvSpPr>
              <p:cNvPr id="945" name="Vrije vorm: vorm 944">
                <a:extLst>
                  <a:ext uri="{FF2B5EF4-FFF2-40B4-BE49-F238E27FC236}">
                    <a16:creationId xmlns:a16="http://schemas.microsoft.com/office/drawing/2014/main" id="{21150F28-0DA2-7272-7440-E28A3E044D0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6" name="Vrije vorm: vorm 945">
                <a:extLst>
                  <a:ext uri="{FF2B5EF4-FFF2-40B4-BE49-F238E27FC236}">
                    <a16:creationId xmlns:a16="http://schemas.microsoft.com/office/drawing/2014/main" id="{674BF03A-DD03-B02D-ADDF-41602E02993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8" name="Groep 917">
              <a:extLst>
                <a:ext uri="{FF2B5EF4-FFF2-40B4-BE49-F238E27FC236}">
                  <a16:creationId xmlns:a16="http://schemas.microsoft.com/office/drawing/2014/main" id="{31DE7BD0-8147-7425-5314-39F5FE782F12}"/>
                </a:ext>
              </a:extLst>
            </p:cNvPr>
            <p:cNvGrpSpPr/>
            <p:nvPr/>
          </p:nvGrpSpPr>
          <p:grpSpPr>
            <a:xfrm>
              <a:off x="7133223" y="3945167"/>
              <a:ext cx="289443" cy="248100"/>
              <a:chOff x="5696016" y="3086100"/>
              <a:chExt cx="800080" cy="685799"/>
            </a:xfrm>
            <a:grpFill/>
          </p:grpSpPr>
          <p:sp>
            <p:nvSpPr>
              <p:cNvPr id="943" name="Vrije vorm: vorm 942">
                <a:extLst>
                  <a:ext uri="{FF2B5EF4-FFF2-40B4-BE49-F238E27FC236}">
                    <a16:creationId xmlns:a16="http://schemas.microsoft.com/office/drawing/2014/main" id="{EA58FEB9-4E3E-6A43-C63C-6D581F6BC9C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4" name="Vrije vorm: vorm 943">
                <a:extLst>
                  <a:ext uri="{FF2B5EF4-FFF2-40B4-BE49-F238E27FC236}">
                    <a16:creationId xmlns:a16="http://schemas.microsoft.com/office/drawing/2014/main" id="{EEA260EC-2835-82D4-C38C-5A160D17FDA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19" name="Groep 918">
              <a:extLst>
                <a:ext uri="{FF2B5EF4-FFF2-40B4-BE49-F238E27FC236}">
                  <a16:creationId xmlns:a16="http://schemas.microsoft.com/office/drawing/2014/main" id="{00D51DC8-56FA-9023-42E5-256E184E1092}"/>
                </a:ext>
              </a:extLst>
            </p:cNvPr>
            <p:cNvGrpSpPr/>
            <p:nvPr/>
          </p:nvGrpSpPr>
          <p:grpSpPr>
            <a:xfrm>
              <a:off x="7455711" y="3945167"/>
              <a:ext cx="289443" cy="248100"/>
              <a:chOff x="5696016" y="3086100"/>
              <a:chExt cx="800080" cy="685799"/>
            </a:xfrm>
            <a:grpFill/>
          </p:grpSpPr>
          <p:sp>
            <p:nvSpPr>
              <p:cNvPr id="941" name="Vrije vorm: vorm 940">
                <a:extLst>
                  <a:ext uri="{FF2B5EF4-FFF2-40B4-BE49-F238E27FC236}">
                    <a16:creationId xmlns:a16="http://schemas.microsoft.com/office/drawing/2014/main" id="{1174F2F9-BC32-FB51-1EA9-F070DCA870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2" name="Vrije vorm: vorm 941">
                <a:extLst>
                  <a:ext uri="{FF2B5EF4-FFF2-40B4-BE49-F238E27FC236}">
                    <a16:creationId xmlns:a16="http://schemas.microsoft.com/office/drawing/2014/main" id="{167381FF-B282-4AF6-6E2E-542FBCFCEE1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0" name="Groep 919">
              <a:extLst>
                <a:ext uri="{FF2B5EF4-FFF2-40B4-BE49-F238E27FC236}">
                  <a16:creationId xmlns:a16="http://schemas.microsoft.com/office/drawing/2014/main" id="{CED8A389-7A15-4683-5A10-8D52CB2D1F69}"/>
                </a:ext>
              </a:extLst>
            </p:cNvPr>
            <p:cNvGrpSpPr/>
            <p:nvPr/>
          </p:nvGrpSpPr>
          <p:grpSpPr>
            <a:xfrm>
              <a:off x="7778199" y="3945167"/>
              <a:ext cx="289443" cy="248100"/>
              <a:chOff x="5696016" y="3086100"/>
              <a:chExt cx="800080" cy="685799"/>
            </a:xfrm>
            <a:grpFill/>
          </p:grpSpPr>
          <p:sp>
            <p:nvSpPr>
              <p:cNvPr id="939" name="Vrije vorm: vorm 938">
                <a:extLst>
                  <a:ext uri="{FF2B5EF4-FFF2-40B4-BE49-F238E27FC236}">
                    <a16:creationId xmlns:a16="http://schemas.microsoft.com/office/drawing/2014/main" id="{A7602C61-B7E1-66BB-6030-6C65A9DBF83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40" name="Vrije vorm: vorm 939">
                <a:extLst>
                  <a:ext uri="{FF2B5EF4-FFF2-40B4-BE49-F238E27FC236}">
                    <a16:creationId xmlns:a16="http://schemas.microsoft.com/office/drawing/2014/main" id="{E4AA30AE-FFAC-EEBF-104B-B5E71A31D5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1" name="Groep 920">
              <a:extLst>
                <a:ext uri="{FF2B5EF4-FFF2-40B4-BE49-F238E27FC236}">
                  <a16:creationId xmlns:a16="http://schemas.microsoft.com/office/drawing/2014/main" id="{B7FC7985-87F4-CFFD-0898-D11A75217801}"/>
                </a:ext>
              </a:extLst>
            </p:cNvPr>
            <p:cNvGrpSpPr/>
            <p:nvPr/>
          </p:nvGrpSpPr>
          <p:grpSpPr>
            <a:xfrm>
              <a:off x="7133223" y="4255183"/>
              <a:ext cx="289443" cy="248100"/>
              <a:chOff x="5696016" y="3086100"/>
              <a:chExt cx="800080" cy="685799"/>
            </a:xfrm>
            <a:grpFill/>
          </p:grpSpPr>
          <p:sp>
            <p:nvSpPr>
              <p:cNvPr id="937" name="Vrije vorm: vorm 936">
                <a:extLst>
                  <a:ext uri="{FF2B5EF4-FFF2-40B4-BE49-F238E27FC236}">
                    <a16:creationId xmlns:a16="http://schemas.microsoft.com/office/drawing/2014/main" id="{1B00610A-C10B-D204-2DD0-2871D74D75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8" name="Vrije vorm: vorm 937">
                <a:extLst>
                  <a:ext uri="{FF2B5EF4-FFF2-40B4-BE49-F238E27FC236}">
                    <a16:creationId xmlns:a16="http://schemas.microsoft.com/office/drawing/2014/main" id="{9B1DF06C-216C-0E93-6395-98C7C3D9245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2" name="Groep 921">
              <a:extLst>
                <a:ext uri="{FF2B5EF4-FFF2-40B4-BE49-F238E27FC236}">
                  <a16:creationId xmlns:a16="http://schemas.microsoft.com/office/drawing/2014/main" id="{83BAF210-393E-8FD8-F439-F3AC12AF00EA}"/>
                </a:ext>
              </a:extLst>
            </p:cNvPr>
            <p:cNvGrpSpPr/>
            <p:nvPr/>
          </p:nvGrpSpPr>
          <p:grpSpPr>
            <a:xfrm>
              <a:off x="7455711" y="4255183"/>
              <a:ext cx="289443" cy="248100"/>
              <a:chOff x="5696016" y="3086100"/>
              <a:chExt cx="800080" cy="685799"/>
            </a:xfrm>
            <a:grpFill/>
          </p:grpSpPr>
          <p:sp>
            <p:nvSpPr>
              <p:cNvPr id="935" name="Vrije vorm: vorm 934">
                <a:extLst>
                  <a:ext uri="{FF2B5EF4-FFF2-40B4-BE49-F238E27FC236}">
                    <a16:creationId xmlns:a16="http://schemas.microsoft.com/office/drawing/2014/main" id="{44605658-FA0F-FDC0-73E6-996C8CCB430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6" name="Vrije vorm: vorm 935">
                <a:extLst>
                  <a:ext uri="{FF2B5EF4-FFF2-40B4-BE49-F238E27FC236}">
                    <a16:creationId xmlns:a16="http://schemas.microsoft.com/office/drawing/2014/main" id="{5B5F2ACF-D38C-CA52-968E-3220BEFC572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3" name="Groep 922">
              <a:extLst>
                <a:ext uri="{FF2B5EF4-FFF2-40B4-BE49-F238E27FC236}">
                  <a16:creationId xmlns:a16="http://schemas.microsoft.com/office/drawing/2014/main" id="{15D1B09A-4B73-24A4-1BB2-94C513D96381}"/>
                </a:ext>
              </a:extLst>
            </p:cNvPr>
            <p:cNvGrpSpPr/>
            <p:nvPr/>
          </p:nvGrpSpPr>
          <p:grpSpPr>
            <a:xfrm>
              <a:off x="7778199" y="4255183"/>
              <a:ext cx="289443" cy="248100"/>
              <a:chOff x="5696016" y="3086100"/>
              <a:chExt cx="800080" cy="685799"/>
            </a:xfrm>
            <a:grpFill/>
          </p:grpSpPr>
          <p:sp>
            <p:nvSpPr>
              <p:cNvPr id="933" name="Vrije vorm: vorm 932">
                <a:extLst>
                  <a:ext uri="{FF2B5EF4-FFF2-40B4-BE49-F238E27FC236}">
                    <a16:creationId xmlns:a16="http://schemas.microsoft.com/office/drawing/2014/main" id="{DECF08CE-DC90-40B8-691A-2FA0AE3D208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4" name="Vrije vorm: vorm 933">
                <a:extLst>
                  <a:ext uri="{FF2B5EF4-FFF2-40B4-BE49-F238E27FC236}">
                    <a16:creationId xmlns:a16="http://schemas.microsoft.com/office/drawing/2014/main" id="{8E826F76-339B-AC95-57C8-96D69C4750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4" name="Groep 923">
              <a:extLst>
                <a:ext uri="{FF2B5EF4-FFF2-40B4-BE49-F238E27FC236}">
                  <a16:creationId xmlns:a16="http://schemas.microsoft.com/office/drawing/2014/main" id="{FCD0CC87-E876-7314-A6AE-3E337E8EE12A}"/>
                </a:ext>
              </a:extLst>
            </p:cNvPr>
            <p:cNvGrpSpPr/>
            <p:nvPr/>
          </p:nvGrpSpPr>
          <p:grpSpPr>
            <a:xfrm>
              <a:off x="7133223" y="4565200"/>
              <a:ext cx="289443" cy="248100"/>
              <a:chOff x="5696016" y="3086100"/>
              <a:chExt cx="800080" cy="685799"/>
            </a:xfrm>
            <a:grpFill/>
          </p:grpSpPr>
          <p:sp>
            <p:nvSpPr>
              <p:cNvPr id="931" name="Vrije vorm: vorm 930">
                <a:extLst>
                  <a:ext uri="{FF2B5EF4-FFF2-40B4-BE49-F238E27FC236}">
                    <a16:creationId xmlns:a16="http://schemas.microsoft.com/office/drawing/2014/main" id="{29B06AC4-3F42-3585-A153-FD0F495C1F7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2" name="Vrije vorm: vorm 931">
                <a:extLst>
                  <a:ext uri="{FF2B5EF4-FFF2-40B4-BE49-F238E27FC236}">
                    <a16:creationId xmlns:a16="http://schemas.microsoft.com/office/drawing/2014/main" id="{A09490E9-AC2E-311D-BB94-85976871048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5" name="Groep 924">
              <a:extLst>
                <a:ext uri="{FF2B5EF4-FFF2-40B4-BE49-F238E27FC236}">
                  <a16:creationId xmlns:a16="http://schemas.microsoft.com/office/drawing/2014/main" id="{10E430A6-26A2-7940-5F2D-65BC2FC0D21A}"/>
                </a:ext>
              </a:extLst>
            </p:cNvPr>
            <p:cNvGrpSpPr/>
            <p:nvPr/>
          </p:nvGrpSpPr>
          <p:grpSpPr>
            <a:xfrm>
              <a:off x="7455711" y="4565200"/>
              <a:ext cx="289443" cy="248100"/>
              <a:chOff x="5696016" y="3086100"/>
              <a:chExt cx="800080" cy="685799"/>
            </a:xfrm>
            <a:grpFill/>
          </p:grpSpPr>
          <p:sp>
            <p:nvSpPr>
              <p:cNvPr id="929" name="Vrije vorm: vorm 928">
                <a:extLst>
                  <a:ext uri="{FF2B5EF4-FFF2-40B4-BE49-F238E27FC236}">
                    <a16:creationId xmlns:a16="http://schemas.microsoft.com/office/drawing/2014/main" id="{B4A258F7-46F4-84B3-8FD1-3B366ED0D88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30" name="Vrije vorm: vorm 929">
                <a:extLst>
                  <a:ext uri="{FF2B5EF4-FFF2-40B4-BE49-F238E27FC236}">
                    <a16:creationId xmlns:a16="http://schemas.microsoft.com/office/drawing/2014/main" id="{8F5ECBC0-301B-89A3-518F-538A051F639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926" name="Groep 925">
              <a:extLst>
                <a:ext uri="{FF2B5EF4-FFF2-40B4-BE49-F238E27FC236}">
                  <a16:creationId xmlns:a16="http://schemas.microsoft.com/office/drawing/2014/main" id="{C81CCF45-4C57-C215-BB34-A8E13D788A03}"/>
                </a:ext>
              </a:extLst>
            </p:cNvPr>
            <p:cNvGrpSpPr/>
            <p:nvPr/>
          </p:nvGrpSpPr>
          <p:grpSpPr>
            <a:xfrm>
              <a:off x="7778199" y="4565200"/>
              <a:ext cx="289443" cy="248100"/>
              <a:chOff x="5696016" y="3086100"/>
              <a:chExt cx="800080" cy="685799"/>
            </a:xfrm>
            <a:grpFill/>
          </p:grpSpPr>
          <p:sp>
            <p:nvSpPr>
              <p:cNvPr id="927" name="Vrije vorm: vorm 926">
                <a:extLst>
                  <a:ext uri="{FF2B5EF4-FFF2-40B4-BE49-F238E27FC236}">
                    <a16:creationId xmlns:a16="http://schemas.microsoft.com/office/drawing/2014/main" id="{50B0A58D-71C6-0FD8-5DBC-7C7197967DD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928" name="Vrije vorm: vorm 927">
                <a:extLst>
                  <a:ext uri="{FF2B5EF4-FFF2-40B4-BE49-F238E27FC236}">
                    <a16:creationId xmlns:a16="http://schemas.microsoft.com/office/drawing/2014/main" id="{B716607F-A5E8-4D06-B607-8FD735ABB4D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011" name="Groep 1010">
            <a:extLst>
              <a:ext uri="{FF2B5EF4-FFF2-40B4-BE49-F238E27FC236}">
                <a16:creationId xmlns:a16="http://schemas.microsoft.com/office/drawing/2014/main" id="{88B8AF0C-89B1-DB52-88BA-69ADBF55482C}"/>
              </a:ext>
            </a:extLst>
          </p:cNvPr>
          <p:cNvGrpSpPr/>
          <p:nvPr/>
        </p:nvGrpSpPr>
        <p:grpSpPr>
          <a:xfrm>
            <a:off x="6932601" y="5865467"/>
            <a:ext cx="234882" cy="201332"/>
            <a:chOff x="999123" y="4997000"/>
            <a:chExt cx="289443" cy="248100"/>
          </a:xfrm>
          <a:solidFill>
            <a:schemeClr val="accent2"/>
          </a:solidFill>
        </p:grpSpPr>
        <p:sp>
          <p:nvSpPr>
            <p:cNvPr id="1012" name="Vrije vorm: vorm 1011">
              <a:extLst>
                <a:ext uri="{FF2B5EF4-FFF2-40B4-BE49-F238E27FC236}">
                  <a16:creationId xmlns:a16="http://schemas.microsoft.com/office/drawing/2014/main" id="{7BB09994-09E5-19C8-F5FB-B91B8871EBD5}"/>
                </a:ext>
              </a:extLst>
            </p:cNvPr>
            <p:cNvSpPr/>
            <p:nvPr/>
          </p:nvSpPr>
          <p:spPr>
            <a:xfrm>
              <a:off x="999123" y="4997000"/>
              <a:ext cx="289443" cy="151041"/>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013" name="Vrije vorm: vorm 1012">
              <a:extLst>
                <a:ext uri="{FF2B5EF4-FFF2-40B4-BE49-F238E27FC236}">
                  <a16:creationId xmlns:a16="http://schemas.microsoft.com/office/drawing/2014/main" id="{07BCCB11-6F81-DC96-F134-B80606C753AA}"/>
                </a:ext>
              </a:extLst>
            </p:cNvPr>
            <p:cNvSpPr/>
            <p:nvPr/>
          </p:nvSpPr>
          <p:spPr>
            <a:xfrm>
              <a:off x="1040466" y="5044435"/>
              <a:ext cx="206750" cy="200665"/>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dirty="0"/>
            </a:p>
          </p:txBody>
        </p:sp>
      </p:grpSp>
      <p:sp>
        <p:nvSpPr>
          <p:cNvPr id="1014" name="Tekstvak 1013">
            <a:extLst>
              <a:ext uri="{FF2B5EF4-FFF2-40B4-BE49-F238E27FC236}">
                <a16:creationId xmlns:a16="http://schemas.microsoft.com/office/drawing/2014/main" id="{63CC9C71-264F-7191-D76A-0FB8E8BDD0D4}"/>
              </a:ext>
            </a:extLst>
          </p:cNvPr>
          <p:cNvSpPr txBox="1"/>
          <p:nvPr/>
        </p:nvSpPr>
        <p:spPr>
          <a:xfrm>
            <a:off x="7167478" y="5847659"/>
            <a:ext cx="2254314" cy="276999"/>
          </a:xfrm>
          <a:prstGeom prst="rect">
            <a:avLst/>
          </a:prstGeom>
          <a:noFill/>
        </p:spPr>
        <p:txBody>
          <a:bodyPr wrap="square" anchor="ctr">
            <a:spAutoFit/>
          </a:bodyPr>
          <a:lstStyle/>
          <a:p>
            <a:r>
              <a:rPr lang="nl-NL" sz="1200" dirty="0">
                <a:latin typeface="+mj-lt"/>
              </a:rPr>
              <a:t>10.000 renovaties</a:t>
            </a:r>
            <a:endParaRPr lang="nl-NL" sz="1200" dirty="0"/>
          </a:p>
        </p:txBody>
      </p:sp>
      <p:grpSp>
        <p:nvGrpSpPr>
          <p:cNvPr id="1232" name="Groep 1231">
            <a:extLst>
              <a:ext uri="{FF2B5EF4-FFF2-40B4-BE49-F238E27FC236}">
                <a16:creationId xmlns:a16="http://schemas.microsoft.com/office/drawing/2014/main" id="{7DBCA002-9D78-DD4E-5176-300AB8C947E3}"/>
              </a:ext>
            </a:extLst>
          </p:cNvPr>
          <p:cNvGrpSpPr/>
          <p:nvPr/>
        </p:nvGrpSpPr>
        <p:grpSpPr>
          <a:xfrm>
            <a:off x="9314569" y="2044547"/>
            <a:ext cx="763072" cy="3473127"/>
            <a:chOff x="7133223" y="533400"/>
            <a:chExt cx="940327" cy="4279900"/>
          </a:xfrm>
          <a:solidFill>
            <a:schemeClr val="accent2"/>
          </a:solidFill>
        </p:grpSpPr>
        <p:grpSp>
          <p:nvGrpSpPr>
            <p:cNvPr id="1233" name="Groep 1232">
              <a:extLst>
                <a:ext uri="{FF2B5EF4-FFF2-40B4-BE49-F238E27FC236}">
                  <a16:creationId xmlns:a16="http://schemas.microsoft.com/office/drawing/2014/main" id="{3EEFDAC8-77C7-9A3B-F535-3627E00A635E}"/>
                </a:ext>
              </a:extLst>
            </p:cNvPr>
            <p:cNvGrpSpPr/>
            <p:nvPr/>
          </p:nvGrpSpPr>
          <p:grpSpPr>
            <a:xfrm>
              <a:off x="7139131" y="533400"/>
              <a:ext cx="289443" cy="248100"/>
              <a:chOff x="5696016" y="3086100"/>
              <a:chExt cx="800080" cy="685799"/>
            </a:xfrm>
            <a:grpFill/>
          </p:grpSpPr>
          <p:sp>
            <p:nvSpPr>
              <p:cNvPr id="1357" name="Vrije vorm: vorm 1356">
                <a:extLst>
                  <a:ext uri="{FF2B5EF4-FFF2-40B4-BE49-F238E27FC236}">
                    <a16:creationId xmlns:a16="http://schemas.microsoft.com/office/drawing/2014/main" id="{2A67D345-9DC8-E188-4E23-2DDCEF9511D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58" name="Vrije vorm: vorm 1357">
                <a:extLst>
                  <a:ext uri="{FF2B5EF4-FFF2-40B4-BE49-F238E27FC236}">
                    <a16:creationId xmlns:a16="http://schemas.microsoft.com/office/drawing/2014/main" id="{B5C49CBC-90E8-393C-8FA8-EE19585862A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34" name="Groep 1233">
              <a:extLst>
                <a:ext uri="{FF2B5EF4-FFF2-40B4-BE49-F238E27FC236}">
                  <a16:creationId xmlns:a16="http://schemas.microsoft.com/office/drawing/2014/main" id="{84C49EF5-ABD9-0DEB-B611-8694E263B98F}"/>
                </a:ext>
              </a:extLst>
            </p:cNvPr>
            <p:cNvGrpSpPr/>
            <p:nvPr/>
          </p:nvGrpSpPr>
          <p:grpSpPr>
            <a:xfrm>
              <a:off x="7461619" y="533400"/>
              <a:ext cx="289443" cy="248100"/>
              <a:chOff x="5696016" y="3086100"/>
              <a:chExt cx="800080" cy="685799"/>
            </a:xfrm>
            <a:grpFill/>
          </p:grpSpPr>
          <p:sp>
            <p:nvSpPr>
              <p:cNvPr id="1355" name="Vrije vorm: vorm 1354">
                <a:extLst>
                  <a:ext uri="{FF2B5EF4-FFF2-40B4-BE49-F238E27FC236}">
                    <a16:creationId xmlns:a16="http://schemas.microsoft.com/office/drawing/2014/main" id="{CF45E193-309B-98DF-C563-035C3350BFC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56" name="Vrije vorm: vorm 1355">
                <a:extLst>
                  <a:ext uri="{FF2B5EF4-FFF2-40B4-BE49-F238E27FC236}">
                    <a16:creationId xmlns:a16="http://schemas.microsoft.com/office/drawing/2014/main" id="{1F066810-3CC8-3C99-CEA7-0D17C477EA0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35" name="Groep 1234">
              <a:extLst>
                <a:ext uri="{FF2B5EF4-FFF2-40B4-BE49-F238E27FC236}">
                  <a16:creationId xmlns:a16="http://schemas.microsoft.com/office/drawing/2014/main" id="{67E5D99F-5A05-3738-86D7-A90D819233EE}"/>
                </a:ext>
              </a:extLst>
            </p:cNvPr>
            <p:cNvGrpSpPr/>
            <p:nvPr/>
          </p:nvGrpSpPr>
          <p:grpSpPr>
            <a:xfrm>
              <a:off x="7784107" y="533400"/>
              <a:ext cx="289443" cy="248100"/>
              <a:chOff x="5696016" y="3086100"/>
              <a:chExt cx="800080" cy="685799"/>
            </a:xfrm>
            <a:grpFill/>
          </p:grpSpPr>
          <p:sp>
            <p:nvSpPr>
              <p:cNvPr id="1353" name="Vrije vorm: vorm 1352">
                <a:extLst>
                  <a:ext uri="{FF2B5EF4-FFF2-40B4-BE49-F238E27FC236}">
                    <a16:creationId xmlns:a16="http://schemas.microsoft.com/office/drawing/2014/main" id="{6935998F-8845-D38E-D8CE-A5FF50C1E45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54" name="Vrije vorm: vorm 1353">
                <a:extLst>
                  <a:ext uri="{FF2B5EF4-FFF2-40B4-BE49-F238E27FC236}">
                    <a16:creationId xmlns:a16="http://schemas.microsoft.com/office/drawing/2014/main" id="{483F540F-FCAD-D734-EC83-016FFD90595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36" name="Groep 1235">
              <a:extLst>
                <a:ext uri="{FF2B5EF4-FFF2-40B4-BE49-F238E27FC236}">
                  <a16:creationId xmlns:a16="http://schemas.microsoft.com/office/drawing/2014/main" id="{85876E50-5D0C-8BE8-F71A-5B02BE95182D}"/>
                </a:ext>
              </a:extLst>
            </p:cNvPr>
            <p:cNvGrpSpPr/>
            <p:nvPr/>
          </p:nvGrpSpPr>
          <p:grpSpPr>
            <a:xfrm>
              <a:off x="7139131" y="843417"/>
              <a:ext cx="289443" cy="248100"/>
              <a:chOff x="5696016" y="3086100"/>
              <a:chExt cx="800080" cy="685799"/>
            </a:xfrm>
            <a:grpFill/>
          </p:grpSpPr>
          <p:sp>
            <p:nvSpPr>
              <p:cNvPr id="1351" name="Vrije vorm: vorm 1350">
                <a:extLst>
                  <a:ext uri="{FF2B5EF4-FFF2-40B4-BE49-F238E27FC236}">
                    <a16:creationId xmlns:a16="http://schemas.microsoft.com/office/drawing/2014/main" id="{5EE2A943-8A68-11A2-D20B-E0D9D1875DA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52" name="Vrije vorm: vorm 1351">
                <a:extLst>
                  <a:ext uri="{FF2B5EF4-FFF2-40B4-BE49-F238E27FC236}">
                    <a16:creationId xmlns:a16="http://schemas.microsoft.com/office/drawing/2014/main" id="{6051BB2F-A093-818A-86CD-C60CB5538B1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37" name="Groep 1236">
              <a:extLst>
                <a:ext uri="{FF2B5EF4-FFF2-40B4-BE49-F238E27FC236}">
                  <a16:creationId xmlns:a16="http://schemas.microsoft.com/office/drawing/2014/main" id="{FCE2DCFA-158E-4020-5582-6062234FA83A}"/>
                </a:ext>
              </a:extLst>
            </p:cNvPr>
            <p:cNvGrpSpPr/>
            <p:nvPr/>
          </p:nvGrpSpPr>
          <p:grpSpPr>
            <a:xfrm>
              <a:off x="7461619" y="843417"/>
              <a:ext cx="289443" cy="248100"/>
              <a:chOff x="5696016" y="3086100"/>
              <a:chExt cx="800080" cy="685799"/>
            </a:xfrm>
            <a:grpFill/>
          </p:grpSpPr>
          <p:sp>
            <p:nvSpPr>
              <p:cNvPr id="1349" name="Vrije vorm: vorm 1348">
                <a:extLst>
                  <a:ext uri="{FF2B5EF4-FFF2-40B4-BE49-F238E27FC236}">
                    <a16:creationId xmlns:a16="http://schemas.microsoft.com/office/drawing/2014/main" id="{2BCAD0F8-3130-6965-2679-F6536776353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50" name="Vrije vorm: vorm 1349">
                <a:extLst>
                  <a:ext uri="{FF2B5EF4-FFF2-40B4-BE49-F238E27FC236}">
                    <a16:creationId xmlns:a16="http://schemas.microsoft.com/office/drawing/2014/main" id="{5F8BAB16-514A-120B-9C99-7AFDEFBA7B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38" name="Groep 1237">
              <a:extLst>
                <a:ext uri="{FF2B5EF4-FFF2-40B4-BE49-F238E27FC236}">
                  <a16:creationId xmlns:a16="http://schemas.microsoft.com/office/drawing/2014/main" id="{5E78504D-BF61-DA59-DAA5-E9A7A6AE8DA4}"/>
                </a:ext>
              </a:extLst>
            </p:cNvPr>
            <p:cNvGrpSpPr/>
            <p:nvPr/>
          </p:nvGrpSpPr>
          <p:grpSpPr>
            <a:xfrm>
              <a:off x="7784107" y="843417"/>
              <a:ext cx="289443" cy="248100"/>
              <a:chOff x="5696016" y="3086100"/>
              <a:chExt cx="800080" cy="685799"/>
            </a:xfrm>
            <a:grpFill/>
          </p:grpSpPr>
          <p:sp>
            <p:nvSpPr>
              <p:cNvPr id="1347" name="Vrije vorm: vorm 1346">
                <a:extLst>
                  <a:ext uri="{FF2B5EF4-FFF2-40B4-BE49-F238E27FC236}">
                    <a16:creationId xmlns:a16="http://schemas.microsoft.com/office/drawing/2014/main" id="{9F7A4034-0015-01F5-E61A-087CE185A52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48" name="Vrije vorm: vorm 1347">
                <a:extLst>
                  <a:ext uri="{FF2B5EF4-FFF2-40B4-BE49-F238E27FC236}">
                    <a16:creationId xmlns:a16="http://schemas.microsoft.com/office/drawing/2014/main" id="{06668E57-02B8-ACAE-C567-3BB081F83D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39" name="Groep 1238">
              <a:extLst>
                <a:ext uri="{FF2B5EF4-FFF2-40B4-BE49-F238E27FC236}">
                  <a16:creationId xmlns:a16="http://schemas.microsoft.com/office/drawing/2014/main" id="{D2F2EA9E-D7CD-FD7F-786D-2DDFA1A5BB70}"/>
                </a:ext>
              </a:extLst>
            </p:cNvPr>
            <p:cNvGrpSpPr/>
            <p:nvPr/>
          </p:nvGrpSpPr>
          <p:grpSpPr>
            <a:xfrm>
              <a:off x="7139131" y="1153435"/>
              <a:ext cx="289443" cy="248100"/>
              <a:chOff x="5696016" y="3086100"/>
              <a:chExt cx="800080" cy="685799"/>
            </a:xfrm>
            <a:grpFill/>
          </p:grpSpPr>
          <p:sp>
            <p:nvSpPr>
              <p:cNvPr id="1345" name="Vrije vorm: vorm 1344">
                <a:extLst>
                  <a:ext uri="{FF2B5EF4-FFF2-40B4-BE49-F238E27FC236}">
                    <a16:creationId xmlns:a16="http://schemas.microsoft.com/office/drawing/2014/main" id="{057B0004-823D-B683-A6FE-35C3BB520B2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46" name="Vrije vorm: vorm 1345">
                <a:extLst>
                  <a:ext uri="{FF2B5EF4-FFF2-40B4-BE49-F238E27FC236}">
                    <a16:creationId xmlns:a16="http://schemas.microsoft.com/office/drawing/2014/main" id="{C839D31D-53C1-AD01-6AB6-4C0AD56F2CE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0" name="Groep 1239">
              <a:extLst>
                <a:ext uri="{FF2B5EF4-FFF2-40B4-BE49-F238E27FC236}">
                  <a16:creationId xmlns:a16="http://schemas.microsoft.com/office/drawing/2014/main" id="{C48A3884-0B7F-9F4D-A0D0-FD49B37FDEDE}"/>
                </a:ext>
              </a:extLst>
            </p:cNvPr>
            <p:cNvGrpSpPr/>
            <p:nvPr/>
          </p:nvGrpSpPr>
          <p:grpSpPr>
            <a:xfrm>
              <a:off x="7461619" y="1153435"/>
              <a:ext cx="289443" cy="248100"/>
              <a:chOff x="5696016" y="3086100"/>
              <a:chExt cx="800080" cy="685799"/>
            </a:xfrm>
            <a:grpFill/>
          </p:grpSpPr>
          <p:sp>
            <p:nvSpPr>
              <p:cNvPr id="1343" name="Vrije vorm: vorm 1342">
                <a:extLst>
                  <a:ext uri="{FF2B5EF4-FFF2-40B4-BE49-F238E27FC236}">
                    <a16:creationId xmlns:a16="http://schemas.microsoft.com/office/drawing/2014/main" id="{AA84D78D-CD05-456D-1397-8801FED87F7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44" name="Vrije vorm: vorm 1343">
                <a:extLst>
                  <a:ext uri="{FF2B5EF4-FFF2-40B4-BE49-F238E27FC236}">
                    <a16:creationId xmlns:a16="http://schemas.microsoft.com/office/drawing/2014/main" id="{48CB0187-294A-2A40-92F3-0A45430081E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1" name="Groep 1240">
              <a:extLst>
                <a:ext uri="{FF2B5EF4-FFF2-40B4-BE49-F238E27FC236}">
                  <a16:creationId xmlns:a16="http://schemas.microsoft.com/office/drawing/2014/main" id="{EB94ABDB-E114-7574-3349-A7172165927C}"/>
                </a:ext>
              </a:extLst>
            </p:cNvPr>
            <p:cNvGrpSpPr/>
            <p:nvPr/>
          </p:nvGrpSpPr>
          <p:grpSpPr>
            <a:xfrm>
              <a:off x="7784107" y="1153435"/>
              <a:ext cx="289443" cy="248100"/>
              <a:chOff x="5696016" y="3086100"/>
              <a:chExt cx="800080" cy="685799"/>
            </a:xfrm>
            <a:grpFill/>
          </p:grpSpPr>
          <p:sp>
            <p:nvSpPr>
              <p:cNvPr id="1341" name="Vrije vorm: vorm 1340">
                <a:extLst>
                  <a:ext uri="{FF2B5EF4-FFF2-40B4-BE49-F238E27FC236}">
                    <a16:creationId xmlns:a16="http://schemas.microsoft.com/office/drawing/2014/main" id="{86C8689B-F0AE-9F90-5358-5BEB2ADACC9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42" name="Vrije vorm: vorm 1341">
                <a:extLst>
                  <a:ext uri="{FF2B5EF4-FFF2-40B4-BE49-F238E27FC236}">
                    <a16:creationId xmlns:a16="http://schemas.microsoft.com/office/drawing/2014/main" id="{A5D07B84-31A3-57E2-B32D-D8ACB92C327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2" name="Groep 1241">
              <a:extLst>
                <a:ext uri="{FF2B5EF4-FFF2-40B4-BE49-F238E27FC236}">
                  <a16:creationId xmlns:a16="http://schemas.microsoft.com/office/drawing/2014/main" id="{93967BE0-66A8-1D37-CEA4-C60642E1917B}"/>
                </a:ext>
              </a:extLst>
            </p:cNvPr>
            <p:cNvGrpSpPr/>
            <p:nvPr/>
          </p:nvGrpSpPr>
          <p:grpSpPr>
            <a:xfrm>
              <a:off x="7139131" y="1463451"/>
              <a:ext cx="289443" cy="248100"/>
              <a:chOff x="5696016" y="3086100"/>
              <a:chExt cx="800080" cy="685799"/>
            </a:xfrm>
            <a:grpFill/>
          </p:grpSpPr>
          <p:sp>
            <p:nvSpPr>
              <p:cNvPr id="1339" name="Vrije vorm: vorm 1338">
                <a:extLst>
                  <a:ext uri="{FF2B5EF4-FFF2-40B4-BE49-F238E27FC236}">
                    <a16:creationId xmlns:a16="http://schemas.microsoft.com/office/drawing/2014/main" id="{FA27FC73-1A95-48AC-7D72-0ADD78F8DF4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40" name="Vrije vorm: vorm 1339">
                <a:extLst>
                  <a:ext uri="{FF2B5EF4-FFF2-40B4-BE49-F238E27FC236}">
                    <a16:creationId xmlns:a16="http://schemas.microsoft.com/office/drawing/2014/main" id="{2CC9CDC1-3990-35A2-733D-20A8EB02B68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3" name="Groep 1242">
              <a:extLst>
                <a:ext uri="{FF2B5EF4-FFF2-40B4-BE49-F238E27FC236}">
                  <a16:creationId xmlns:a16="http://schemas.microsoft.com/office/drawing/2014/main" id="{380C5523-ECEB-AE2C-C3EA-E62D2388E4F3}"/>
                </a:ext>
              </a:extLst>
            </p:cNvPr>
            <p:cNvGrpSpPr/>
            <p:nvPr/>
          </p:nvGrpSpPr>
          <p:grpSpPr>
            <a:xfrm>
              <a:off x="7461619" y="1463451"/>
              <a:ext cx="289443" cy="248100"/>
              <a:chOff x="5696016" y="3086100"/>
              <a:chExt cx="800080" cy="685799"/>
            </a:xfrm>
            <a:grpFill/>
          </p:grpSpPr>
          <p:sp>
            <p:nvSpPr>
              <p:cNvPr id="1337" name="Vrije vorm: vorm 1336">
                <a:extLst>
                  <a:ext uri="{FF2B5EF4-FFF2-40B4-BE49-F238E27FC236}">
                    <a16:creationId xmlns:a16="http://schemas.microsoft.com/office/drawing/2014/main" id="{74B0A312-BA93-7E65-0E99-C0765335334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38" name="Vrije vorm: vorm 1337">
                <a:extLst>
                  <a:ext uri="{FF2B5EF4-FFF2-40B4-BE49-F238E27FC236}">
                    <a16:creationId xmlns:a16="http://schemas.microsoft.com/office/drawing/2014/main" id="{17CE724C-12BB-39D5-159C-D414240B89B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4" name="Groep 1243">
              <a:extLst>
                <a:ext uri="{FF2B5EF4-FFF2-40B4-BE49-F238E27FC236}">
                  <a16:creationId xmlns:a16="http://schemas.microsoft.com/office/drawing/2014/main" id="{D081D928-F6F6-D79E-1F5D-2C095FC90312}"/>
                </a:ext>
              </a:extLst>
            </p:cNvPr>
            <p:cNvGrpSpPr/>
            <p:nvPr/>
          </p:nvGrpSpPr>
          <p:grpSpPr>
            <a:xfrm>
              <a:off x="7784107" y="1463451"/>
              <a:ext cx="289443" cy="248100"/>
              <a:chOff x="5696016" y="3086100"/>
              <a:chExt cx="800080" cy="685799"/>
            </a:xfrm>
            <a:grpFill/>
          </p:grpSpPr>
          <p:sp>
            <p:nvSpPr>
              <p:cNvPr id="1335" name="Vrije vorm: vorm 1334">
                <a:extLst>
                  <a:ext uri="{FF2B5EF4-FFF2-40B4-BE49-F238E27FC236}">
                    <a16:creationId xmlns:a16="http://schemas.microsoft.com/office/drawing/2014/main" id="{B32EA2FE-0EB4-3F57-876D-EF5E7BE05F9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36" name="Vrije vorm: vorm 1335">
                <a:extLst>
                  <a:ext uri="{FF2B5EF4-FFF2-40B4-BE49-F238E27FC236}">
                    <a16:creationId xmlns:a16="http://schemas.microsoft.com/office/drawing/2014/main" id="{DE44865B-F9D8-5CED-1E6B-035A2488B18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5" name="Groep 1244">
              <a:extLst>
                <a:ext uri="{FF2B5EF4-FFF2-40B4-BE49-F238E27FC236}">
                  <a16:creationId xmlns:a16="http://schemas.microsoft.com/office/drawing/2014/main" id="{4706AA0E-4112-B297-C52F-A32B6C608DF6}"/>
                </a:ext>
              </a:extLst>
            </p:cNvPr>
            <p:cNvGrpSpPr/>
            <p:nvPr/>
          </p:nvGrpSpPr>
          <p:grpSpPr>
            <a:xfrm>
              <a:off x="7139131" y="1773467"/>
              <a:ext cx="289443" cy="248100"/>
              <a:chOff x="5696016" y="3086100"/>
              <a:chExt cx="800080" cy="685799"/>
            </a:xfrm>
            <a:grpFill/>
          </p:grpSpPr>
          <p:sp>
            <p:nvSpPr>
              <p:cNvPr id="1333" name="Vrije vorm: vorm 1332">
                <a:extLst>
                  <a:ext uri="{FF2B5EF4-FFF2-40B4-BE49-F238E27FC236}">
                    <a16:creationId xmlns:a16="http://schemas.microsoft.com/office/drawing/2014/main" id="{A7D5252F-F833-66B0-9096-C669E61B9E5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34" name="Vrije vorm: vorm 1333">
                <a:extLst>
                  <a:ext uri="{FF2B5EF4-FFF2-40B4-BE49-F238E27FC236}">
                    <a16:creationId xmlns:a16="http://schemas.microsoft.com/office/drawing/2014/main" id="{5FE1E39F-261D-9CC4-8352-D7110D2052F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6" name="Groep 1245">
              <a:extLst>
                <a:ext uri="{FF2B5EF4-FFF2-40B4-BE49-F238E27FC236}">
                  <a16:creationId xmlns:a16="http://schemas.microsoft.com/office/drawing/2014/main" id="{41ACBBCC-29A7-A43C-2097-DFBB5D0F549B}"/>
                </a:ext>
              </a:extLst>
            </p:cNvPr>
            <p:cNvGrpSpPr/>
            <p:nvPr/>
          </p:nvGrpSpPr>
          <p:grpSpPr>
            <a:xfrm>
              <a:off x="7461619" y="1773467"/>
              <a:ext cx="289443" cy="248100"/>
              <a:chOff x="5696016" y="3086100"/>
              <a:chExt cx="800080" cy="685799"/>
            </a:xfrm>
            <a:grpFill/>
          </p:grpSpPr>
          <p:sp>
            <p:nvSpPr>
              <p:cNvPr id="1331" name="Vrije vorm: vorm 1330">
                <a:extLst>
                  <a:ext uri="{FF2B5EF4-FFF2-40B4-BE49-F238E27FC236}">
                    <a16:creationId xmlns:a16="http://schemas.microsoft.com/office/drawing/2014/main" id="{468434EF-2034-CCB7-B275-5A20DBE03C5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32" name="Vrije vorm: vorm 1331">
                <a:extLst>
                  <a:ext uri="{FF2B5EF4-FFF2-40B4-BE49-F238E27FC236}">
                    <a16:creationId xmlns:a16="http://schemas.microsoft.com/office/drawing/2014/main" id="{DA0BB2EC-8244-92F0-C21D-BDAD28501B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7" name="Groep 1246">
              <a:extLst>
                <a:ext uri="{FF2B5EF4-FFF2-40B4-BE49-F238E27FC236}">
                  <a16:creationId xmlns:a16="http://schemas.microsoft.com/office/drawing/2014/main" id="{F7EA12B7-1576-7026-EF2D-07963E1AAB7C}"/>
                </a:ext>
              </a:extLst>
            </p:cNvPr>
            <p:cNvGrpSpPr/>
            <p:nvPr/>
          </p:nvGrpSpPr>
          <p:grpSpPr>
            <a:xfrm>
              <a:off x="7784107" y="1773467"/>
              <a:ext cx="289443" cy="248100"/>
              <a:chOff x="5696016" y="3086100"/>
              <a:chExt cx="800080" cy="685799"/>
            </a:xfrm>
            <a:grpFill/>
          </p:grpSpPr>
          <p:sp>
            <p:nvSpPr>
              <p:cNvPr id="1329" name="Vrije vorm: vorm 1328">
                <a:extLst>
                  <a:ext uri="{FF2B5EF4-FFF2-40B4-BE49-F238E27FC236}">
                    <a16:creationId xmlns:a16="http://schemas.microsoft.com/office/drawing/2014/main" id="{75327A47-36B9-F447-D9FC-0AA4D25BB28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30" name="Vrije vorm: vorm 1329">
                <a:extLst>
                  <a:ext uri="{FF2B5EF4-FFF2-40B4-BE49-F238E27FC236}">
                    <a16:creationId xmlns:a16="http://schemas.microsoft.com/office/drawing/2014/main" id="{89DF0793-9121-AAE6-9971-06697936C7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8" name="Groep 1247">
              <a:extLst>
                <a:ext uri="{FF2B5EF4-FFF2-40B4-BE49-F238E27FC236}">
                  <a16:creationId xmlns:a16="http://schemas.microsoft.com/office/drawing/2014/main" id="{58ABB265-F46E-BED5-F12E-A5B6AC11530E}"/>
                </a:ext>
              </a:extLst>
            </p:cNvPr>
            <p:cNvGrpSpPr/>
            <p:nvPr/>
          </p:nvGrpSpPr>
          <p:grpSpPr>
            <a:xfrm>
              <a:off x="7139131" y="2083483"/>
              <a:ext cx="289443" cy="248100"/>
              <a:chOff x="5696016" y="3086100"/>
              <a:chExt cx="800080" cy="685799"/>
            </a:xfrm>
            <a:grpFill/>
          </p:grpSpPr>
          <p:sp>
            <p:nvSpPr>
              <p:cNvPr id="1327" name="Vrije vorm: vorm 1326">
                <a:extLst>
                  <a:ext uri="{FF2B5EF4-FFF2-40B4-BE49-F238E27FC236}">
                    <a16:creationId xmlns:a16="http://schemas.microsoft.com/office/drawing/2014/main" id="{6D25DC54-E467-8212-D906-6620AC9C054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28" name="Vrije vorm: vorm 1327">
                <a:extLst>
                  <a:ext uri="{FF2B5EF4-FFF2-40B4-BE49-F238E27FC236}">
                    <a16:creationId xmlns:a16="http://schemas.microsoft.com/office/drawing/2014/main" id="{0A0BFE51-DD2D-0837-2BBA-BD348C2889E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49" name="Groep 1248">
              <a:extLst>
                <a:ext uri="{FF2B5EF4-FFF2-40B4-BE49-F238E27FC236}">
                  <a16:creationId xmlns:a16="http://schemas.microsoft.com/office/drawing/2014/main" id="{C193D60F-7F0B-4758-128C-481A009D10D6}"/>
                </a:ext>
              </a:extLst>
            </p:cNvPr>
            <p:cNvGrpSpPr/>
            <p:nvPr/>
          </p:nvGrpSpPr>
          <p:grpSpPr>
            <a:xfrm>
              <a:off x="7461619" y="2083483"/>
              <a:ext cx="289443" cy="248100"/>
              <a:chOff x="5696016" y="3086100"/>
              <a:chExt cx="800080" cy="685799"/>
            </a:xfrm>
            <a:grpFill/>
          </p:grpSpPr>
          <p:sp>
            <p:nvSpPr>
              <p:cNvPr id="1325" name="Vrije vorm: vorm 1324">
                <a:extLst>
                  <a:ext uri="{FF2B5EF4-FFF2-40B4-BE49-F238E27FC236}">
                    <a16:creationId xmlns:a16="http://schemas.microsoft.com/office/drawing/2014/main" id="{5D99D106-5091-3FCD-E5B9-720F3D452EE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26" name="Vrije vorm: vorm 1325">
                <a:extLst>
                  <a:ext uri="{FF2B5EF4-FFF2-40B4-BE49-F238E27FC236}">
                    <a16:creationId xmlns:a16="http://schemas.microsoft.com/office/drawing/2014/main" id="{980DF0EB-CE73-A2B1-E7C8-12D0604BDDB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0" name="Groep 1249">
              <a:extLst>
                <a:ext uri="{FF2B5EF4-FFF2-40B4-BE49-F238E27FC236}">
                  <a16:creationId xmlns:a16="http://schemas.microsoft.com/office/drawing/2014/main" id="{69BC5698-0B1C-6F02-BAAD-EC1C74552EB9}"/>
                </a:ext>
              </a:extLst>
            </p:cNvPr>
            <p:cNvGrpSpPr/>
            <p:nvPr/>
          </p:nvGrpSpPr>
          <p:grpSpPr>
            <a:xfrm>
              <a:off x="7784107" y="2083483"/>
              <a:ext cx="289443" cy="248100"/>
              <a:chOff x="5696016" y="3086100"/>
              <a:chExt cx="800080" cy="685799"/>
            </a:xfrm>
            <a:grpFill/>
          </p:grpSpPr>
          <p:sp>
            <p:nvSpPr>
              <p:cNvPr id="1323" name="Vrije vorm: vorm 1322">
                <a:extLst>
                  <a:ext uri="{FF2B5EF4-FFF2-40B4-BE49-F238E27FC236}">
                    <a16:creationId xmlns:a16="http://schemas.microsoft.com/office/drawing/2014/main" id="{DDDCFBD3-CEFF-40BC-34CF-E152F282FFC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24" name="Vrije vorm: vorm 1323">
                <a:extLst>
                  <a:ext uri="{FF2B5EF4-FFF2-40B4-BE49-F238E27FC236}">
                    <a16:creationId xmlns:a16="http://schemas.microsoft.com/office/drawing/2014/main" id="{AB1B7465-F218-87CD-3BB2-BCCB44E7EA1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1" name="Groep 1250">
              <a:extLst>
                <a:ext uri="{FF2B5EF4-FFF2-40B4-BE49-F238E27FC236}">
                  <a16:creationId xmlns:a16="http://schemas.microsoft.com/office/drawing/2014/main" id="{69F1BDCE-B06D-D7B0-7CF1-ABD694DE692F}"/>
                </a:ext>
              </a:extLst>
            </p:cNvPr>
            <p:cNvGrpSpPr/>
            <p:nvPr/>
          </p:nvGrpSpPr>
          <p:grpSpPr>
            <a:xfrm>
              <a:off x="7139131" y="2393500"/>
              <a:ext cx="289443" cy="248100"/>
              <a:chOff x="5696016" y="3086100"/>
              <a:chExt cx="800080" cy="685799"/>
            </a:xfrm>
            <a:grpFill/>
          </p:grpSpPr>
          <p:sp>
            <p:nvSpPr>
              <p:cNvPr id="1321" name="Vrije vorm: vorm 1320">
                <a:extLst>
                  <a:ext uri="{FF2B5EF4-FFF2-40B4-BE49-F238E27FC236}">
                    <a16:creationId xmlns:a16="http://schemas.microsoft.com/office/drawing/2014/main" id="{910B1D45-C1C1-02BC-5F5B-2B630425DF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22" name="Vrije vorm: vorm 1321">
                <a:extLst>
                  <a:ext uri="{FF2B5EF4-FFF2-40B4-BE49-F238E27FC236}">
                    <a16:creationId xmlns:a16="http://schemas.microsoft.com/office/drawing/2014/main" id="{908B6C3E-AB3A-D958-47B0-CD19EFCAF29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2" name="Groep 1251">
              <a:extLst>
                <a:ext uri="{FF2B5EF4-FFF2-40B4-BE49-F238E27FC236}">
                  <a16:creationId xmlns:a16="http://schemas.microsoft.com/office/drawing/2014/main" id="{93668B7D-C8D8-58E3-1894-C56445F6F235}"/>
                </a:ext>
              </a:extLst>
            </p:cNvPr>
            <p:cNvGrpSpPr/>
            <p:nvPr/>
          </p:nvGrpSpPr>
          <p:grpSpPr>
            <a:xfrm>
              <a:off x="7461619" y="2393500"/>
              <a:ext cx="289443" cy="248100"/>
              <a:chOff x="5696016" y="3086100"/>
              <a:chExt cx="800080" cy="685799"/>
            </a:xfrm>
            <a:grpFill/>
          </p:grpSpPr>
          <p:sp>
            <p:nvSpPr>
              <p:cNvPr id="1319" name="Vrije vorm: vorm 1318">
                <a:extLst>
                  <a:ext uri="{FF2B5EF4-FFF2-40B4-BE49-F238E27FC236}">
                    <a16:creationId xmlns:a16="http://schemas.microsoft.com/office/drawing/2014/main" id="{71C8EAB8-309B-908A-25A2-FAAD540661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20" name="Vrije vorm: vorm 1319">
                <a:extLst>
                  <a:ext uri="{FF2B5EF4-FFF2-40B4-BE49-F238E27FC236}">
                    <a16:creationId xmlns:a16="http://schemas.microsoft.com/office/drawing/2014/main" id="{22C9093A-9278-C3A3-D3CC-DA9CD82B8C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3" name="Groep 1252">
              <a:extLst>
                <a:ext uri="{FF2B5EF4-FFF2-40B4-BE49-F238E27FC236}">
                  <a16:creationId xmlns:a16="http://schemas.microsoft.com/office/drawing/2014/main" id="{0795C651-F2BD-3FEC-3C98-03F77C696011}"/>
                </a:ext>
              </a:extLst>
            </p:cNvPr>
            <p:cNvGrpSpPr/>
            <p:nvPr/>
          </p:nvGrpSpPr>
          <p:grpSpPr>
            <a:xfrm>
              <a:off x="7784107" y="2393500"/>
              <a:ext cx="289443" cy="248100"/>
              <a:chOff x="5696016" y="3086100"/>
              <a:chExt cx="800080" cy="685799"/>
            </a:xfrm>
            <a:grpFill/>
          </p:grpSpPr>
          <p:sp>
            <p:nvSpPr>
              <p:cNvPr id="1317" name="Vrije vorm: vorm 1316">
                <a:extLst>
                  <a:ext uri="{FF2B5EF4-FFF2-40B4-BE49-F238E27FC236}">
                    <a16:creationId xmlns:a16="http://schemas.microsoft.com/office/drawing/2014/main" id="{E32CC353-0C19-514D-C7C4-63E3027081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18" name="Vrije vorm: vorm 1317">
                <a:extLst>
                  <a:ext uri="{FF2B5EF4-FFF2-40B4-BE49-F238E27FC236}">
                    <a16:creationId xmlns:a16="http://schemas.microsoft.com/office/drawing/2014/main" id="{993DD972-D9C4-75AF-7CF0-C2D28939ED8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4" name="Groep 1253">
              <a:extLst>
                <a:ext uri="{FF2B5EF4-FFF2-40B4-BE49-F238E27FC236}">
                  <a16:creationId xmlns:a16="http://schemas.microsoft.com/office/drawing/2014/main" id="{3D48CCB2-C485-A7CA-922C-6EAE25BB55F2}"/>
                </a:ext>
              </a:extLst>
            </p:cNvPr>
            <p:cNvGrpSpPr/>
            <p:nvPr/>
          </p:nvGrpSpPr>
          <p:grpSpPr>
            <a:xfrm>
              <a:off x="7133223" y="2705100"/>
              <a:ext cx="289443" cy="248100"/>
              <a:chOff x="5696016" y="3086100"/>
              <a:chExt cx="800080" cy="685799"/>
            </a:xfrm>
            <a:grpFill/>
          </p:grpSpPr>
          <p:sp>
            <p:nvSpPr>
              <p:cNvPr id="1315" name="Vrije vorm: vorm 1314">
                <a:extLst>
                  <a:ext uri="{FF2B5EF4-FFF2-40B4-BE49-F238E27FC236}">
                    <a16:creationId xmlns:a16="http://schemas.microsoft.com/office/drawing/2014/main" id="{CC77CCEC-73CE-6174-EA9D-1506D2865F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16" name="Vrije vorm: vorm 1315">
                <a:extLst>
                  <a:ext uri="{FF2B5EF4-FFF2-40B4-BE49-F238E27FC236}">
                    <a16:creationId xmlns:a16="http://schemas.microsoft.com/office/drawing/2014/main" id="{FDD37A0E-2BE3-2026-106F-ECB0C2AF5B0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5" name="Groep 1254">
              <a:extLst>
                <a:ext uri="{FF2B5EF4-FFF2-40B4-BE49-F238E27FC236}">
                  <a16:creationId xmlns:a16="http://schemas.microsoft.com/office/drawing/2014/main" id="{23B5786A-F581-9928-2ED0-6F15B253F5B2}"/>
                </a:ext>
              </a:extLst>
            </p:cNvPr>
            <p:cNvGrpSpPr/>
            <p:nvPr/>
          </p:nvGrpSpPr>
          <p:grpSpPr>
            <a:xfrm>
              <a:off x="7455711" y="2705100"/>
              <a:ext cx="289443" cy="248100"/>
              <a:chOff x="5696016" y="3086100"/>
              <a:chExt cx="800080" cy="685799"/>
            </a:xfrm>
            <a:grpFill/>
          </p:grpSpPr>
          <p:sp>
            <p:nvSpPr>
              <p:cNvPr id="1313" name="Vrije vorm: vorm 1312">
                <a:extLst>
                  <a:ext uri="{FF2B5EF4-FFF2-40B4-BE49-F238E27FC236}">
                    <a16:creationId xmlns:a16="http://schemas.microsoft.com/office/drawing/2014/main" id="{F733CAC6-2D4D-CB39-49F2-0673DDF89D3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14" name="Vrije vorm: vorm 1313">
                <a:extLst>
                  <a:ext uri="{FF2B5EF4-FFF2-40B4-BE49-F238E27FC236}">
                    <a16:creationId xmlns:a16="http://schemas.microsoft.com/office/drawing/2014/main" id="{BB8C321C-59EA-FA4D-B512-25BD597F2D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6" name="Groep 1255">
              <a:extLst>
                <a:ext uri="{FF2B5EF4-FFF2-40B4-BE49-F238E27FC236}">
                  <a16:creationId xmlns:a16="http://schemas.microsoft.com/office/drawing/2014/main" id="{600FDBC5-9853-7668-4FE6-F67364701E34}"/>
                </a:ext>
              </a:extLst>
            </p:cNvPr>
            <p:cNvGrpSpPr/>
            <p:nvPr/>
          </p:nvGrpSpPr>
          <p:grpSpPr>
            <a:xfrm>
              <a:off x="7778199" y="2705100"/>
              <a:ext cx="289443" cy="248100"/>
              <a:chOff x="5696016" y="3086100"/>
              <a:chExt cx="800080" cy="685799"/>
            </a:xfrm>
            <a:grpFill/>
          </p:grpSpPr>
          <p:sp>
            <p:nvSpPr>
              <p:cNvPr id="1311" name="Vrije vorm: vorm 1310">
                <a:extLst>
                  <a:ext uri="{FF2B5EF4-FFF2-40B4-BE49-F238E27FC236}">
                    <a16:creationId xmlns:a16="http://schemas.microsoft.com/office/drawing/2014/main" id="{556A59E9-D548-7C38-4E58-0AAFCADD46D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12" name="Vrije vorm: vorm 1311">
                <a:extLst>
                  <a:ext uri="{FF2B5EF4-FFF2-40B4-BE49-F238E27FC236}">
                    <a16:creationId xmlns:a16="http://schemas.microsoft.com/office/drawing/2014/main" id="{4978E11F-9A06-498C-39ED-EF2C5A93248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7" name="Groep 1256">
              <a:extLst>
                <a:ext uri="{FF2B5EF4-FFF2-40B4-BE49-F238E27FC236}">
                  <a16:creationId xmlns:a16="http://schemas.microsoft.com/office/drawing/2014/main" id="{C5343BE7-2E74-403D-0BE6-35D1B22F10FA}"/>
                </a:ext>
              </a:extLst>
            </p:cNvPr>
            <p:cNvGrpSpPr/>
            <p:nvPr/>
          </p:nvGrpSpPr>
          <p:grpSpPr>
            <a:xfrm>
              <a:off x="7133223" y="3015117"/>
              <a:ext cx="289443" cy="248100"/>
              <a:chOff x="5696016" y="3086100"/>
              <a:chExt cx="800080" cy="685799"/>
            </a:xfrm>
            <a:grpFill/>
          </p:grpSpPr>
          <p:sp>
            <p:nvSpPr>
              <p:cNvPr id="1309" name="Vrije vorm: vorm 1308">
                <a:extLst>
                  <a:ext uri="{FF2B5EF4-FFF2-40B4-BE49-F238E27FC236}">
                    <a16:creationId xmlns:a16="http://schemas.microsoft.com/office/drawing/2014/main" id="{2DACBD9C-589C-3BA3-F597-97CF617C9FE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10" name="Vrije vorm: vorm 1309">
                <a:extLst>
                  <a:ext uri="{FF2B5EF4-FFF2-40B4-BE49-F238E27FC236}">
                    <a16:creationId xmlns:a16="http://schemas.microsoft.com/office/drawing/2014/main" id="{2B03FEE1-CB90-D2C6-9A1C-B6866A2DA87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8" name="Groep 1257">
              <a:extLst>
                <a:ext uri="{FF2B5EF4-FFF2-40B4-BE49-F238E27FC236}">
                  <a16:creationId xmlns:a16="http://schemas.microsoft.com/office/drawing/2014/main" id="{2582A367-B1D3-A166-BD6E-1A5DF48847C1}"/>
                </a:ext>
              </a:extLst>
            </p:cNvPr>
            <p:cNvGrpSpPr/>
            <p:nvPr/>
          </p:nvGrpSpPr>
          <p:grpSpPr>
            <a:xfrm>
              <a:off x="7455711" y="3015117"/>
              <a:ext cx="289443" cy="248100"/>
              <a:chOff x="5696016" y="3086100"/>
              <a:chExt cx="800080" cy="685799"/>
            </a:xfrm>
            <a:grpFill/>
          </p:grpSpPr>
          <p:sp>
            <p:nvSpPr>
              <p:cNvPr id="1307" name="Vrije vorm: vorm 1306">
                <a:extLst>
                  <a:ext uri="{FF2B5EF4-FFF2-40B4-BE49-F238E27FC236}">
                    <a16:creationId xmlns:a16="http://schemas.microsoft.com/office/drawing/2014/main" id="{B756C9B7-D7BA-9F7C-F8CF-59EBE7991B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08" name="Vrije vorm: vorm 1307">
                <a:extLst>
                  <a:ext uri="{FF2B5EF4-FFF2-40B4-BE49-F238E27FC236}">
                    <a16:creationId xmlns:a16="http://schemas.microsoft.com/office/drawing/2014/main" id="{8AF98B21-2546-2767-EC9D-03C636FA520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59" name="Groep 1258">
              <a:extLst>
                <a:ext uri="{FF2B5EF4-FFF2-40B4-BE49-F238E27FC236}">
                  <a16:creationId xmlns:a16="http://schemas.microsoft.com/office/drawing/2014/main" id="{FEBF1AFE-13E3-F12F-B4F1-80E0A9EDF740}"/>
                </a:ext>
              </a:extLst>
            </p:cNvPr>
            <p:cNvGrpSpPr/>
            <p:nvPr/>
          </p:nvGrpSpPr>
          <p:grpSpPr>
            <a:xfrm>
              <a:off x="7778199" y="3015117"/>
              <a:ext cx="289443" cy="248100"/>
              <a:chOff x="5696016" y="3086100"/>
              <a:chExt cx="800080" cy="685799"/>
            </a:xfrm>
            <a:grpFill/>
          </p:grpSpPr>
          <p:sp>
            <p:nvSpPr>
              <p:cNvPr id="1305" name="Vrije vorm: vorm 1304">
                <a:extLst>
                  <a:ext uri="{FF2B5EF4-FFF2-40B4-BE49-F238E27FC236}">
                    <a16:creationId xmlns:a16="http://schemas.microsoft.com/office/drawing/2014/main" id="{1A23C27B-6CDE-203E-ECE8-1E20175C727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06" name="Vrije vorm: vorm 1305">
                <a:extLst>
                  <a:ext uri="{FF2B5EF4-FFF2-40B4-BE49-F238E27FC236}">
                    <a16:creationId xmlns:a16="http://schemas.microsoft.com/office/drawing/2014/main" id="{CBA7E4FC-7A3F-E918-C143-87A01DA7DEB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0" name="Groep 1259">
              <a:extLst>
                <a:ext uri="{FF2B5EF4-FFF2-40B4-BE49-F238E27FC236}">
                  <a16:creationId xmlns:a16="http://schemas.microsoft.com/office/drawing/2014/main" id="{D94612F8-AEDC-D4A2-6B06-4645CCA3FED6}"/>
                </a:ext>
              </a:extLst>
            </p:cNvPr>
            <p:cNvGrpSpPr/>
            <p:nvPr/>
          </p:nvGrpSpPr>
          <p:grpSpPr>
            <a:xfrm>
              <a:off x="7133223" y="3325135"/>
              <a:ext cx="289443" cy="248100"/>
              <a:chOff x="5696016" y="3086100"/>
              <a:chExt cx="800080" cy="685799"/>
            </a:xfrm>
            <a:grpFill/>
          </p:grpSpPr>
          <p:sp>
            <p:nvSpPr>
              <p:cNvPr id="1303" name="Vrije vorm: vorm 1302">
                <a:extLst>
                  <a:ext uri="{FF2B5EF4-FFF2-40B4-BE49-F238E27FC236}">
                    <a16:creationId xmlns:a16="http://schemas.microsoft.com/office/drawing/2014/main" id="{09C05074-ED5E-4368-1F10-F5A80BECCAD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04" name="Vrije vorm: vorm 1303">
                <a:extLst>
                  <a:ext uri="{FF2B5EF4-FFF2-40B4-BE49-F238E27FC236}">
                    <a16:creationId xmlns:a16="http://schemas.microsoft.com/office/drawing/2014/main" id="{B6B29292-482A-BC5E-9911-33EE7DEEB76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1" name="Groep 1260">
              <a:extLst>
                <a:ext uri="{FF2B5EF4-FFF2-40B4-BE49-F238E27FC236}">
                  <a16:creationId xmlns:a16="http://schemas.microsoft.com/office/drawing/2014/main" id="{7307E73E-6A12-9DEA-1D6D-C2CF1513D0BA}"/>
                </a:ext>
              </a:extLst>
            </p:cNvPr>
            <p:cNvGrpSpPr/>
            <p:nvPr/>
          </p:nvGrpSpPr>
          <p:grpSpPr>
            <a:xfrm>
              <a:off x="7455711" y="3325135"/>
              <a:ext cx="289443" cy="248100"/>
              <a:chOff x="5696016" y="3086100"/>
              <a:chExt cx="800080" cy="685799"/>
            </a:xfrm>
            <a:grpFill/>
          </p:grpSpPr>
          <p:sp>
            <p:nvSpPr>
              <p:cNvPr id="1301" name="Vrije vorm: vorm 1300">
                <a:extLst>
                  <a:ext uri="{FF2B5EF4-FFF2-40B4-BE49-F238E27FC236}">
                    <a16:creationId xmlns:a16="http://schemas.microsoft.com/office/drawing/2014/main" id="{0988CB6B-25B9-749B-5A24-CC38336D2DF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02" name="Vrije vorm: vorm 1301">
                <a:extLst>
                  <a:ext uri="{FF2B5EF4-FFF2-40B4-BE49-F238E27FC236}">
                    <a16:creationId xmlns:a16="http://schemas.microsoft.com/office/drawing/2014/main" id="{B865DA8B-07F5-6C91-B2CB-8A260C207D5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2" name="Groep 1261">
              <a:extLst>
                <a:ext uri="{FF2B5EF4-FFF2-40B4-BE49-F238E27FC236}">
                  <a16:creationId xmlns:a16="http://schemas.microsoft.com/office/drawing/2014/main" id="{42D4E515-F6ED-3D2F-41C1-507D0B20BEEE}"/>
                </a:ext>
              </a:extLst>
            </p:cNvPr>
            <p:cNvGrpSpPr/>
            <p:nvPr/>
          </p:nvGrpSpPr>
          <p:grpSpPr>
            <a:xfrm>
              <a:off x="7778199" y="3325135"/>
              <a:ext cx="289443" cy="248100"/>
              <a:chOff x="5696016" y="3086100"/>
              <a:chExt cx="800080" cy="685799"/>
            </a:xfrm>
            <a:grpFill/>
          </p:grpSpPr>
          <p:sp>
            <p:nvSpPr>
              <p:cNvPr id="1299" name="Vrije vorm: vorm 1298">
                <a:extLst>
                  <a:ext uri="{FF2B5EF4-FFF2-40B4-BE49-F238E27FC236}">
                    <a16:creationId xmlns:a16="http://schemas.microsoft.com/office/drawing/2014/main" id="{9616267F-C315-7880-7743-5D13CD5D6B5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300" name="Vrije vorm: vorm 1299">
                <a:extLst>
                  <a:ext uri="{FF2B5EF4-FFF2-40B4-BE49-F238E27FC236}">
                    <a16:creationId xmlns:a16="http://schemas.microsoft.com/office/drawing/2014/main" id="{DB84183E-430D-B2C2-DBBA-5FEC988533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3" name="Groep 1262">
              <a:extLst>
                <a:ext uri="{FF2B5EF4-FFF2-40B4-BE49-F238E27FC236}">
                  <a16:creationId xmlns:a16="http://schemas.microsoft.com/office/drawing/2014/main" id="{ECF6E299-03E2-1CD5-D04A-83C9713952C1}"/>
                </a:ext>
              </a:extLst>
            </p:cNvPr>
            <p:cNvGrpSpPr/>
            <p:nvPr/>
          </p:nvGrpSpPr>
          <p:grpSpPr>
            <a:xfrm>
              <a:off x="7133223" y="3635151"/>
              <a:ext cx="289443" cy="248100"/>
              <a:chOff x="5696016" y="3086100"/>
              <a:chExt cx="800080" cy="685799"/>
            </a:xfrm>
            <a:grpFill/>
          </p:grpSpPr>
          <p:sp>
            <p:nvSpPr>
              <p:cNvPr id="1297" name="Vrije vorm: vorm 1296">
                <a:extLst>
                  <a:ext uri="{FF2B5EF4-FFF2-40B4-BE49-F238E27FC236}">
                    <a16:creationId xmlns:a16="http://schemas.microsoft.com/office/drawing/2014/main" id="{5FCBB1B1-4265-0303-9FA8-8A967EFC317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98" name="Vrije vorm: vorm 1297">
                <a:extLst>
                  <a:ext uri="{FF2B5EF4-FFF2-40B4-BE49-F238E27FC236}">
                    <a16:creationId xmlns:a16="http://schemas.microsoft.com/office/drawing/2014/main" id="{6716E0FE-6F21-B911-840F-E2CF27D7653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4" name="Groep 1263">
              <a:extLst>
                <a:ext uri="{FF2B5EF4-FFF2-40B4-BE49-F238E27FC236}">
                  <a16:creationId xmlns:a16="http://schemas.microsoft.com/office/drawing/2014/main" id="{087708BB-7119-6295-14F9-59289C4CA97D}"/>
                </a:ext>
              </a:extLst>
            </p:cNvPr>
            <p:cNvGrpSpPr/>
            <p:nvPr/>
          </p:nvGrpSpPr>
          <p:grpSpPr>
            <a:xfrm>
              <a:off x="7455711" y="3635151"/>
              <a:ext cx="289443" cy="248100"/>
              <a:chOff x="5696016" y="3086100"/>
              <a:chExt cx="800080" cy="685799"/>
            </a:xfrm>
            <a:grpFill/>
          </p:grpSpPr>
          <p:sp>
            <p:nvSpPr>
              <p:cNvPr id="1295" name="Vrije vorm: vorm 1294">
                <a:extLst>
                  <a:ext uri="{FF2B5EF4-FFF2-40B4-BE49-F238E27FC236}">
                    <a16:creationId xmlns:a16="http://schemas.microsoft.com/office/drawing/2014/main" id="{C91B2F9B-FFDD-74C5-4168-242B825838F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96" name="Vrije vorm: vorm 1295">
                <a:extLst>
                  <a:ext uri="{FF2B5EF4-FFF2-40B4-BE49-F238E27FC236}">
                    <a16:creationId xmlns:a16="http://schemas.microsoft.com/office/drawing/2014/main" id="{6C49A282-55E8-2472-C393-4AB99A31CD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5" name="Groep 1264">
              <a:extLst>
                <a:ext uri="{FF2B5EF4-FFF2-40B4-BE49-F238E27FC236}">
                  <a16:creationId xmlns:a16="http://schemas.microsoft.com/office/drawing/2014/main" id="{C0501FE5-BE90-5751-E2F9-51888E6EE581}"/>
                </a:ext>
              </a:extLst>
            </p:cNvPr>
            <p:cNvGrpSpPr/>
            <p:nvPr/>
          </p:nvGrpSpPr>
          <p:grpSpPr>
            <a:xfrm>
              <a:off x="7778199" y="3635151"/>
              <a:ext cx="289443" cy="248100"/>
              <a:chOff x="5696016" y="3086100"/>
              <a:chExt cx="800080" cy="685799"/>
            </a:xfrm>
            <a:grpFill/>
          </p:grpSpPr>
          <p:sp>
            <p:nvSpPr>
              <p:cNvPr id="1293" name="Vrije vorm: vorm 1292">
                <a:extLst>
                  <a:ext uri="{FF2B5EF4-FFF2-40B4-BE49-F238E27FC236}">
                    <a16:creationId xmlns:a16="http://schemas.microsoft.com/office/drawing/2014/main" id="{75AC6CA9-B2D6-427D-E5EB-2DF1D4C1728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94" name="Vrije vorm: vorm 1293">
                <a:extLst>
                  <a:ext uri="{FF2B5EF4-FFF2-40B4-BE49-F238E27FC236}">
                    <a16:creationId xmlns:a16="http://schemas.microsoft.com/office/drawing/2014/main" id="{F543CBC3-E81A-9724-F84D-EACF5D57760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6" name="Groep 1265">
              <a:extLst>
                <a:ext uri="{FF2B5EF4-FFF2-40B4-BE49-F238E27FC236}">
                  <a16:creationId xmlns:a16="http://schemas.microsoft.com/office/drawing/2014/main" id="{366C4688-E922-18AB-0068-392EB54EAB26}"/>
                </a:ext>
              </a:extLst>
            </p:cNvPr>
            <p:cNvGrpSpPr/>
            <p:nvPr/>
          </p:nvGrpSpPr>
          <p:grpSpPr>
            <a:xfrm>
              <a:off x="7133223" y="3945167"/>
              <a:ext cx="289443" cy="248100"/>
              <a:chOff x="5696016" y="3086100"/>
              <a:chExt cx="800080" cy="685799"/>
            </a:xfrm>
            <a:grpFill/>
          </p:grpSpPr>
          <p:sp>
            <p:nvSpPr>
              <p:cNvPr id="1291" name="Vrije vorm: vorm 1290">
                <a:extLst>
                  <a:ext uri="{FF2B5EF4-FFF2-40B4-BE49-F238E27FC236}">
                    <a16:creationId xmlns:a16="http://schemas.microsoft.com/office/drawing/2014/main" id="{6AF3CB67-0556-8172-D00D-8E5FE60D466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92" name="Vrije vorm: vorm 1291">
                <a:extLst>
                  <a:ext uri="{FF2B5EF4-FFF2-40B4-BE49-F238E27FC236}">
                    <a16:creationId xmlns:a16="http://schemas.microsoft.com/office/drawing/2014/main" id="{B7ACCFCD-F7C5-1DE2-8C8E-0B1228C9BAA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7" name="Groep 1266">
              <a:extLst>
                <a:ext uri="{FF2B5EF4-FFF2-40B4-BE49-F238E27FC236}">
                  <a16:creationId xmlns:a16="http://schemas.microsoft.com/office/drawing/2014/main" id="{D8FA9A75-CE44-D140-708E-3F49CD106DEB}"/>
                </a:ext>
              </a:extLst>
            </p:cNvPr>
            <p:cNvGrpSpPr/>
            <p:nvPr/>
          </p:nvGrpSpPr>
          <p:grpSpPr>
            <a:xfrm>
              <a:off x="7455711" y="3945167"/>
              <a:ext cx="289443" cy="248100"/>
              <a:chOff x="5696016" y="3086100"/>
              <a:chExt cx="800080" cy="685799"/>
            </a:xfrm>
            <a:grpFill/>
          </p:grpSpPr>
          <p:sp>
            <p:nvSpPr>
              <p:cNvPr id="1289" name="Vrije vorm: vorm 1288">
                <a:extLst>
                  <a:ext uri="{FF2B5EF4-FFF2-40B4-BE49-F238E27FC236}">
                    <a16:creationId xmlns:a16="http://schemas.microsoft.com/office/drawing/2014/main" id="{FD34D950-8BA5-6F4E-9996-638F32D9635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90" name="Vrije vorm: vorm 1289">
                <a:extLst>
                  <a:ext uri="{FF2B5EF4-FFF2-40B4-BE49-F238E27FC236}">
                    <a16:creationId xmlns:a16="http://schemas.microsoft.com/office/drawing/2014/main" id="{188FCBFE-08F9-47E1-7A46-C37454703D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8" name="Groep 1267">
              <a:extLst>
                <a:ext uri="{FF2B5EF4-FFF2-40B4-BE49-F238E27FC236}">
                  <a16:creationId xmlns:a16="http://schemas.microsoft.com/office/drawing/2014/main" id="{92148182-E4E3-DE20-39C1-CC19186A7901}"/>
                </a:ext>
              </a:extLst>
            </p:cNvPr>
            <p:cNvGrpSpPr/>
            <p:nvPr/>
          </p:nvGrpSpPr>
          <p:grpSpPr>
            <a:xfrm>
              <a:off x="7778199" y="3945167"/>
              <a:ext cx="289443" cy="248100"/>
              <a:chOff x="5696016" y="3086100"/>
              <a:chExt cx="800080" cy="685799"/>
            </a:xfrm>
            <a:grpFill/>
          </p:grpSpPr>
          <p:sp>
            <p:nvSpPr>
              <p:cNvPr id="1287" name="Vrije vorm: vorm 1286">
                <a:extLst>
                  <a:ext uri="{FF2B5EF4-FFF2-40B4-BE49-F238E27FC236}">
                    <a16:creationId xmlns:a16="http://schemas.microsoft.com/office/drawing/2014/main" id="{438BF3E8-BD08-A599-6CD6-4779F32AD33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88" name="Vrije vorm: vorm 1287">
                <a:extLst>
                  <a:ext uri="{FF2B5EF4-FFF2-40B4-BE49-F238E27FC236}">
                    <a16:creationId xmlns:a16="http://schemas.microsoft.com/office/drawing/2014/main" id="{9FF56DA3-7731-A21B-2FD5-4DDC0D1347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69" name="Groep 1268">
              <a:extLst>
                <a:ext uri="{FF2B5EF4-FFF2-40B4-BE49-F238E27FC236}">
                  <a16:creationId xmlns:a16="http://schemas.microsoft.com/office/drawing/2014/main" id="{FFEDCA7E-0B94-6FEF-36E1-9E16DDF8BCF7}"/>
                </a:ext>
              </a:extLst>
            </p:cNvPr>
            <p:cNvGrpSpPr/>
            <p:nvPr/>
          </p:nvGrpSpPr>
          <p:grpSpPr>
            <a:xfrm>
              <a:off x="7133223" y="4255183"/>
              <a:ext cx="289443" cy="248100"/>
              <a:chOff x="5696016" y="3086100"/>
              <a:chExt cx="800080" cy="685799"/>
            </a:xfrm>
            <a:grpFill/>
          </p:grpSpPr>
          <p:sp>
            <p:nvSpPr>
              <p:cNvPr id="1285" name="Vrije vorm: vorm 1284">
                <a:extLst>
                  <a:ext uri="{FF2B5EF4-FFF2-40B4-BE49-F238E27FC236}">
                    <a16:creationId xmlns:a16="http://schemas.microsoft.com/office/drawing/2014/main" id="{978B7D3C-0693-B97C-7F08-479ADC6516B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86" name="Vrije vorm: vorm 1285">
                <a:extLst>
                  <a:ext uri="{FF2B5EF4-FFF2-40B4-BE49-F238E27FC236}">
                    <a16:creationId xmlns:a16="http://schemas.microsoft.com/office/drawing/2014/main" id="{5874E23A-DF9E-A401-A2E7-4AA9E2B0A69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70" name="Groep 1269">
              <a:extLst>
                <a:ext uri="{FF2B5EF4-FFF2-40B4-BE49-F238E27FC236}">
                  <a16:creationId xmlns:a16="http://schemas.microsoft.com/office/drawing/2014/main" id="{09B4ACB6-C4B2-169B-A7F3-5590F50886C4}"/>
                </a:ext>
              </a:extLst>
            </p:cNvPr>
            <p:cNvGrpSpPr/>
            <p:nvPr/>
          </p:nvGrpSpPr>
          <p:grpSpPr>
            <a:xfrm>
              <a:off x="7455711" y="4255183"/>
              <a:ext cx="289443" cy="248100"/>
              <a:chOff x="5696016" y="3086100"/>
              <a:chExt cx="800080" cy="685799"/>
            </a:xfrm>
            <a:grpFill/>
          </p:grpSpPr>
          <p:sp>
            <p:nvSpPr>
              <p:cNvPr id="1283" name="Vrije vorm: vorm 1282">
                <a:extLst>
                  <a:ext uri="{FF2B5EF4-FFF2-40B4-BE49-F238E27FC236}">
                    <a16:creationId xmlns:a16="http://schemas.microsoft.com/office/drawing/2014/main" id="{AA1D144A-1204-67C7-A1D3-30BDA3FC709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84" name="Vrije vorm: vorm 1283">
                <a:extLst>
                  <a:ext uri="{FF2B5EF4-FFF2-40B4-BE49-F238E27FC236}">
                    <a16:creationId xmlns:a16="http://schemas.microsoft.com/office/drawing/2014/main" id="{EE60D9A0-A121-EA68-FA1A-3A00F23D175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71" name="Groep 1270">
              <a:extLst>
                <a:ext uri="{FF2B5EF4-FFF2-40B4-BE49-F238E27FC236}">
                  <a16:creationId xmlns:a16="http://schemas.microsoft.com/office/drawing/2014/main" id="{6C7F4954-1831-1F57-348F-469A30A92CE9}"/>
                </a:ext>
              </a:extLst>
            </p:cNvPr>
            <p:cNvGrpSpPr/>
            <p:nvPr/>
          </p:nvGrpSpPr>
          <p:grpSpPr>
            <a:xfrm>
              <a:off x="7778199" y="4255183"/>
              <a:ext cx="289443" cy="248100"/>
              <a:chOff x="5696016" y="3086100"/>
              <a:chExt cx="800080" cy="685799"/>
            </a:xfrm>
            <a:grpFill/>
          </p:grpSpPr>
          <p:sp>
            <p:nvSpPr>
              <p:cNvPr id="1281" name="Vrije vorm: vorm 1280">
                <a:extLst>
                  <a:ext uri="{FF2B5EF4-FFF2-40B4-BE49-F238E27FC236}">
                    <a16:creationId xmlns:a16="http://schemas.microsoft.com/office/drawing/2014/main" id="{8E3F509F-0917-6AFE-5BC3-5EB70A45EF5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82" name="Vrije vorm: vorm 1281">
                <a:extLst>
                  <a:ext uri="{FF2B5EF4-FFF2-40B4-BE49-F238E27FC236}">
                    <a16:creationId xmlns:a16="http://schemas.microsoft.com/office/drawing/2014/main" id="{BA6D5FFA-3E3A-0A3F-7E51-525E2EF9C92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72" name="Groep 1271">
              <a:extLst>
                <a:ext uri="{FF2B5EF4-FFF2-40B4-BE49-F238E27FC236}">
                  <a16:creationId xmlns:a16="http://schemas.microsoft.com/office/drawing/2014/main" id="{F54B5BB6-1E0B-8C44-468A-864B276F29FD}"/>
                </a:ext>
              </a:extLst>
            </p:cNvPr>
            <p:cNvGrpSpPr/>
            <p:nvPr/>
          </p:nvGrpSpPr>
          <p:grpSpPr>
            <a:xfrm>
              <a:off x="7133223" y="4565200"/>
              <a:ext cx="289443" cy="248100"/>
              <a:chOff x="5696016" y="3086100"/>
              <a:chExt cx="800080" cy="685799"/>
            </a:xfrm>
            <a:grpFill/>
          </p:grpSpPr>
          <p:sp>
            <p:nvSpPr>
              <p:cNvPr id="1279" name="Vrije vorm: vorm 1278">
                <a:extLst>
                  <a:ext uri="{FF2B5EF4-FFF2-40B4-BE49-F238E27FC236}">
                    <a16:creationId xmlns:a16="http://schemas.microsoft.com/office/drawing/2014/main" id="{C46D0B37-2717-EB6F-E31F-831172324C6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80" name="Vrije vorm: vorm 1279">
                <a:extLst>
                  <a:ext uri="{FF2B5EF4-FFF2-40B4-BE49-F238E27FC236}">
                    <a16:creationId xmlns:a16="http://schemas.microsoft.com/office/drawing/2014/main" id="{0601E26F-EC4D-1989-32DE-D14D860D432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73" name="Groep 1272">
              <a:extLst>
                <a:ext uri="{FF2B5EF4-FFF2-40B4-BE49-F238E27FC236}">
                  <a16:creationId xmlns:a16="http://schemas.microsoft.com/office/drawing/2014/main" id="{F5225145-C0DA-D300-3931-DCBD42BB0C58}"/>
                </a:ext>
              </a:extLst>
            </p:cNvPr>
            <p:cNvGrpSpPr/>
            <p:nvPr/>
          </p:nvGrpSpPr>
          <p:grpSpPr>
            <a:xfrm>
              <a:off x="7455711" y="4565200"/>
              <a:ext cx="289443" cy="248100"/>
              <a:chOff x="5696016" y="3086100"/>
              <a:chExt cx="800080" cy="685799"/>
            </a:xfrm>
            <a:grpFill/>
          </p:grpSpPr>
          <p:sp>
            <p:nvSpPr>
              <p:cNvPr id="1277" name="Vrije vorm: vorm 1276">
                <a:extLst>
                  <a:ext uri="{FF2B5EF4-FFF2-40B4-BE49-F238E27FC236}">
                    <a16:creationId xmlns:a16="http://schemas.microsoft.com/office/drawing/2014/main" id="{EDE3FC53-A8CF-FEB7-DB5A-5B91B452F20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78" name="Vrije vorm: vorm 1277">
                <a:extLst>
                  <a:ext uri="{FF2B5EF4-FFF2-40B4-BE49-F238E27FC236}">
                    <a16:creationId xmlns:a16="http://schemas.microsoft.com/office/drawing/2014/main" id="{E093D4A7-C197-74B0-9E2C-3FDA5D948CA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274" name="Groep 1273">
              <a:extLst>
                <a:ext uri="{FF2B5EF4-FFF2-40B4-BE49-F238E27FC236}">
                  <a16:creationId xmlns:a16="http://schemas.microsoft.com/office/drawing/2014/main" id="{B0F8F75E-6DA4-66AF-D1FA-311E1363F78F}"/>
                </a:ext>
              </a:extLst>
            </p:cNvPr>
            <p:cNvGrpSpPr/>
            <p:nvPr/>
          </p:nvGrpSpPr>
          <p:grpSpPr>
            <a:xfrm>
              <a:off x="7778199" y="4565200"/>
              <a:ext cx="289443" cy="248100"/>
              <a:chOff x="5696016" y="3086100"/>
              <a:chExt cx="800080" cy="685799"/>
            </a:xfrm>
            <a:grpFill/>
          </p:grpSpPr>
          <p:sp>
            <p:nvSpPr>
              <p:cNvPr id="1275" name="Vrije vorm: vorm 1274">
                <a:extLst>
                  <a:ext uri="{FF2B5EF4-FFF2-40B4-BE49-F238E27FC236}">
                    <a16:creationId xmlns:a16="http://schemas.microsoft.com/office/drawing/2014/main" id="{7C20F4A4-0F20-6D28-1938-3A8AACB8722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276" name="Vrije vorm: vorm 1275">
                <a:extLst>
                  <a:ext uri="{FF2B5EF4-FFF2-40B4-BE49-F238E27FC236}">
                    <a16:creationId xmlns:a16="http://schemas.microsoft.com/office/drawing/2014/main" id="{D7CB1417-E303-B97F-47C8-D7B30AEC5EC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359" name="Groep 1358">
            <a:extLst>
              <a:ext uri="{FF2B5EF4-FFF2-40B4-BE49-F238E27FC236}">
                <a16:creationId xmlns:a16="http://schemas.microsoft.com/office/drawing/2014/main" id="{52F44DD7-739D-0192-B9AB-8563130BD02B}"/>
              </a:ext>
            </a:extLst>
          </p:cNvPr>
          <p:cNvGrpSpPr/>
          <p:nvPr/>
        </p:nvGrpSpPr>
        <p:grpSpPr>
          <a:xfrm>
            <a:off x="10089269" y="2044547"/>
            <a:ext cx="763072" cy="3473127"/>
            <a:chOff x="7133223" y="533400"/>
            <a:chExt cx="940327" cy="4279900"/>
          </a:xfrm>
          <a:solidFill>
            <a:schemeClr val="accent2"/>
          </a:solidFill>
        </p:grpSpPr>
        <p:grpSp>
          <p:nvGrpSpPr>
            <p:cNvPr id="1360" name="Groep 1359">
              <a:extLst>
                <a:ext uri="{FF2B5EF4-FFF2-40B4-BE49-F238E27FC236}">
                  <a16:creationId xmlns:a16="http://schemas.microsoft.com/office/drawing/2014/main" id="{5D990625-B23F-3B01-F4F2-E3433C0AEE26}"/>
                </a:ext>
              </a:extLst>
            </p:cNvPr>
            <p:cNvGrpSpPr/>
            <p:nvPr/>
          </p:nvGrpSpPr>
          <p:grpSpPr>
            <a:xfrm>
              <a:off x="7139131" y="533400"/>
              <a:ext cx="289443" cy="248100"/>
              <a:chOff x="5696016" y="3086100"/>
              <a:chExt cx="800080" cy="685799"/>
            </a:xfrm>
            <a:grpFill/>
          </p:grpSpPr>
          <p:sp>
            <p:nvSpPr>
              <p:cNvPr id="1484" name="Vrije vorm: vorm 1483">
                <a:extLst>
                  <a:ext uri="{FF2B5EF4-FFF2-40B4-BE49-F238E27FC236}">
                    <a16:creationId xmlns:a16="http://schemas.microsoft.com/office/drawing/2014/main" id="{C21BC3D5-911B-6D5C-7121-82CE554E87F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85" name="Vrije vorm: vorm 1484">
                <a:extLst>
                  <a:ext uri="{FF2B5EF4-FFF2-40B4-BE49-F238E27FC236}">
                    <a16:creationId xmlns:a16="http://schemas.microsoft.com/office/drawing/2014/main" id="{D2E29787-8ACA-DD32-FE2C-31A6C9C31F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1" name="Groep 1360">
              <a:extLst>
                <a:ext uri="{FF2B5EF4-FFF2-40B4-BE49-F238E27FC236}">
                  <a16:creationId xmlns:a16="http://schemas.microsoft.com/office/drawing/2014/main" id="{C1A72BD1-E493-5A42-44C8-AD9E30FCDE2B}"/>
                </a:ext>
              </a:extLst>
            </p:cNvPr>
            <p:cNvGrpSpPr/>
            <p:nvPr/>
          </p:nvGrpSpPr>
          <p:grpSpPr>
            <a:xfrm>
              <a:off x="7461619" y="533400"/>
              <a:ext cx="289443" cy="248100"/>
              <a:chOff x="5696016" y="3086100"/>
              <a:chExt cx="800080" cy="685799"/>
            </a:xfrm>
            <a:grpFill/>
          </p:grpSpPr>
          <p:sp>
            <p:nvSpPr>
              <p:cNvPr id="1482" name="Vrije vorm: vorm 1481">
                <a:extLst>
                  <a:ext uri="{FF2B5EF4-FFF2-40B4-BE49-F238E27FC236}">
                    <a16:creationId xmlns:a16="http://schemas.microsoft.com/office/drawing/2014/main" id="{7E27013E-CCF6-41CE-8919-EA911B5A016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83" name="Vrije vorm: vorm 1482">
                <a:extLst>
                  <a:ext uri="{FF2B5EF4-FFF2-40B4-BE49-F238E27FC236}">
                    <a16:creationId xmlns:a16="http://schemas.microsoft.com/office/drawing/2014/main" id="{A7FAD706-F182-0486-E7D4-EB12D805765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2" name="Groep 1361">
              <a:extLst>
                <a:ext uri="{FF2B5EF4-FFF2-40B4-BE49-F238E27FC236}">
                  <a16:creationId xmlns:a16="http://schemas.microsoft.com/office/drawing/2014/main" id="{625C9320-90C7-C75D-A54A-5C2421D6CFDE}"/>
                </a:ext>
              </a:extLst>
            </p:cNvPr>
            <p:cNvGrpSpPr/>
            <p:nvPr/>
          </p:nvGrpSpPr>
          <p:grpSpPr>
            <a:xfrm>
              <a:off x="7784107" y="533400"/>
              <a:ext cx="289443" cy="248100"/>
              <a:chOff x="5696016" y="3086100"/>
              <a:chExt cx="800080" cy="685799"/>
            </a:xfrm>
            <a:grpFill/>
          </p:grpSpPr>
          <p:sp>
            <p:nvSpPr>
              <p:cNvPr id="1480" name="Vrije vorm: vorm 1479">
                <a:extLst>
                  <a:ext uri="{FF2B5EF4-FFF2-40B4-BE49-F238E27FC236}">
                    <a16:creationId xmlns:a16="http://schemas.microsoft.com/office/drawing/2014/main" id="{C6EF4725-F4DC-51EC-00F7-28B77A245C8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81" name="Vrije vorm: vorm 1480">
                <a:extLst>
                  <a:ext uri="{FF2B5EF4-FFF2-40B4-BE49-F238E27FC236}">
                    <a16:creationId xmlns:a16="http://schemas.microsoft.com/office/drawing/2014/main" id="{AC2BE4A4-F914-6107-CB13-3009897DDE4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3" name="Groep 1362">
              <a:extLst>
                <a:ext uri="{FF2B5EF4-FFF2-40B4-BE49-F238E27FC236}">
                  <a16:creationId xmlns:a16="http://schemas.microsoft.com/office/drawing/2014/main" id="{13F83C90-36CE-F374-86F7-19DB401E2619}"/>
                </a:ext>
              </a:extLst>
            </p:cNvPr>
            <p:cNvGrpSpPr/>
            <p:nvPr/>
          </p:nvGrpSpPr>
          <p:grpSpPr>
            <a:xfrm>
              <a:off x="7139131" y="843417"/>
              <a:ext cx="289443" cy="248100"/>
              <a:chOff x="5696016" y="3086100"/>
              <a:chExt cx="800080" cy="685799"/>
            </a:xfrm>
            <a:grpFill/>
          </p:grpSpPr>
          <p:sp>
            <p:nvSpPr>
              <p:cNvPr id="1478" name="Vrije vorm: vorm 1477">
                <a:extLst>
                  <a:ext uri="{FF2B5EF4-FFF2-40B4-BE49-F238E27FC236}">
                    <a16:creationId xmlns:a16="http://schemas.microsoft.com/office/drawing/2014/main" id="{38C1CFF8-829C-56A6-C414-06CDD1531CF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79" name="Vrije vorm: vorm 1478">
                <a:extLst>
                  <a:ext uri="{FF2B5EF4-FFF2-40B4-BE49-F238E27FC236}">
                    <a16:creationId xmlns:a16="http://schemas.microsoft.com/office/drawing/2014/main" id="{C5860D30-CE7D-0CBB-5404-2828B9DAE2E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4" name="Groep 1363">
              <a:extLst>
                <a:ext uri="{FF2B5EF4-FFF2-40B4-BE49-F238E27FC236}">
                  <a16:creationId xmlns:a16="http://schemas.microsoft.com/office/drawing/2014/main" id="{E4C3D140-D23F-9EAD-FCF4-509214619875}"/>
                </a:ext>
              </a:extLst>
            </p:cNvPr>
            <p:cNvGrpSpPr/>
            <p:nvPr/>
          </p:nvGrpSpPr>
          <p:grpSpPr>
            <a:xfrm>
              <a:off x="7461619" y="843417"/>
              <a:ext cx="289443" cy="248100"/>
              <a:chOff x="5696016" y="3086100"/>
              <a:chExt cx="800080" cy="685799"/>
            </a:xfrm>
            <a:grpFill/>
          </p:grpSpPr>
          <p:sp>
            <p:nvSpPr>
              <p:cNvPr id="1476" name="Vrije vorm: vorm 1475">
                <a:extLst>
                  <a:ext uri="{FF2B5EF4-FFF2-40B4-BE49-F238E27FC236}">
                    <a16:creationId xmlns:a16="http://schemas.microsoft.com/office/drawing/2014/main" id="{42C60911-A8D0-E717-03E5-0339AB436FA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77" name="Vrije vorm: vorm 1476">
                <a:extLst>
                  <a:ext uri="{FF2B5EF4-FFF2-40B4-BE49-F238E27FC236}">
                    <a16:creationId xmlns:a16="http://schemas.microsoft.com/office/drawing/2014/main" id="{7699E841-1427-FA4A-D8AA-FA5D5A2FEC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5" name="Groep 1364">
              <a:extLst>
                <a:ext uri="{FF2B5EF4-FFF2-40B4-BE49-F238E27FC236}">
                  <a16:creationId xmlns:a16="http://schemas.microsoft.com/office/drawing/2014/main" id="{803AC334-4AB2-E0D9-D8CB-629BBF291046}"/>
                </a:ext>
              </a:extLst>
            </p:cNvPr>
            <p:cNvGrpSpPr/>
            <p:nvPr/>
          </p:nvGrpSpPr>
          <p:grpSpPr>
            <a:xfrm>
              <a:off x="7784107" y="843417"/>
              <a:ext cx="289443" cy="248100"/>
              <a:chOff x="5696016" y="3086100"/>
              <a:chExt cx="800080" cy="685799"/>
            </a:xfrm>
            <a:grpFill/>
          </p:grpSpPr>
          <p:sp>
            <p:nvSpPr>
              <p:cNvPr id="1474" name="Vrije vorm: vorm 1473">
                <a:extLst>
                  <a:ext uri="{FF2B5EF4-FFF2-40B4-BE49-F238E27FC236}">
                    <a16:creationId xmlns:a16="http://schemas.microsoft.com/office/drawing/2014/main" id="{DCAA32EB-430F-A63E-77E7-D87FC23F2C1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75" name="Vrije vorm: vorm 1474">
                <a:extLst>
                  <a:ext uri="{FF2B5EF4-FFF2-40B4-BE49-F238E27FC236}">
                    <a16:creationId xmlns:a16="http://schemas.microsoft.com/office/drawing/2014/main" id="{E5F55A41-DD0B-8EE2-929A-8A90A9005B7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6" name="Groep 1365">
              <a:extLst>
                <a:ext uri="{FF2B5EF4-FFF2-40B4-BE49-F238E27FC236}">
                  <a16:creationId xmlns:a16="http://schemas.microsoft.com/office/drawing/2014/main" id="{C9A78614-164A-E2F0-A3BF-9203EA7933F0}"/>
                </a:ext>
              </a:extLst>
            </p:cNvPr>
            <p:cNvGrpSpPr/>
            <p:nvPr/>
          </p:nvGrpSpPr>
          <p:grpSpPr>
            <a:xfrm>
              <a:off x="7139131" y="1153435"/>
              <a:ext cx="289443" cy="248100"/>
              <a:chOff x="5696016" y="3086100"/>
              <a:chExt cx="800080" cy="685799"/>
            </a:xfrm>
            <a:grpFill/>
          </p:grpSpPr>
          <p:sp>
            <p:nvSpPr>
              <p:cNvPr id="1472" name="Vrije vorm: vorm 1471">
                <a:extLst>
                  <a:ext uri="{FF2B5EF4-FFF2-40B4-BE49-F238E27FC236}">
                    <a16:creationId xmlns:a16="http://schemas.microsoft.com/office/drawing/2014/main" id="{203D5BAA-C7B3-DCA7-5DD4-C7390AA2F94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73" name="Vrije vorm: vorm 1472">
                <a:extLst>
                  <a:ext uri="{FF2B5EF4-FFF2-40B4-BE49-F238E27FC236}">
                    <a16:creationId xmlns:a16="http://schemas.microsoft.com/office/drawing/2014/main" id="{8ACE2DF4-4A01-1435-BBA9-646D3BD605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7" name="Groep 1366">
              <a:extLst>
                <a:ext uri="{FF2B5EF4-FFF2-40B4-BE49-F238E27FC236}">
                  <a16:creationId xmlns:a16="http://schemas.microsoft.com/office/drawing/2014/main" id="{7A5D2C9F-10AC-BEFA-D187-28DB535D29BD}"/>
                </a:ext>
              </a:extLst>
            </p:cNvPr>
            <p:cNvGrpSpPr/>
            <p:nvPr/>
          </p:nvGrpSpPr>
          <p:grpSpPr>
            <a:xfrm>
              <a:off x="7461619" y="1153435"/>
              <a:ext cx="289443" cy="248100"/>
              <a:chOff x="5696016" y="3086100"/>
              <a:chExt cx="800080" cy="685799"/>
            </a:xfrm>
            <a:grpFill/>
          </p:grpSpPr>
          <p:sp>
            <p:nvSpPr>
              <p:cNvPr id="1470" name="Vrije vorm: vorm 1469">
                <a:extLst>
                  <a:ext uri="{FF2B5EF4-FFF2-40B4-BE49-F238E27FC236}">
                    <a16:creationId xmlns:a16="http://schemas.microsoft.com/office/drawing/2014/main" id="{89B77412-50FF-4E27-7F5C-A7DF5ABF25F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71" name="Vrije vorm: vorm 1470">
                <a:extLst>
                  <a:ext uri="{FF2B5EF4-FFF2-40B4-BE49-F238E27FC236}">
                    <a16:creationId xmlns:a16="http://schemas.microsoft.com/office/drawing/2014/main" id="{67B2D4EF-B90D-8915-35FF-12E4F45F36E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8" name="Groep 1367">
              <a:extLst>
                <a:ext uri="{FF2B5EF4-FFF2-40B4-BE49-F238E27FC236}">
                  <a16:creationId xmlns:a16="http://schemas.microsoft.com/office/drawing/2014/main" id="{87CDBEF6-BCC4-F23B-A422-4D3232B3883E}"/>
                </a:ext>
              </a:extLst>
            </p:cNvPr>
            <p:cNvGrpSpPr/>
            <p:nvPr/>
          </p:nvGrpSpPr>
          <p:grpSpPr>
            <a:xfrm>
              <a:off x="7784107" y="1153435"/>
              <a:ext cx="289443" cy="248100"/>
              <a:chOff x="5696016" y="3086100"/>
              <a:chExt cx="800080" cy="685799"/>
            </a:xfrm>
            <a:grpFill/>
          </p:grpSpPr>
          <p:sp>
            <p:nvSpPr>
              <p:cNvPr id="1468" name="Vrije vorm: vorm 1467">
                <a:extLst>
                  <a:ext uri="{FF2B5EF4-FFF2-40B4-BE49-F238E27FC236}">
                    <a16:creationId xmlns:a16="http://schemas.microsoft.com/office/drawing/2014/main" id="{F812EDE5-8BCD-BFDF-6233-D300D7D1B29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69" name="Vrije vorm: vorm 1468">
                <a:extLst>
                  <a:ext uri="{FF2B5EF4-FFF2-40B4-BE49-F238E27FC236}">
                    <a16:creationId xmlns:a16="http://schemas.microsoft.com/office/drawing/2014/main" id="{7D5EDF27-848D-EAC4-ACC7-62BF09FB4A3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69" name="Groep 1368">
              <a:extLst>
                <a:ext uri="{FF2B5EF4-FFF2-40B4-BE49-F238E27FC236}">
                  <a16:creationId xmlns:a16="http://schemas.microsoft.com/office/drawing/2014/main" id="{6C9F27B2-46E7-EEEE-6EFC-EE93F70B5571}"/>
                </a:ext>
              </a:extLst>
            </p:cNvPr>
            <p:cNvGrpSpPr/>
            <p:nvPr/>
          </p:nvGrpSpPr>
          <p:grpSpPr>
            <a:xfrm>
              <a:off x="7139131" y="1463451"/>
              <a:ext cx="289443" cy="248100"/>
              <a:chOff x="5696016" y="3086100"/>
              <a:chExt cx="800080" cy="685799"/>
            </a:xfrm>
            <a:grpFill/>
          </p:grpSpPr>
          <p:sp>
            <p:nvSpPr>
              <p:cNvPr id="1466" name="Vrije vorm: vorm 1465">
                <a:extLst>
                  <a:ext uri="{FF2B5EF4-FFF2-40B4-BE49-F238E27FC236}">
                    <a16:creationId xmlns:a16="http://schemas.microsoft.com/office/drawing/2014/main" id="{29CEB55D-355D-9349-DBCA-5174EAD23C9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67" name="Vrije vorm: vorm 1466">
                <a:extLst>
                  <a:ext uri="{FF2B5EF4-FFF2-40B4-BE49-F238E27FC236}">
                    <a16:creationId xmlns:a16="http://schemas.microsoft.com/office/drawing/2014/main" id="{E45F9F29-C9E9-4076-6D24-5F17826E7E2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0" name="Groep 1369">
              <a:extLst>
                <a:ext uri="{FF2B5EF4-FFF2-40B4-BE49-F238E27FC236}">
                  <a16:creationId xmlns:a16="http://schemas.microsoft.com/office/drawing/2014/main" id="{9A9352B9-DFEE-BD34-CCFB-37E73D55F4CB}"/>
                </a:ext>
              </a:extLst>
            </p:cNvPr>
            <p:cNvGrpSpPr/>
            <p:nvPr/>
          </p:nvGrpSpPr>
          <p:grpSpPr>
            <a:xfrm>
              <a:off x="7461619" y="1463451"/>
              <a:ext cx="289443" cy="248100"/>
              <a:chOff x="5696016" y="3086100"/>
              <a:chExt cx="800080" cy="685799"/>
            </a:xfrm>
            <a:grpFill/>
          </p:grpSpPr>
          <p:sp>
            <p:nvSpPr>
              <p:cNvPr id="1464" name="Vrije vorm: vorm 1463">
                <a:extLst>
                  <a:ext uri="{FF2B5EF4-FFF2-40B4-BE49-F238E27FC236}">
                    <a16:creationId xmlns:a16="http://schemas.microsoft.com/office/drawing/2014/main" id="{0550F3BA-F721-6B60-0757-1F39013CCA0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65" name="Vrije vorm: vorm 1464">
                <a:extLst>
                  <a:ext uri="{FF2B5EF4-FFF2-40B4-BE49-F238E27FC236}">
                    <a16:creationId xmlns:a16="http://schemas.microsoft.com/office/drawing/2014/main" id="{EBCD1D6E-9D63-F8CB-2A67-8159FE6EE59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1" name="Groep 1370">
              <a:extLst>
                <a:ext uri="{FF2B5EF4-FFF2-40B4-BE49-F238E27FC236}">
                  <a16:creationId xmlns:a16="http://schemas.microsoft.com/office/drawing/2014/main" id="{5D808421-66CC-56E8-4053-B409AE4F492F}"/>
                </a:ext>
              </a:extLst>
            </p:cNvPr>
            <p:cNvGrpSpPr/>
            <p:nvPr/>
          </p:nvGrpSpPr>
          <p:grpSpPr>
            <a:xfrm>
              <a:off x="7784107" y="1463451"/>
              <a:ext cx="289443" cy="248100"/>
              <a:chOff x="5696016" y="3086100"/>
              <a:chExt cx="800080" cy="685799"/>
            </a:xfrm>
            <a:grpFill/>
          </p:grpSpPr>
          <p:sp>
            <p:nvSpPr>
              <p:cNvPr id="1462" name="Vrije vorm: vorm 1461">
                <a:extLst>
                  <a:ext uri="{FF2B5EF4-FFF2-40B4-BE49-F238E27FC236}">
                    <a16:creationId xmlns:a16="http://schemas.microsoft.com/office/drawing/2014/main" id="{2A980B59-048D-D4A5-750A-61EF74CE9E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63" name="Vrije vorm: vorm 1462">
                <a:extLst>
                  <a:ext uri="{FF2B5EF4-FFF2-40B4-BE49-F238E27FC236}">
                    <a16:creationId xmlns:a16="http://schemas.microsoft.com/office/drawing/2014/main" id="{86EC6791-CC93-7368-1009-EFC05AAB357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2" name="Groep 1371">
              <a:extLst>
                <a:ext uri="{FF2B5EF4-FFF2-40B4-BE49-F238E27FC236}">
                  <a16:creationId xmlns:a16="http://schemas.microsoft.com/office/drawing/2014/main" id="{928382EE-46A5-4F32-983C-D9EA10AB9A6D}"/>
                </a:ext>
              </a:extLst>
            </p:cNvPr>
            <p:cNvGrpSpPr/>
            <p:nvPr/>
          </p:nvGrpSpPr>
          <p:grpSpPr>
            <a:xfrm>
              <a:off x="7139131" y="1773467"/>
              <a:ext cx="289443" cy="248100"/>
              <a:chOff x="5696016" y="3086100"/>
              <a:chExt cx="800080" cy="685799"/>
            </a:xfrm>
            <a:grpFill/>
          </p:grpSpPr>
          <p:sp>
            <p:nvSpPr>
              <p:cNvPr id="1460" name="Vrije vorm: vorm 1459">
                <a:extLst>
                  <a:ext uri="{FF2B5EF4-FFF2-40B4-BE49-F238E27FC236}">
                    <a16:creationId xmlns:a16="http://schemas.microsoft.com/office/drawing/2014/main" id="{3EB5ED58-78B5-230B-888A-F020E5BD537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61" name="Vrije vorm: vorm 1460">
                <a:extLst>
                  <a:ext uri="{FF2B5EF4-FFF2-40B4-BE49-F238E27FC236}">
                    <a16:creationId xmlns:a16="http://schemas.microsoft.com/office/drawing/2014/main" id="{AD657ACE-9CBE-A332-681A-30104E984FF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3" name="Groep 1372">
              <a:extLst>
                <a:ext uri="{FF2B5EF4-FFF2-40B4-BE49-F238E27FC236}">
                  <a16:creationId xmlns:a16="http://schemas.microsoft.com/office/drawing/2014/main" id="{2C1C40E3-B515-6764-3B21-AF3D7E61E9FD}"/>
                </a:ext>
              </a:extLst>
            </p:cNvPr>
            <p:cNvGrpSpPr/>
            <p:nvPr/>
          </p:nvGrpSpPr>
          <p:grpSpPr>
            <a:xfrm>
              <a:off x="7461619" y="1773467"/>
              <a:ext cx="289443" cy="248100"/>
              <a:chOff x="5696016" y="3086100"/>
              <a:chExt cx="800080" cy="685799"/>
            </a:xfrm>
            <a:grpFill/>
          </p:grpSpPr>
          <p:sp>
            <p:nvSpPr>
              <p:cNvPr id="1458" name="Vrije vorm: vorm 1457">
                <a:extLst>
                  <a:ext uri="{FF2B5EF4-FFF2-40B4-BE49-F238E27FC236}">
                    <a16:creationId xmlns:a16="http://schemas.microsoft.com/office/drawing/2014/main" id="{EB7BD615-9EC7-AA5B-101F-F142DD87037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59" name="Vrije vorm: vorm 1458">
                <a:extLst>
                  <a:ext uri="{FF2B5EF4-FFF2-40B4-BE49-F238E27FC236}">
                    <a16:creationId xmlns:a16="http://schemas.microsoft.com/office/drawing/2014/main" id="{C9479547-3A5F-5210-DC6D-F5C6ABDD5D2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4" name="Groep 1373">
              <a:extLst>
                <a:ext uri="{FF2B5EF4-FFF2-40B4-BE49-F238E27FC236}">
                  <a16:creationId xmlns:a16="http://schemas.microsoft.com/office/drawing/2014/main" id="{BF5346BA-C24C-0B12-E86A-785BAB0457AE}"/>
                </a:ext>
              </a:extLst>
            </p:cNvPr>
            <p:cNvGrpSpPr/>
            <p:nvPr/>
          </p:nvGrpSpPr>
          <p:grpSpPr>
            <a:xfrm>
              <a:off x="7784107" y="1773467"/>
              <a:ext cx="289443" cy="248100"/>
              <a:chOff x="5696016" y="3086100"/>
              <a:chExt cx="800080" cy="685799"/>
            </a:xfrm>
            <a:grpFill/>
          </p:grpSpPr>
          <p:sp>
            <p:nvSpPr>
              <p:cNvPr id="1456" name="Vrije vorm: vorm 1455">
                <a:extLst>
                  <a:ext uri="{FF2B5EF4-FFF2-40B4-BE49-F238E27FC236}">
                    <a16:creationId xmlns:a16="http://schemas.microsoft.com/office/drawing/2014/main" id="{132C36F0-2D3A-4226-8A02-86C0B1232E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57" name="Vrije vorm: vorm 1456">
                <a:extLst>
                  <a:ext uri="{FF2B5EF4-FFF2-40B4-BE49-F238E27FC236}">
                    <a16:creationId xmlns:a16="http://schemas.microsoft.com/office/drawing/2014/main" id="{08CB2A0C-20A6-250B-B024-7618B2201EF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5" name="Groep 1374">
              <a:extLst>
                <a:ext uri="{FF2B5EF4-FFF2-40B4-BE49-F238E27FC236}">
                  <a16:creationId xmlns:a16="http://schemas.microsoft.com/office/drawing/2014/main" id="{3C385994-70D5-2C84-7AF8-EB2D8A40179A}"/>
                </a:ext>
              </a:extLst>
            </p:cNvPr>
            <p:cNvGrpSpPr/>
            <p:nvPr/>
          </p:nvGrpSpPr>
          <p:grpSpPr>
            <a:xfrm>
              <a:off x="7139131" y="2083483"/>
              <a:ext cx="289443" cy="248100"/>
              <a:chOff x="5696016" y="3086100"/>
              <a:chExt cx="800080" cy="685799"/>
            </a:xfrm>
            <a:grpFill/>
          </p:grpSpPr>
          <p:sp>
            <p:nvSpPr>
              <p:cNvPr id="1454" name="Vrije vorm: vorm 1453">
                <a:extLst>
                  <a:ext uri="{FF2B5EF4-FFF2-40B4-BE49-F238E27FC236}">
                    <a16:creationId xmlns:a16="http://schemas.microsoft.com/office/drawing/2014/main" id="{4E79D14C-3D5F-1F3C-A586-B4031E84976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55" name="Vrije vorm: vorm 1454">
                <a:extLst>
                  <a:ext uri="{FF2B5EF4-FFF2-40B4-BE49-F238E27FC236}">
                    <a16:creationId xmlns:a16="http://schemas.microsoft.com/office/drawing/2014/main" id="{DDDE61D1-C2AD-2D43-E54B-41B20DFB15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6" name="Groep 1375">
              <a:extLst>
                <a:ext uri="{FF2B5EF4-FFF2-40B4-BE49-F238E27FC236}">
                  <a16:creationId xmlns:a16="http://schemas.microsoft.com/office/drawing/2014/main" id="{B73B3C5E-8658-9D99-D841-7654E9CB4111}"/>
                </a:ext>
              </a:extLst>
            </p:cNvPr>
            <p:cNvGrpSpPr/>
            <p:nvPr/>
          </p:nvGrpSpPr>
          <p:grpSpPr>
            <a:xfrm>
              <a:off x="7461619" y="2083483"/>
              <a:ext cx="289443" cy="248100"/>
              <a:chOff x="5696016" y="3086100"/>
              <a:chExt cx="800080" cy="685799"/>
            </a:xfrm>
            <a:grpFill/>
          </p:grpSpPr>
          <p:sp>
            <p:nvSpPr>
              <p:cNvPr id="1452" name="Vrije vorm: vorm 1451">
                <a:extLst>
                  <a:ext uri="{FF2B5EF4-FFF2-40B4-BE49-F238E27FC236}">
                    <a16:creationId xmlns:a16="http://schemas.microsoft.com/office/drawing/2014/main" id="{34DB3CC9-12A1-F5DE-7BB5-37EE701D1D0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53" name="Vrije vorm: vorm 1452">
                <a:extLst>
                  <a:ext uri="{FF2B5EF4-FFF2-40B4-BE49-F238E27FC236}">
                    <a16:creationId xmlns:a16="http://schemas.microsoft.com/office/drawing/2014/main" id="{D2E546BE-59BD-48A3-257B-906BE60DCBE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7" name="Groep 1376">
              <a:extLst>
                <a:ext uri="{FF2B5EF4-FFF2-40B4-BE49-F238E27FC236}">
                  <a16:creationId xmlns:a16="http://schemas.microsoft.com/office/drawing/2014/main" id="{D66AF8D8-8063-52BF-15CB-591ED634FC6E}"/>
                </a:ext>
              </a:extLst>
            </p:cNvPr>
            <p:cNvGrpSpPr/>
            <p:nvPr/>
          </p:nvGrpSpPr>
          <p:grpSpPr>
            <a:xfrm>
              <a:off x="7784107" y="2083483"/>
              <a:ext cx="289443" cy="248100"/>
              <a:chOff x="5696016" y="3086100"/>
              <a:chExt cx="800080" cy="685799"/>
            </a:xfrm>
            <a:grpFill/>
          </p:grpSpPr>
          <p:sp>
            <p:nvSpPr>
              <p:cNvPr id="1450" name="Vrije vorm: vorm 1449">
                <a:extLst>
                  <a:ext uri="{FF2B5EF4-FFF2-40B4-BE49-F238E27FC236}">
                    <a16:creationId xmlns:a16="http://schemas.microsoft.com/office/drawing/2014/main" id="{E4ECE98A-94A9-65C4-7106-4018A79DB8B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51" name="Vrije vorm: vorm 1450">
                <a:extLst>
                  <a:ext uri="{FF2B5EF4-FFF2-40B4-BE49-F238E27FC236}">
                    <a16:creationId xmlns:a16="http://schemas.microsoft.com/office/drawing/2014/main" id="{1F2DE8D6-0632-E72B-696B-0D823B199FF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8" name="Groep 1377">
              <a:extLst>
                <a:ext uri="{FF2B5EF4-FFF2-40B4-BE49-F238E27FC236}">
                  <a16:creationId xmlns:a16="http://schemas.microsoft.com/office/drawing/2014/main" id="{927130B0-83A6-3117-19B4-77F397AEAC3E}"/>
                </a:ext>
              </a:extLst>
            </p:cNvPr>
            <p:cNvGrpSpPr/>
            <p:nvPr/>
          </p:nvGrpSpPr>
          <p:grpSpPr>
            <a:xfrm>
              <a:off x="7139131" y="2393500"/>
              <a:ext cx="289443" cy="248100"/>
              <a:chOff x="5696016" y="3086100"/>
              <a:chExt cx="800080" cy="685799"/>
            </a:xfrm>
            <a:grpFill/>
          </p:grpSpPr>
          <p:sp>
            <p:nvSpPr>
              <p:cNvPr id="1448" name="Vrije vorm: vorm 1447">
                <a:extLst>
                  <a:ext uri="{FF2B5EF4-FFF2-40B4-BE49-F238E27FC236}">
                    <a16:creationId xmlns:a16="http://schemas.microsoft.com/office/drawing/2014/main" id="{A6E1BBA7-8D56-87E8-0846-F0106686F84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49" name="Vrije vorm: vorm 1448">
                <a:extLst>
                  <a:ext uri="{FF2B5EF4-FFF2-40B4-BE49-F238E27FC236}">
                    <a16:creationId xmlns:a16="http://schemas.microsoft.com/office/drawing/2014/main" id="{6ACF3D56-270A-CF39-BDDE-EB48D7843B4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79" name="Groep 1378">
              <a:extLst>
                <a:ext uri="{FF2B5EF4-FFF2-40B4-BE49-F238E27FC236}">
                  <a16:creationId xmlns:a16="http://schemas.microsoft.com/office/drawing/2014/main" id="{6722CB12-7DF6-70BB-936A-A3FEECDEEFBB}"/>
                </a:ext>
              </a:extLst>
            </p:cNvPr>
            <p:cNvGrpSpPr/>
            <p:nvPr/>
          </p:nvGrpSpPr>
          <p:grpSpPr>
            <a:xfrm>
              <a:off x="7461619" y="2393500"/>
              <a:ext cx="289443" cy="248100"/>
              <a:chOff x="5696016" y="3086100"/>
              <a:chExt cx="800080" cy="685799"/>
            </a:xfrm>
            <a:grpFill/>
          </p:grpSpPr>
          <p:sp>
            <p:nvSpPr>
              <p:cNvPr id="1446" name="Vrije vorm: vorm 1445">
                <a:extLst>
                  <a:ext uri="{FF2B5EF4-FFF2-40B4-BE49-F238E27FC236}">
                    <a16:creationId xmlns:a16="http://schemas.microsoft.com/office/drawing/2014/main" id="{30FD9F62-4FB3-7B92-A3FF-16DBFD85B5D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47" name="Vrije vorm: vorm 1446">
                <a:extLst>
                  <a:ext uri="{FF2B5EF4-FFF2-40B4-BE49-F238E27FC236}">
                    <a16:creationId xmlns:a16="http://schemas.microsoft.com/office/drawing/2014/main" id="{EFA83B6D-F357-9B92-9DE5-2E690463940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0" name="Groep 1379">
              <a:extLst>
                <a:ext uri="{FF2B5EF4-FFF2-40B4-BE49-F238E27FC236}">
                  <a16:creationId xmlns:a16="http://schemas.microsoft.com/office/drawing/2014/main" id="{78FB0498-2742-9930-F01F-F73D3D66AB07}"/>
                </a:ext>
              </a:extLst>
            </p:cNvPr>
            <p:cNvGrpSpPr/>
            <p:nvPr/>
          </p:nvGrpSpPr>
          <p:grpSpPr>
            <a:xfrm>
              <a:off x="7784107" y="2393500"/>
              <a:ext cx="289443" cy="248100"/>
              <a:chOff x="5696016" y="3086100"/>
              <a:chExt cx="800080" cy="685799"/>
            </a:xfrm>
            <a:grpFill/>
          </p:grpSpPr>
          <p:sp>
            <p:nvSpPr>
              <p:cNvPr id="1444" name="Vrije vorm: vorm 1443">
                <a:extLst>
                  <a:ext uri="{FF2B5EF4-FFF2-40B4-BE49-F238E27FC236}">
                    <a16:creationId xmlns:a16="http://schemas.microsoft.com/office/drawing/2014/main" id="{877CBF7F-06E0-374C-957E-4EEEDE88F44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45" name="Vrije vorm: vorm 1444">
                <a:extLst>
                  <a:ext uri="{FF2B5EF4-FFF2-40B4-BE49-F238E27FC236}">
                    <a16:creationId xmlns:a16="http://schemas.microsoft.com/office/drawing/2014/main" id="{5C1BC61A-5E8B-0FD1-1717-CDDEEA6A22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1" name="Groep 1380">
              <a:extLst>
                <a:ext uri="{FF2B5EF4-FFF2-40B4-BE49-F238E27FC236}">
                  <a16:creationId xmlns:a16="http://schemas.microsoft.com/office/drawing/2014/main" id="{5A4ADBD1-3F91-E786-51D7-0BBF1494DCF5}"/>
                </a:ext>
              </a:extLst>
            </p:cNvPr>
            <p:cNvGrpSpPr/>
            <p:nvPr/>
          </p:nvGrpSpPr>
          <p:grpSpPr>
            <a:xfrm>
              <a:off x="7133223" y="2705100"/>
              <a:ext cx="289443" cy="248100"/>
              <a:chOff x="5696016" y="3086100"/>
              <a:chExt cx="800080" cy="685799"/>
            </a:xfrm>
            <a:grpFill/>
          </p:grpSpPr>
          <p:sp>
            <p:nvSpPr>
              <p:cNvPr id="1442" name="Vrije vorm: vorm 1441">
                <a:extLst>
                  <a:ext uri="{FF2B5EF4-FFF2-40B4-BE49-F238E27FC236}">
                    <a16:creationId xmlns:a16="http://schemas.microsoft.com/office/drawing/2014/main" id="{E3E425F6-EC7F-1E97-77CF-3CC009D3826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43" name="Vrije vorm: vorm 1442">
                <a:extLst>
                  <a:ext uri="{FF2B5EF4-FFF2-40B4-BE49-F238E27FC236}">
                    <a16:creationId xmlns:a16="http://schemas.microsoft.com/office/drawing/2014/main" id="{C6AB8211-F314-274D-C31E-A3FF114E04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2" name="Groep 1381">
              <a:extLst>
                <a:ext uri="{FF2B5EF4-FFF2-40B4-BE49-F238E27FC236}">
                  <a16:creationId xmlns:a16="http://schemas.microsoft.com/office/drawing/2014/main" id="{27E0EA0D-CB86-E6F3-DB40-8F8BDAE5CE33}"/>
                </a:ext>
              </a:extLst>
            </p:cNvPr>
            <p:cNvGrpSpPr/>
            <p:nvPr/>
          </p:nvGrpSpPr>
          <p:grpSpPr>
            <a:xfrm>
              <a:off x="7455711" y="2705100"/>
              <a:ext cx="289443" cy="248100"/>
              <a:chOff x="5696016" y="3086100"/>
              <a:chExt cx="800080" cy="685799"/>
            </a:xfrm>
            <a:grpFill/>
          </p:grpSpPr>
          <p:sp>
            <p:nvSpPr>
              <p:cNvPr id="1440" name="Vrije vorm: vorm 1439">
                <a:extLst>
                  <a:ext uri="{FF2B5EF4-FFF2-40B4-BE49-F238E27FC236}">
                    <a16:creationId xmlns:a16="http://schemas.microsoft.com/office/drawing/2014/main" id="{DA9CC1E9-1D70-60B5-ADC3-C53F6F42EFE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41" name="Vrije vorm: vorm 1440">
                <a:extLst>
                  <a:ext uri="{FF2B5EF4-FFF2-40B4-BE49-F238E27FC236}">
                    <a16:creationId xmlns:a16="http://schemas.microsoft.com/office/drawing/2014/main" id="{4C5D21E2-C62F-969C-9268-2693ABD30B8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3" name="Groep 1382">
              <a:extLst>
                <a:ext uri="{FF2B5EF4-FFF2-40B4-BE49-F238E27FC236}">
                  <a16:creationId xmlns:a16="http://schemas.microsoft.com/office/drawing/2014/main" id="{D3F5AD23-44A3-1230-5CE6-4222C7AD1CFB}"/>
                </a:ext>
              </a:extLst>
            </p:cNvPr>
            <p:cNvGrpSpPr/>
            <p:nvPr/>
          </p:nvGrpSpPr>
          <p:grpSpPr>
            <a:xfrm>
              <a:off x="7778199" y="2705100"/>
              <a:ext cx="289443" cy="248100"/>
              <a:chOff x="5696016" y="3086100"/>
              <a:chExt cx="800080" cy="685799"/>
            </a:xfrm>
            <a:grpFill/>
          </p:grpSpPr>
          <p:sp>
            <p:nvSpPr>
              <p:cNvPr id="1438" name="Vrije vorm: vorm 1437">
                <a:extLst>
                  <a:ext uri="{FF2B5EF4-FFF2-40B4-BE49-F238E27FC236}">
                    <a16:creationId xmlns:a16="http://schemas.microsoft.com/office/drawing/2014/main" id="{DC3C6650-D04D-54D2-1076-2FF5FA2D8EC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39" name="Vrije vorm: vorm 1438">
                <a:extLst>
                  <a:ext uri="{FF2B5EF4-FFF2-40B4-BE49-F238E27FC236}">
                    <a16:creationId xmlns:a16="http://schemas.microsoft.com/office/drawing/2014/main" id="{EDDDE423-B5EE-9F77-F587-252CA316BE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4" name="Groep 1383">
              <a:extLst>
                <a:ext uri="{FF2B5EF4-FFF2-40B4-BE49-F238E27FC236}">
                  <a16:creationId xmlns:a16="http://schemas.microsoft.com/office/drawing/2014/main" id="{452846D5-2B4E-EF22-9060-D6046D937886}"/>
                </a:ext>
              </a:extLst>
            </p:cNvPr>
            <p:cNvGrpSpPr/>
            <p:nvPr/>
          </p:nvGrpSpPr>
          <p:grpSpPr>
            <a:xfrm>
              <a:off x="7133223" y="3015117"/>
              <a:ext cx="289443" cy="248100"/>
              <a:chOff x="5696016" y="3086100"/>
              <a:chExt cx="800080" cy="685799"/>
            </a:xfrm>
            <a:grpFill/>
          </p:grpSpPr>
          <p:sp>
            <p:nvSpPr>
              <p:cNvPr id="1436" name="Vrije vorm: vorm 1435">
                <a:extLst>
                  <a:ext uri="{FF2B5EF4-FFF2-40B4-BE49-F238E27FC236}">
                    <a16:creationId xmlns:a16="http://schemas.microsoft.com/office/drawing/2014/main" id="{02D6024D-2BAD-AB95-6C2A-2E5245A00D6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37" name="Vrije vorm: vorm 1436">
                <a:extLst>
                  <a:ext uri="{FF2B5EF4-FFF2-40B4-BE49-F238E27FC236}">
                    <a16:creationId xmlns:a16="http://schemas.microsoft.com/office/drawing/2014/main" id="{77F27CC8-BA95-7C5F-D424-A8E6B59E89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5" name="Groep 1384">
              <a:extLst>
                <a:ext uri="{FF2B5EF4-FFF2-40B4-BE49-F238E27FC236}">
                  <a16:creationId xmlns:a16="http://schemas.microsoft.com/office/drawing/2014/main" id="{4D20AD31-E175-2488-1932-4E388E7F5849}"/>
                </a:ext>
              </a:extLst>
            </p:cNvPr>
            <p:cNvGrpSpPr/>
            <p:nvPr/>
          </p:nvGrpSpPr>
          <p:grpSpPr>
            <a:xfrm>
              <a:off x="7455711" y="3015117"/>
              <a:ext cx="289443" cy="248100"/>
              <a:chOff x="5696016" y="3086100"/>
              <a:chExt cx="800080" cy="685799"/>
            </a:xfrm>
            <a:grpFill/>
          </p:grpSpPr>
          <p:sp>
            <p:nvSpPr>
              <p:cNvPr id="1434" name="Vrije vorm: vorm 1433">
                <a:extLst>
                  <a:ext uri="{FF2B5EF4-FFF2-40B4-BE49-F238E27FC236}">
                    <a16:creationId xmlns:a16="http://schemas.microsoft.com/office/drawing/2014/main" id="{39D8C0B2-E48B-39D7-E74C-A5F19B96D49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35" name="Vrije vorm: vorm 1434">
                <a:extLst>
                  <a:ext uri="{FF2B5EF4-FFF2-40B4-BE49-F238E27FC236}">
                    <a16:creationId xmlns:a16="http://schemas.microsoft.com/office/drawing/2014/main" id="{4E41D5F4-B2F2-C177-A8CB-512907B70D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6" name="Groep 1385">
              <a:extLst>
                <a:ext uri="{FF2B5EF4-FFF2-40B4-BE49-F238E27FC236}">
                  <a16:creationId xmlns:a16="http://schemas.microsoft.com/office/drawing/2014/main" id="{71377868-2357-E638-8AC5-F25C14A8B6E0}"/>
                </a:ext>
              </a:extLst>
            </p:cNvPr>
            <p:cNvGrpSpPr/>
            <p:nvPr/>
          </p:nvGrpSpPr>
          <p:grpSpPr>
            <a:xfrm>
              <a:off x="7778199" y="3015117"/>
              <a:ext cx="289443" cy="248100"/>
              <a:chOff x="5696016" y="3086100"/>
              <a:chExt cx="800080" cy="685799"/>
            </a:xfrm>
            <a:grpFill/>
          </p:grpSpPr>
          <p:sp>
            <p:nvSpPr>
              <p:cNvPr id="1432" name="Vrije vorm: vorm 1431">
                <a:extLst>
                  <a:ext uri="{FF2B5EF4-FFF2-40B4-BE49-F238E27FC236}">
                    <a16:creationId xmlns:a16="http://schemas.microsoft.com/office/drawing/2014/main" id="{9E084CF1-6D4E-7278-DAE9-7C777E53F78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33" name="Vrije vorm: vorm 1432">
                <a:extLst>
                  <a:ext uri="{FF2B5EF4-FFF2-40B4-BE49-F238E27FC236}">
                    <a16:creationId xmlns:a16="http://schemas.microsoft.com/office/drawing/2014/main" id="{C46291CF-198F-E59C-CA1F-0EF7AD44DB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7" name="Groep 1386">
              <a:extLst>
                <a:ext uri="{FF2B5EF4-FFF2-40B4-BE49-F238E27FC236}">
                  <a16:creationId xmlns:a16="http://schemas.microsoft.com/office/drawing/2014/main" id="{C13C93E6-D611-D26A-EFC1-678116B228A3}"/>
                </a:ext>
              </a:extLst>
            </p:cNvPr>
            <p:cNvGrpSpPr/>
            <p:nvPr/>
          </p:nvGrpSpPr>
          <p:grpSpPr>
            <a:xfrm>
              <a:off x="7133223" y="3325135"/>
              <a:ext cx="289443" cy="248100"/>
              <a:chOff x="5696016" y="3086100"/>
              <a:chExt cx="800080" cy="685799"/>
            </a:xfrm>
            <a:grpFill/>
          </p:grpSpPr>
          <p:sp>
            <p:nvSpPr>
              <p:cNvPr id="1430" name="Vrije vorm: vorm 1429">
                <a:extLst>
                  <a:ext uri="{FF2B5EF4-FFF2-40B4-BE49-F238E27FC236}">
                    <a16:creationId xmlns:a16="http://schemas.microsoft.com/office/drawing/2014/main" id="{172EB7B3-C456-C883-A949-013CAAFC11D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31" name="Vrije vorm: vorm 1430">
                <a:extLst>
                  <a:ext uri="{FF2B5EF4-FFF2-40B4-BE49-F238E27FC236}">
                    <a16:creationId xmlns:a16="http://schemas.microsoft.com/office/drawing/2014/main" id="{C000594C-3DBF-D5E1-021B-68586F830CD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8" name="Groep 1387">
              <a:extLst>
                <a:ext uri="{FF2B5EF4-FFF2-40B4-BE49-F238E27FC236}">
                  <a16:creationId xmlns:a16="http://schemas.microsoft.com/office/drawing/2014/main" id="{1AB36DE0-A9BC-7869-EA36-8501AD185694}"/>
                </a:ext>
              </a:extLst>
            </p:cNvPr>
            <p:cNvGrpSpPr/>
            <p:nvPr/>
          </p:nvGrpSpPr>
          <p:grpSpPr>
            <a:xfrm>
              <a:off x="7455711" y="3325135"/>
              <a:ext cx="289443" cy="248100"/>
              <a:chOff x="5696016" y="3086100"/>
              <a:chExt cx="800080" cy="685799"/>
            </a:xfrm>
            <a:grpFill/>
          </p:grpSpPr>
          <p:sp>
            <p:nvSpPr>
              <p:cNvPr id="1428" name="Vrije vorm: vorm 1427">
                <a:extLst>
                  <a:ext uri="{FF2B5EF4-FFF2-40B4-BE49-F238E27FC236}">
                    <a16:creationId xmlns:a16="http://schemas.microsoft.com/office/drawing/2014/main" id="{C5D9AFD7-BC0E-963E-3AC9-CD84F961631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29" name="Vrije vorm: vorm 1428">
                <a:extLst>
                  <a:ext uri="{FF2B5EF4-FFF2-40B4-BE49-F238E27FC236}">
                    <a16:creationId xmlns:a16="http://schemas.microsoft.com/office/drawing/2014/main" id="{2F06E520-F4E1-6D4B-E645-F92B4047C0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89" name="Groep 1388">
              <a:extLst>
                <a:ext uri="{FF2B5EF4-FFF2-40B4-BE49-F238E27FC236}">
                  <a16:creationId xmlns:a16="http://schemas.microsoft.com/office/drawing/2014/main" id="{4547F6B7-C993-FABB-2B69-D29BB6138298}"/>
                </a:ext>
              </a:extLst>
            </p:cNvPr>
            <p:cNvGrpSpPr/>
            <p:nvPr/>
          </p:nvGrpSpPr>
          <p:grpSpPr>
            <a:xfrm>
              <a:off x="7778199" y="3325135"/>
              <a:ext cx="289443" cy="248100"/>
              <a:chOff x="5696016" y="3086100"/>
              <a:chExt cx="800080" cy="685799"/>
            </a:xfrm>
            <a:grpFill/>
          </p:grpSpPr>
          <p:sp>
            <p:nvSpPr>
              <p:cNvPr id="1426" name="Vrije vorm: vorm 1425">
                <a:extLst>
                  <a:ext uri="{FF2B5EF4-FFF2-40B4-BE49-F238E27FC236}">
                    <a16:creationId xmlns:a16="http://schemas.microsoft.com/office/drawing/2014/main" id="{8F6E1DF3-E7B6-786A-AC56-EDCAE5B9024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27" name="Vrije vorm: vorm 1426">
                <a:extLst>
                  <a:ext uri="{FF2B5EF4-FFF2-40B4-BE49-F238E27FC236}">
                    <a16:creationId xmlns:a16="http://schemas.microsoft.com/office/drawing/2014/main" id="{0624E90C-24F1-8F49-AECD-06A67BC607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0" name="Groep 1389">
              <a:extLst>
                <a:ext uri="{FF2B5EF4-FFF2-40B4-BE49-F238E27FC236}">
                  <a16:creationId xmlns:a16="http://schemas.microsoft.com/office/drawing/2014/main" id="{46AC1BFF-76AC-E49B-64EE-65CF31673755}"/>
                </a:ext>
              </a:extLst>
            </p:cNvPr>
            <p:cNvGrpSpPr/>
            <p:nvPr/>
          </p:nvGrpSpPr>
          <p:grpSpPr>
            <a:xfrm>
              <a:off x="7133223" y="3635151"/>
              <a:ext cx="289443" cy="248100"/>
              <a:chOff x="5696016" y="3086100"/>
              <a:chExt cx="800080" cy="685799"/>
            </a:xfrm>
            <a:grpFill/>
          </p:grpSpPr>
          <p:sp>
            <p:nvSpPr>
              <p:cNvPr id="1424" name="Vrije vorm: vorm 1423">
                <a:extLst>
                  <a:ext uri="{FF2B5EF4-FFF2-40B4-BE49-F238E27FC236}">
                    <a16:creationId xmlns:a16="http://schemas.microsoft.com/office/drawing/2014/main" id="{E1FAE509-B9F7-0552-07D7-FA25057DAD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25" name="Vrije vorm: vorm 1424">
                <a:extLst>
                  <a:ext uri="{FF2B5EF4-FFF2-40B4-BE49-F238E27FC236}">
                    <a16:creationId xmlns:a16="http://schemas.microsoft.com/office/drawing/2014/main" id="{C8811010-B368-4E23-36FF-1F7FF546B8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1" name="Groep 1390">
              <a:extLst>
                <a:ext uri="{FF2B5EF4-FFF2-40B4-BE49-F238E27FC236}">
                  <a16:creationId xmlns:a16="http://schemas.microsoft.com/office/drawing/2014/main" id="{675BD8C8-0864-F14E-7A2A-7D095A1F78A6}"/>
                </a:ext>
              </a:extLst>
            </p:cNvPr>
            <p:cNvGrpSpPr/>
            <p:nvPr/>
          </p:nvGrpSpPr>
          <p:grpSpPr>
            <a:xfrm>
              <a:off x="7455711" y="3635151"/>
              <a:ext cx="289443" cy="248100"/>
              <a:chOff x="5696016" y="3086100"/>
              <a:chExt cx="800080" cy="685799"/>
            </a:xfrm>
            <a:grpFill/>
          </p:grpSpPr>
          <p:sp>
            <p:nvSpPr>
              <p:cNvPr id="1422" name="Vrije vorm: vorm 1421">
                <a:extLst>
                  <a:ext uri="{FF2B5EF4-FFF2-40B4-BE49-F238E27FC236}">
                    <a16:creationId xmlns:a16="http://schemas.microsoft.com/office/drawing/2014/main" id="{262E3572-BCD3-86F4-85B8-09C9D3FE94B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23" name="Vrije vorm: vorm 1422">
                <a:extLst>
                  <a:ext uri="{FF2B5EF4-FFF2-40B4-BE49-F238E27FC236}">
                    <a16:creationId xmlns:a16="http://schemas.microsoft.com/office/drawing/2014/main" id="{7EB052F6-0E10-9BE6-BB0A-1B8F1C537B8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2" name="Groep 1391">
              <a:extLst>
                <a:ext uri="{FF2B5EF4-FFF2-40B4-BE49-F238E27FC236}">
                  <a16:creationId xmlns:a16="http://schemas.microsoft.com/office/drawing/2014/main" id="{25DB2839-3D20-B381-1E44-908F90128AC3}"/>
                </a:ext>
              </a:extLst>
            </p:cNvPr>
            <p:cNvGrpSpPr/>
            <p:nvPr/>
          </p:nvGrpSpPr>
          <p:grpSpPr>
            <a:xfrm>
              <a:off x="7778199" y="3635151"/>
              <a:ext cx="289443" cy="248100"/>
              <a:chOff x="5696016" y="3086100"/>
              <a:chExt cx="800080" cy="685799"/>
            </a:xfrm>
            <a:grpFill/>
          </p:grpSpPr>
          <p:sp>
            <p:nvSpPr>
              <p:cNvPr id="1420" name="Vrije vorm: vorm 1419">
                <a:extLst>
                  <a:ext uri="{FF2B5EF4-FFF2-40B4-BE49-F238E27FC236}">
                    <a16:creationId xmlns:a16="http://schemas.microsoft.com/office/drawing/2014/main" id="{09533D6C-4E96-EB66-8DB2-29EE49E6282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21" name="Vrije vorm: vorm 1420">
                <a:extLst>
                  <a:ext uri="{FF2B5EF4-FFF2-40B4-BE49-F238E27FC236}">
                    <a16:creationId xmlns:a16="http://schemas.microsoft.com/office/drawing/2014/main" id="{7A95709E-1553-22A1-C05D-D59304DCCA7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3" name="Groep 1392">
              <a:extLst>
                <a:ext uri="{FF2B5EF4-FFF2-40B4-BE49-F238E27FC236}">
                  <a16:creationId xmlns:a16="http://schemas.microsoft.com/office/drawing/2014/main" id="{41747AC3-443A-895D-893F-8704CF849DE5}"/>
                </a:ext>
              </a:extLst>
            </p:cNvPr>
            <p:cNvGrpSpPr/>
            <p:nvPr/>
          </p:nvGrpSpPr>
          <p:grpSpPr>
            <a:xfrm>
              <a:off x="7133223" y="3945167"/>
              <a:ext cx="289443" cy="248100"/>
              <a:chOff x="5696016" y="3086100"/>
              <a:chExt cx="800080" cy="685799"/>
            </a:xfrm>
            <a:grpFill/>
          </p:grpSpPr>
          <p:sp>
            <p:nvSpPr>
              <p:cNvPr id="1418" name="Vrije vorm: vorm 1417">
                <a:extLst>
                  <a:ext uri="{FF2B5EF4-FFF2-40B4-BE49-F238E27FC236}">
                    <a16:creationId xmlns:a16="http://schemas.microsoft.com/office/drawing/2014/main" id="{1DA29461-D2BE-D683-6AC4-B125AA6862C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19" name="Vrije vorm: vorm 1418">
                <a:extLst>
                  <a:ext uri="{FF2B5EF4-FFF2-40B4-BE49-F238E27FC236}">
                    <a16:creationId xmlns:a16="http://schemas.microsoft.com/office/drawing/2014/main" id="{D1832BCF-5322-16DE-9E8A-1A46A386842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4" name="Groep 1393">
              <a:extLst>
                <a:ext uri="{FF2B5EF4-FFF2-40B4-BE49-F238E27FC236}">
                  <a16:creationId xmlns:a16="http://schemas.microsoft.com/office/drawing/2014/main" id="{78B51CC2-7907-CCC8-846C-0A0C2A1C07A9}"/>
                </a:ext>
              </a:extLst>
            </p:cNvPr>
            <p:cNvGrpSpPr/>
            <p:nvPr/>
          </p:nvGrpSpPr>
          <p:grpSpPr>
            <a:xfrm>
              <a:off x="7455711" y="3945167"/>
              <a:ext cx="289443" cy="248100"/>
              <a:chOff x="5696016" y="3086100"/>
              <a:chExt cx="800080" cy="685799"/>
            </a:xfrm>
            <a:grpFill/>
          </p:grpSpPr>
          <p:sp>
            <p:nvSpPr>
              <p:cNvPr id="1416" name="Vrije vorm: vorm 1415">
                <a:extLst>
                  <a:ext uri="{FF2B5EF4-FFF2-40B4-BE49-F238E27FC236}">
                    <a16:creationId xmlns:a16="http://schemas.microsoft.com/office/drawing/2014/main" id="{4DC956B1-BB34-4CCA-86E2-002593F34AA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17" name="Vrije vorm: vorm 1416">
                <a:extLst>
                  <a:ext uri="{FF2B5EF4-FFF2-40B4-BE49-F238E27FC236}">
                    <a16:creationId xmlns:a16="http://schemas.microsoft.com/office/drawing/2014/main" id="{E6AE1711-06AF-E321-838D-76F3A31A250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5" name="Groep 1394">
              <a:extLst>
                <a:ext uri="{FF2B5EF4-FFF2-40B4-BE49-F238E27FC236}">
                  <a16:creationId xmlns:a16="http://schemas.microsoft.com/office/drawing/2014/main" id="{4D14C0FD-3D4E-996B-F618-37AF4E762E92}"/>
                </a:ext>
              </a:extLst>
            </p:cNvPr>
            <p:cNvGrpSpPr/>
            <p:nvPr/>
          </p:nvGrpSpPr>
          <p:grpSpPr>
            <a:xfrm>
              <a:off x="7778199" y="3945167"/>
              <a:ext cx="289443" cy="248100"/>
              <a:chOff x="5696016" y="3086100"/>
              <a:chExt cx="800080" cy="685799"/>
            </a:xfrm>
            <a:grpFill/>
          </p:grpSpPr>
          <p:sp>
            <p:nvSpPr>
              <p:cNvPr id="1414" name="Vrije vorm: vorm 1413">
                <a:extLst>
                  <a:ext uri="{FF2B5EF4-FFF2-40B4-BE49-F238E27FC236}">
                    <a16:creationId xmlns:a16="http://schemas.microsoft.com/office/drawing/2014/main" id="{0B027000-438C-80AA-4D60-B1E338B73C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15" name="Vrije vorm: vorm 1414">
                <a:extLst>
                  <a:ext uri="{FF2B5EF4-FFF2-40B4-BE49-F238E27FC236}">
                    <a16:creationId xmlns:a16="http://schemas.microsoft.com/office/drawing/2014/main" id="{A282F449-E18D-DFE4-E2F2-97B0A3D3E2D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6" name="Groep 1395">
              <a:extLst>
                <a:ext uri="{FF2B5EF4-FFF2-40B4-BE49-F238E27FC236}">
                  <a16:creationId xmlns:a16="http://schemas.microsoft.com/office/drawing/2014/main" id="{081A12BF-E412-A434-7ABC-E6F889C9338A}"/>
                </a:ext>
              </a:extLst>
            </p:cNvPr>
            <p:cNvGrpSpPr/>
            <p:nvPr/>
          </p:nvGrpSpPr>
          <p:grpSpPr>
            <a:xfrm>
              <a:off x="7133223" y="4255183"/>
              <a:ext cx="289443" cy="248100"/>
              <a:chOff x="5696016" y="3086100"/>
              <a:chExt cx="800080" cy="685799"/>
            </a:xfrm>
            <a:grpFill/>
          </p:grpSpPr>
          <p:sp>
            <p:nvSpPr>
              <p:cNvPr id="1412" name="Vrije vorm: vorm 1411">
                <a:extLst>
                  <a:ext uri="{FF2B5EF4-FFF2-40B4-BE49-F238E27FC236}">
                    <a16:creationId xmlns:a16="http://schemas.microsoft.com/office/drawing/2014/main" id="{856D91FC-C375-46CF-52F1-7CE1E4BB042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13" name="Vrije vorm: vorm 1412">
                <a:extLst>
                  <a:ext uri="{FF2B5EF4-FFF2-40B4-BE49-F238E27FC236}">
                    <a16:creationId xmlns:a16="http://schemas.microsoft.com/office/drawing/2014/main" id="{F82962D4-515D-19E1-F8E6-E6F46AE084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7" name="Groep 1396">
              <a:extLst>
                <a:ext uri="{FF2B5EF4-FFF2-40B4-BE49-F238E27FC236}">
                  <a16:creationId xmlns:a16="http://schemas.microsoft.com/office/drawing/2014/main" id="{1651068C-7E5D-8685-BDA3-0D74C6799CC5}"/>
                </a:ext>
              </a:extLst>
            </p:cNvPr>
            <p:cNvGrpSpPr/>
            <p:nvPr/>
          </p:nvGrpSpPr>
          <p:grpSpPr>
            <a:xfrm>
              <a:off x="7455711" y="4255183"/>
              <a:ext cx="289443" cy="248100"/>
              <a:chOff x="5696016" y="3086100"/>
              <a:chExt cx="800080" cy="685799"/>
            </a:xfrm>
            <a:grpFill/>
          </p:grpSpPr>
          <p:sp>
            <p:nvSpPr>
              <p:cNvPr id="1410" name="Vrije vorm: vorm 1409">
                <a:extLst>
                  <a:ext uri="{FF2B5EF4-FFF2-40B4-BE49-F238E27FC236}">
                    <a16:creationId xmlns:a16="http://schemas.microsoft.com/office/drawing/2014/main" id="{E7BFD3BB-3C64-3156-06B9-265BF300DD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11" name="Vrije vorm: vorm 1410">
                <a:extLst>
                  <a:ext uri="{FF2B5EF4-FFF2-40B4-BE49-F238E27FC236}">
                    <a16:creationId xmlns:a16="http://schemas.microsoft.com/office/drawing/2014/main" id="{DF7E2D38-DC89-15E3-93F0-F33A166ABAD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8" name="Groep 1397">
              <a:extLst>
                <a:ext uri="{FF2B5EF4-FFF2-40B4-BE49-F238E27FC236}">
                  <a16:creationId xmlns:a16="http://schemas.microsoft.com/office/drawing/2014/main" id="{4BACB571-3833-F042-7D18-C4D94AFEE399}"/>
                </a:ext>
              </a:extLst>
            </p:cNvPr>
            <p:cNvGrpSpPr/>
            <p:nvPr/>
          </p:nvGrpSpPr>
          <p:grpSpPr>
            <a:xfrm>
              <a:off x="7778199" y="4255183"/>
              <a:ext cx="289443" cy="248100"/>
              <a:chOff x="5696016" y="3086100"/>
              <a:chExt cx="800080" cy="685799"/>
            </a:xfrm>
            <a:grpFill/>
          </p:grpSpPr>
          <p:sp>
            <p:nvSpPr>
              <p:cNvPr id="1408" name="Vrije vorm: vorm 1407">
                <a:extLst>
                  <a:ext uri="{FF2B5EF4-FFF2-40B4-BE49-F238E27FC236}">
                    <a16:creationId xmlns:a16="http://schemas.microsoft.com/office/drawing/2014/main" id="{7709A61C-4324-9DA9-A562-62AE7521AAD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09" name="Vrije vorm: vorm 1408">
                <a:extLst>
                  <a:ext uri="{FF2B5EF4-FFF2-40B4-BE49-F238E27FC236}">
                    <a16:creationId xmlns:a16="http://schemas.microsoft.com/office/drawing/2014/main" id="{8FEA38CE-7263-7205-4FC5-0A1151AC681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399" name="Groep 1398">
              <a:extLst>
                <a:ext uri="{FF2B5EF4-FFF2-40B4-BE49-F238E27FC236}">
                  <a16:creationId xmlns:a16="http://schemas.microsoft.com/office/drawing/2014/main" id="{6A19A0E1-38AA-F302-DCCC-5570910BE9EB}"/>
                </a:ext>
              </a:extLst>
            </p:cNvPr>
            <p:cNvGrpSpPr/>
            <p:nvPr/>
          </p:nvGrpSpPr>
          <p:grpSpPr>
            <a:xfrm>
              <a:off x="7133223" y="4565200"/>
              <a:ext cx="289443" cy="248100"/>
              <a:chOff x="5696016" y="3086100"/>
              <a:chExt cx="800080" cy="685799"/>
            </a:xfrm>
            <a:grpFill/>
          </p:grpSpPr>
          <p:sp>
            <p:nvSpPr>
              <p:cNvPr id="1406" name="Vrije vorm: vorm 1405">
                <a:extLst>
                  <a:ext uri="{FF2B5EF4-FFF2-40B4-BE49-F238E27FC236}">
                    <a16:creationId xmlns:a16="http://schemas.microsoft.com/office/drawing/2014/main" id="{AF0F9A67-F59C-9634-8D6A-E4312C1698B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07" name="Vrije vorm: vorm 1406">
                <a:extLst>
                  <a:ext uri="{FF2B5EF4-FFF2-40B4-BE49-F238E27FC236}">
                    <a16:creationId xmlns:a16="http://schemas.microsoft.com/office/drawing/2014/main" id="{A1F12222-89EC-416D-E24D-77D92E5954E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00" name="Groep 1399">
              <a:extLst>
                <a:ext uri="{FF2B5EF4-FFF2-40B4-BE49-F238E27FC236}">
                  <a16:creationId xmlns:a16="http://schemas.microsoft.com/office/drawing/2014/main" id="{3ABD3127-DDE4-60EB-9963-51AF7BD40540}"/>
                </a:ext>
              </a:extLst>
            </p:cNvPr>
            <p:cNvGrpSpPr/>
            <p:nvPr/>
          </p:nvGrpSpPr>
          <p:grpSpPr>
            <a:xfrm>
              <a:off x="7455711" y="4565200"/>
              <a:ext cx="289443" cy="248100"/>
              <a:chOff x="5696016" y="3086100"/>
              <a:chExt cx="800080" cy="685799"/>
            </a:xfrm>
            <a:grpFill/>
          </p:grpSpPr>
          <p:sp>
            <p:nvSpPr>
              <p:cNvPr id="1404" name="Vrije vorm: vorm 1403">
                <a:extLst>
                  <a:ext uri="{FF2B5EF4-FFF2-40B4-BE49-F238E27FC236}">
                    <a16:creationId xmlns:a16="http://schemas.microsoft.com/office/drawing/2014/main" id="{5320A0AC-78E3-97D8-E5F8-1596D43BF46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05" name="Vrije vorm: vorm 1404">
                <a:extLst>
                  <a:ext uri="{FF2B5EF4-FFF2-40B4-BE49-F238E27FC236}">
                    <a16:creationId xmlns:a16="http://schemas.microsoft.com/office/drawing/2014/main" id="{6AD9F5CE-428C-3A52-B974-6FB46A6427A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01" name="Groep 1400">
              <a:extLst>
                <a:ext uri="{FF2B5EF4-FFF2-40B4-BE49-F238E27FC236}">
                  <a16:creationId xmlns:a16="http://schemas.microsoft.com/office/drawing/2014/main" id="{AAC2A3DF-DB57-7521-4E40-6A9B229CF9D0}"/>
                </a:ext>
              </a:extLst>
            </p:cNvPr>
            <p:cNvGrpSpPr/>
            <p:nvPr/>
          </p:nvGrpSpPr>
          <p:grpSpPr>
            <a:xfrm>
              <a:off x="7778199" y="4565200"/>
              <a:ext cx="289443" cy="248100"/>
              <a:chOff x="5696016" y="3086100"/>
              <a:chExt cx="800080" cy="685799"/>
            </a:xfrm>
            <a:grpFill/>
          </p:grpSpPr>
          <p:sp>
            <p:nvSpPr>
              <p:cNvPr id="1402" name="Vrije vorm: vorm 1401">
                <a:extLst>
                  <a:ext uri="{FF2B5EF4-FFF2-40B4-BE49-F238E27FC236}">
                    <a16:creationId xmlns:a16="http://schemas.microsoft.com/office/drawing/2014/main" id="{D2B213ED-2DD8-FC62-250C-FCF1B90FA5C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403" name="Vrije vorm: vorm 1402">
                <a:extLst>
                  <a:ext uri="{FF2B5EF4-FFF2-40B4-BE49-F238E27FC236}">
                    <a16:creationId xmlns:a16="http://schemas.microsoft.com/office/drawing/2014/main" id="{19638AE0-7835-5F75-7211-96BB69F19B3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486" name="Groep 1485">
            <a:extLst>
              <a:ext uri="{FF2B5EF4-FFF2-40B4-BE49-F238E27FC236}">
                <a16:creationId xmlns:a16="http://schemas.microsoft.com/office/drawing/2014/main" id="{C0C67C4B-EAF0-6954-B864-F37AEFD3FF18}"/>
              </a:ext>
            </a:extLst>
          </p:cNvPr>
          <p:cNvGrpSpPr/>
          <p:nvPr/>
        </p:nvGrpSpPr>
        <p:grpSpPr>
          <a:xfrm>
            <a:off x="10880287" y="2044547"/>
            <a:ext cx="763072" cy="3473127"/>
            <a:chOff x="7133223" y="533400"/>
            <a:chExt cx="940327" cy="4279900"/>
          </a:xfrm>
          <a:solidFill>
            <a:schemeClr val="accent2"/>
          </a:solidFill>
        </p:grpSpPr>
        <p:grpSp>
          <p:nvGrpSpPr>
            <p:cNvPr id="1487" name="Groep 1486">
              <a:extLst>
                <a:ext uri="{FF2B5EF4-FFF2-40B4-BE49-F238E27FC236}">
                  <a16:creationId xmlns:a16="http://schemas.microsoft.com/office/drawing/2014/main" id="{F404792B-095B-5D4F-E789-A663F6775920}"/>
                </a:ext>
              </a:extLst>
            </p:cNvPr>
            <p:cNvGrpSpPr/>
            <p:nvPr/>
          </p:nvGrpSpPr>
          <p:grpSpPr>
            <a:xfrm>
              <a:off x="7139131" y="533400"/>
              <a:ext cx="289443" cy="248100"/>
              <a:chOff x="5696016" y="3086100"/>
              <a:chExt cx="800080" cy="685799"/>
            </a:xfrm>
            <a:grpFill/>
          </p:grpSpPr>
          <p:sp>
            <p:nvSpPr>
              <p:cNvPr id="1611" name="Vrije vorm: vorm 1610">
                <a:extLst>
                  <a:ext uri="{FF2B5EF4-FFF2-40B4-BE49-F238E27FC236}">
                    <a16:creationId xmlns:a16="http://schemas.microsoft.com/office/drawing/2014/main" id="{EA31BA4B-5900-97EC-2DBE-1685828F115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12" name="Vrije vorm: vorm 1611">
                <a:extLst>
                  <a:ext uri="{FF2B5EF4-FFF2-40B4-BE49-F238E27FC236}">
                    <a16:creationId xmlns:a16="http://schemas.microsoft.com/office/drawing/2014/main" id="{F7DB1F05-D7BB-AA38-51E8-3C04B2EF117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88" name="Groep 1487">
              <a:extLst>
                <a:ext uri="{FF2B5EF4-FFF2-40B4-BE49-F238E27FC236}">
                  <a16:creationId xmlns:a16="http://schemas.microsoft.com/office/drawing/2014/main" id="{E2601089-0C54-0AB2-25E9-D04340E8FC5E}"/>
                </a:ext>
              </a:extLst>
            </p:cNvPr>
            <p:cNvGrpSpPr/>
            <p:nvPr/>
          </p:nvGrpSpPr>
          <p:grpSpPr>
            <a:xfrm>
              <a:off x="7461619" y="533400"/>
              <a:ext cx="289443" cy="248100"/>
              <a:chOff x="5696016" y="3086100"/>
              <a:chExt cx="800080" cy="685799"/>
            </a:xfrm>
            <a:grpFill/>
          </p:grpSpPr>
          <p:sp>
            <p:nvSpPr>
              <p:cNvPr id="1609" name="Vrije vorm: vorm 1608">
                <a:extLst>
                  <a:ext uri="{FF2B5EF4-FFF2-40B4-BE49-F238E27FC236}">
                    <a16:creationId xmlns:a16="http://schemas.microsoft.com/office/drawing/2014/main" id="{D582BE17-C3FB-4D02-4EBF-5E8CC5D290B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10" name="Vrije vorm: vorm 1609">
                <a:extLst>
                  <a:ext uri="{FF2B5EF4-FFF2-40B4-BE49-F238E27FC236}">
                    <a16:creationId xmlns:a16="http://schemas.microsoft.com/office/drawing/2014/main" id="{700C0075-A22B-9D54-18AA-729756243DA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89" name="Groep 1488">
              <a:extLst>
                <a:ext uri="{FF2B5EF4-FFF2-40B4-BE49-F238E27FC236}">
                  <a16:creationId xmlns:a16="http://schemas.microsoft.com/office/drawing/2014/main" id="{68C9D41D-0504-43B4-4DF8-9CB251491BB5}"/>
                </a:ext>
              </a:extLst>
            </p:cNvPr>
            <p:cNvGrpSpPr/>
            <p:nvPr/>
          </p:nvGrpSpPr>
          <p:grpSpPr>
            <a:xfrm>
              <a:off x="7784107" y="533400"/>
              <a:ext cx="289443" cy="248100"/>
              <a:chOff x="5696016" y="3086100"/>
              <a:chExt cx="800080" cy="685799"/>
            </a:xfrm>
            <a:grpFill/>
          </p:grpSpPr>
          <p:sp>
            <p:nvSpPr>
              <p:cNvPr id="1607" name="Vrije vorm: vorm 1606">
                <a:extLst>
                  <a:ext uri="{FF2B5EF4-FFF2-40B4-BE49-F238E27FC236}">
                    <a16:creationId xmlns:a16="http://schemas.microsoft.com/office/drawing/2014/main" id="{44CE3DF1-6314-5642-49F1-11D21429C6C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08" name="Vrije vorm: vorm 1607">
                <a:extLst>
                  <a:ext uri="{FF2B5EF4-FFF2-40B4-BE49-F238E27FC236}">
                    <a16:creationId xmlns:a16="http://schemas.microsoft.com/office/drawing/2014/main" id="{5EF06F22-F89E-0E59-2DC4-54D8B0DDDF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0" name="Groep 1489">
              <a:extLst>
                <a:ext uri="{FF2B5EF4-FFF2-40B4-BE49-F238E27FC236}">
                  <a16:creationId xmlns:a16="http://schemas.microsoft.com/office/drawing/2014/main" id="{30C29877-B473-D811-780E-AA45FAE9B8CB}"/>
                </a:ext>
              </a:extLst>
            </p:cNvPr>
            <p:cNvGrpSpPr/>
            <p:nvPr/>
          </p:nvGrpSpPr>
          <p:grpSpPr>
            <a:xfrm>
              <a:off x="7139131" y="843417"/>
              <a:ext cx="289443" cy="248100"/>
              <a:chOff x="5696016" y="3086100"/>
              <a:chExt cx="800080" cy="685799"/>
            </a:xfrm>
            <a:grpFill/>
          </p:grpSpPr>
          <p:sp>
            <p:nvSpPr>
              <p:cNvPr id="1605" name="Vrije vorm: vorm 1604">
                <a:extLst>
                  <a:ext uri="{FF2B5EF4-FFF2-40B4-BE49-F238E27FC236}">
                    <a16:creationId xmlns:a16="http://schemas.microsoft.com/office/drawing/2014/main" id="{11521821-377D-6663-BB0A-52C6B95B274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06" name="Vrije vorm: vorm 1605">
                <a:extLst>
                  <a:ext uri="{FF2B5EF4-FFF2-40B4-BE49-F238E27FC236}">
                    <a16:creationId xmlns:a16="http://schemas.microsoft.com/office/drawing/2014/main" id="{4FDBEBB2-0BFA-68BD-28B5-324FDD5726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1" name="Groep 1490">
              <a:extLst>
                <a:ext uri="{FF2B5EF4-FFF2-40B4-BE49-F238E27FC236}">
                  <a16:creationId xmlns:a16="http://schemas.microsoft.com/office/drawing/2014/main" id="{14126E02-E3C8-821C-A3A8-5956C7331FB0}"/>
                </a:ext>
              </a:extLst>
            </p:cNvPr>
            <p:cNvGrpSpPr/>
            <p:nvPr/>
          </p:nvGrpSpPr>
          <p:grpSpPr>
            <a:xfrm>
              <a:off x="7461619" y="843417"/>
              <a:ext cx="289443" cy="248100"/>
              <a:chOff x="5696016" y="3086100"/>
              <a:chExt cx="800080" cy="685799"/>
            </a:xfrm>
            <a:grpFill/>
          </p:grpSpPr>
          <p:sp>
            <p:nvSpPr>
              <p:cNvPr id="1603" name="Vrije vorm: vorm 1602">
                <a:extLst>
                  <a:ext uri="{FF2B5EF4-FFF2-40B4-BE49-F238E27FC236}">
                    <a16:creationId xmlns:a16="http://schemas.microsoft.com/office/drawing/2014/main" id="{3D050370-FF6B-34B3-3229-4DC8289946B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04" name="Vrije vorm: vorm 1603">
                <a:extLst>
                  <a:ext uri="{FF2B5EF4-FFF2-40B4-BE49-F238E27FC236}">
                    <a16:creationId xmlns:a16="http://schemas.microsoft.com/office/drawing/2014/main" id="{716FFF96-E0AA-4865-F2A1-CD52E68185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2" name="Groep 1491">
              <a:extLst>
                <a:ext uri="{FF2B5EF4-FFF2-40B4-BE49-F238E27FC236}">
                  <a16:creationId xmlns:a16="http://schemas.microsoft.com/office/drawing/2014/main" id="{46330F3C-3281-0ECD-FFD0-F7D2704677D5}"/>
                </a:ext>
              </a:extLst>
            </p:cNvPr>
            <p:cNvGrpSpPr/>
            <p:nvPr/>
          </p:nvGrpSpPr>
          <p:grpSpPr>
            <a:xfrm>
              <a:off x="7784107" y="843417"/>
              <a:ext cx="289443" cy="248100"/>
              <a:chOff x="5696016" y="3086100"/>
              <a:chExt cx="800080" cy="685799"/>
            </a:xfrm>
            <a:grpFill/>
          </p:grpSpPr>
          <p:sp>
            <p:nvSpPr>
              <p:cNvPr id="1601" name="Vrije vorm: vorm 1600">
                <a:extLst>
                  <a:ext uri="{FF2B5EF4-FFF2-40B4-BE49-F238E27FC236}">
                    <a16:creationId xmlns:a16="http://schemas.microsoft.com/office/drawing/2014/main" id="{99A72646-2EF0-31AC-8BB0-5E55BE52680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02" name="Vrije vorm: vorm 1601">
                <a:extLst>
                  <a:ext uri="{FF2B5EF4-FFF2-40B4-BE49-F238E27FC236}">
                    <a16:creationId xmlns:a16="http://schemas.microsoft.com/office/drawing/2014/main" id="{E971F98D-C272-4955-D83E-81479A918BD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3" name="Groep 1492">
              <a:extLst>
                <a:ext uri="{FF2B5EF4-FFF2-40B4-BE49-F238E27FC236}">
                  <a16:creationId xmlns:a16="http://schemas.microsoft.com/office/drawing/2014/main" id="{A7F86A59-4130-CCCF-CB2D-C0C349592B60}"/>
                </a:ext>
              </a:extLst>
            </p:cNvPr>
            <p:cNvGrpSpPr/>
            <p:nvPr/>
          </p:nvGrpSpPr>
          <p:grpSpPr>
            <a:xfrm>
              <a:off x="7139131" y="1153435"/>
              <a:ext cx="289443" cy="248100"/>
              <a:chOff x="5696016" y="3086100"/>
              <a:chExt cx="800080" cy="685799"/>
            </a:xfrm>
            <a:grpFill/>
          </p:grpSpPr>
          <p:sp>
            <p:nvSpPr>
              <p:cNvPr id="1599" name="Vrije vorm: vorm 1598">
                <a:extLst>
                  <a:ext uri="{FF2B5EF4-FFF2-40B4-BE49-F238E27FC236}">
                    <a16:creationId xmlns:a16="http://schemas.microsoft.com/office/drawing/2014/main" id="{F38C2CB3-42F7-86C4-516F-096DDFF50FF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00" name="Vrije vorm: vorm 1599">
                <a:extLst>
                  <a:ext uri="{FF2B5EF4-FFF2-40B4-BE49-F238E27FC236}">
                    <a16:creationId xmlns:a16="http://schemas.microsoft.com/office/drawing/2014/main" id="{0803732F-1721-7230-3F7C-515F4293D1D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4" name="Groep 1493">
              <a:extLst>
                <a:ext uri="{FF2B5EF4-FFF2-40B4-BE49-F238E27FC236}">
                  <a16:creationId xmlns:a16="http://schemas.microsoft.com/office/drawing/2014/main" id="{28F97671-DE4F-4F2F-4DF1-39DA6355E0EB}"/>
                </a:ext>
              </a:extLst>
            </p:cNvPr>
            <p:cNvGrpSpPr/>
            <p:nvPr/>
          </p:nvGrpSpPr>
          <p:grpSpPr>
            <a:xfrm>
              <a:off x="7461619" y="1153435"/>
              <a:ext cx="289443" cy="248100"/>
              <a:chOff x="5696016" y="3086100"/>
              <a:chExt cx="800080" cy="685799"/>
            </a:xfrm>
            <a:grpFill/>
          </p:grpSpPr>
          <p:sp>
            <p:nvSpPr>
              <p:cNvPr id="1597" name="Vrije vorm: vorm 1596">
                <a:extLst>
                  <a:ext uri="{FF2B5EF4-FFF2-40B4-BE49-F238E27FC236}">
                    <a16:creationId xmlns:a16="http://schemas.microsoft.com/office/drawing/2014/main" id="{12107244-D581-E453-7C1D-5C0B85971E9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98" name="Vrije vorm: vorm 1597">
                <a:extLst>
                  <a:ext uri="{FF2B5EF4-FFF2-40B4-BE49-F238E27FC236}">
                    <a16:creationId xmlns:a16="http://schemas.microsoft.com/office/drawing/2014/main" id="{090D5237-AF2C-7426-7CCA-7DB4DDB1639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5" name="Groep 1494">
              <a:extLst>
                <a:ext uri="{FF2B5EF4-FFF2-40B4-BE49-F238E27FC236}">
                  <a16:creationId xmlns:a16="http://schemas.microsoft.com/office/drawing/2014/main" id="{9AD4AC49-4E75-7D39-9BF8-F2C2D630AEAA}"/>
                </a:ext>
              </a:extLst>
            </p:cNvPr>
            <p:cNvGrpSpPr/>
            <p:nvPr/>
          </p:nvGrpSpPr>
          <p:grpSpPr>
            <a:xfrm>
              <a:off x="7784107" y="1153435"/>
              <a:ext cx="289443" cy="248100"/>
              <a:chOff x="5696016" y="3086100"/>
              <a:chExt cx="800080" cy="685799"/>
            </a:xfrm>
            <a:grpFill/>
          </p:grpSpPr>
          <p:sp>
            <p:nvSpPr>
              <p:cNvPr id="1595" name="Vrije vorm: vorm 1594">
                <a:extLst>
                  <a:ext uri="{FF2B5EF4-FFF2-40B4-BE49-F238E27FC236}">
                    <a16:creationId xmlns:a16="http://schemas.microsoft.com/office/drawing/2014/main" id="{77451A3E-1D52-9312-EE36-6669905938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96" name="Vrije vorm: vorm 1595">
                <a:extLst>
                  <a:ext uri="{FF2B5EF4-FFF2-40B4-BE49-F238E27FC236}">
                    <a16:creationId xmlns:a16="http://schemas.microsoft.com/office/drawing/2014/main" id="{0381FBEE-CABE-1282-29D8-7B4151DA4B1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6" name="Groep 1495">
              <a:extLst>
                <a:ext uri="{FF2B5EF4-FFF2-40B4-BE49-F238E27FC236}">
                  <a16:creationId xmlns:a16="http://schemas.microsoft.com/office/drawing/2014/main" id="{4A98A30A-7637-DCFF-08DC-4656F080702A}"/>
                </a:ext>
              </a:extLst>
            </p:cNvPr>
            <p:cNvGrpSpPr/>
            <p:nvPr/>
          </p:nvGrpSpPr>
          <p:grpSpPr>
            <a:xfrm>
              <a:off x="7139131" y="1463451"/>
              <a:ext cx="289443" cy="248100"/>
              <a:chOff x="5696016" y="3086100"/>
              <a:chExt cx="800080" cy="685799"/>
            </a:xfrm>
            <a:grpFill/>
          </p:grpSpPr>
          <p:sp>
            <p:nvSpPr>
              <p:cNvPr id="1593" name="Vrije vorm: vorm 1592">
                <a:extLst>
                  <a:ext uri="{FF2B5EF4-FFF2-40B4-BE49-F238E27FC236}">
                    <a16:creationId xmlns:a16="http://schemas.microsoft.com/office/drawing/2014/main" id="{37BF3AF5-189A-DFFC-278D-9CDF7029E13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94" name="Vrije vorm: vorm 1593">
                <a:extLst>
                  <a:ext uri="{FF2B5EF4-FFF2-40B4-BE49-F238E27FC236}">
                    <a16:creationId xmlns:a16="http://schemas.microsoft.com/office/drawing/2014/main" id="{92B1BF4B-D35E-13B9-41E7-AD21E7235E6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7" name="Groep 1496">
              <a:extLst>
                <a:ext uri="{FF2B5EF4-FFF2-40B4-BE49-F238E27FC236}">
                  <a16:creationId xmlns:a16="http://schemas.microsoft.com/office/drawing/2014/main" id="{35EEC693-A5A5-0F68-788B-A91663B713ED}"/>
                </a:ext>
              </a:extLst>
            </p:cNvPr>
            <p:cNvGrpSpPr/>
            <p:nvPr/>
          </p:nvGrpSpPr>
          <p:grpSpPr>
            <a:xfrm>
              <a:off x="7461619" y="1463451"/>
              <a:ext cx="289443" cy="248100"/>
              <a:chOff x="5696016" y="3086100"/>
              <a:chExt cx="800080" cy="685799"/>
            </a:xfrm>
            <a:grpFill/>
          </p:grpSpPr>
          <p:sp>
            <p:nvSpPr>
              <p:cNvPr id="1591" name="Vrije vorm: vorm 1590">
                <a:extLst>
                  <a:ext uri="{FF2B5EF4-FFF2-40B4-BE49-F238E27FC236}">
                    <a16:creationId xmlns:a16="http://schemas.microsoft.com/office/drawing/2014/main" id="{FB21A9B6-7615-DD47-1BB8-A98E2E94C46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92" name="Vrije vorm: vorm 1591">
                <a:extLst>
                  <a:ext uri="{FF2B5EF4-FFF2-40B4-BE49-F238E27FC236}">
                    <a16:creationId xmlns:a16="http://schemas.microsoft.com/office/drawing/2014/main" id="{FCA69E86-D238-DDA3-73FF-EB1B08B6E18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8" name="Groep 1497">
              <a:extLst>
                <a:ext uri="{FF2B5EF4-FFF2-40B4-BE49-F238E27FC236}">
                  <a16:creationId xmlns:a16="http://schemas.microsoft.com/office/drawing/2014/main" id="{9EF4BBF3-B7C5-A52D-5B88-B88DA5975626}"/>
                </a:ext>
              </a:extLst>
            </p:cNvPr>
            <p:cNvGrpSpPr/>
            <p:nvPr/>
          </p:nvGrpSpPr>
          <p:grpSpPr>
            <a:xfrm>
              <a:off x="7784107" y="1463451"/>
              <a:ext cx="289443" cy="248100"/>
              <a:chOff x="5696016" y="3086100"/>
              <a:chExt cx="800080" cy="685799"/>
            </a:xfrm>
            <a:grpFill/>
          </p:grpSpPr>
          <p:sp>
            <p:nvSpPr>
              <p:cNvPr id="1589" name="Vrije vorm: vorm 1588">
                <a:extLst>
                  <a:ext uri="{FF2B5EF4-FFF2-40B4-BE49-F238E27FC236}">
                    <a16:creationId xmlns:a16="http://schemas.microsoft.com/office/drawing/2014/main" id="{81C2D0B8-2B53-4067-733A-90A8D05607E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90" name="Vrije vorm: vorm 1589">
                <a:extLst>
                  <a:ext uri="{FF2B5EF4-FFF2-40B4-BE49-F238E27FC236}">
                    <a16:creationId xmlns:a16="http://schemas.microsoft.com/office/drawing/2014/main" id="{14075445-D595-F1DD-F08F-5BEFA9999CA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499" name="Groep 1498">
              <a:extLst>
                <a:ext uri="{FF2B5EF4-FFF2-40B4-BE49-F238E27FC236}">
                  <a16:creationId xmlns:a16="http://schemas.microsoft.com/office/drawing/2014/main" id="{6DB56920-3515-8314-C615-504F2CDAFC25}"/>
                </a:ext>
              </a:extLst>
            </p:cNvPr>
            <p:cNvGrpSpPr/>
            <p:nvPr/>
          </p:nvGrpSpPr>
          <p:grpSpPr>
            <a:xfrm>
              <a:off x="7139131" y="1773467"/>
              <a:ext cx="289443" cy="248100"/>
              <a:chOff x="5696016" y="3086100"/>
              <a:chExt cx="800080" cy="685799"/>
            </a:xfrm>
            <a:grpFill/>
          </p:grpSpPr>
          <p:sp>
            <p:nvSpPr>
              <p:cNvPr id="1587" name="Vrije vorm: vorm 1586">
                <a:extLst>
                  <a:ext uri="{FF2B5EF4-FFF2-40B4-BE49-F238E27FC236}">
                    <a16:creationId xmlns:a16="http://schemas.microsoft.com/office/drawing/2014/main" id="{E25EB598-9458-BCE2-C0F0-1FE8D7D9BD6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88" name="Vrije vorm: vorm 1587">
                <a:extLst>
                  <a:ext uri="{FF2B5EF4-FFF2-40B4-BE49-F238E27FC236}">
                    <a16:creationId xmlns:a16="http://schemas.microsoft.com/office/drawing/2014/main" id="{289B9BA7-D586-4B35-4DF3-A657D35819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0" name="Groep 1499">
              <a:extLst>
                <a:ext uri="{FF2B5EF4-FFF2-40B4-BE49-F238E27FC236}">
                  <a16:creationId xmlns:a16="http://schemas.microsoft.com/office/drawing/2014/main" id="{3C75F464-8452-0785-FD12-6613210B0B4B}"/>
                </a:ext>
              </a:extLst>
            </p:cNvPr>
            <p:cNvGrpSpPr/>
            <p:nvPr/>
          </p:nvGrpSpPr>
          <p:grpSpPr>
            <a:xfrm>
              <a:off x="7461619" y="1773467"/>
              <a:ext cx="289443" cy="248100"/>
              <a:chOff x="5696016" y="3086100"/>
              <a:chExt cx="800080" cy="685799"/>
            </a:xfrm>
            <a:grpFill/>
          </p:grpSpPr>
          <p:sp>
            <p:nvSpPr>
              <p:cNvPr id="1585" name="Vrije vorm: vorm 1584">
                <a:extLst>
                  <a:ext uri="{FF2B5EF4-FFF2-40B4-BE49-F238E27FC236}">
                    <a16:creationId xmlns:a16="http://schemas.microsoft.com/office/drawing/2014/main" id="{3189BBCE-E10D-1DC3-0E63-6F1D0E54131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86" name="Vrije vorm: vorm 1585">
                <a:extLst>
                  <a:ext uri="{FF2B5EF4-FFF2-40B4-BE49-F238E27FC236}">
                    <a16:creationId xmlns:a16="http://schemas.microsoft.com/office/drawing/2014/main" id="{6A2ED3E9-6D56-46E6-5144-B1A2E878F08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1" name="Groep 1500">
              <a:extLst>
                <a:ext uri="{FF2B5EF4-FFF2-40B4-BE49-F238E27FC236}">
                  <a16:creationId xmlns:a16="http://schemas.microsoft.com/office/drawing/2014/main" id="{4CA765E9-B254-F1CD-1080-C31FD4915657}"/>
                </a:ext>
              </a:extLst>
            </p:cNvPr>
            <p:cNvGrpSpPr/>
            <p:nvPr/>
          </p:nvGrpSpPr>
          <p:grpSpPr>
            <a:xfrm>
              <a:off x="7784107" y="1773467"/>
              <a:ext cx="289443" cy="248100"/>
              <a:chOff x="5696016" y="3086100"/>
              <a:chExt cx="800080" cy="685799"/>
            </a:xfrm>
            <a:grpFill/>
          </p:grpSpPr>
          <p:sp>
            <p:nvSpPr>
              <p:cNvPr id="1583" name="Vrije vorm: vorm 1582">
                <a:extLst>
                  <a:ext uri="{FF2B5EF4-FFF2-40B4-BE49-F238E27FC236}">
                    <a16:creationId xmlns:a16="http://schemas.microsoft.com/office/drawing/2014/main" id="{7F9681AF-B87A-14B6-7363-2A58A79E9C9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84" name="Vrije vorm: vorm 1583">
                <a:extLst>
                  <a:ext uri="{FF2B5EF4-FFF2-40B4-BE49-F238E27FC236}">
                    <a16:creationId xmlns:a16="http://schemas.microsoft.com/office/drawing/2014/main" id="{B22733D1-747B-3830-7B83-341BD4B1CB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2" name="Groep 1501">
              <a:extLst>
                <a:ext uri="{FF2B5EF4-FFF2-40B4-BE49-F238E27FC236}">
                  <a16:creationId xmlns:a16="http://schemas.microsoft.com/office/drawing/2014/main" id="{F69794A6-D67B-A355-D1FC-7010547E38EF}"/>
                </a:ext>
              </a:extLst>
            </p:cNvPr>
            <p:cNvGrpSpPr/>
            <p:nvPr/>
          </p:nvGrpSpPr>
          <p:grpSpPr>
            <a:xfrm>
              <a:off x="7139131" y="2083483"/>
              <a:ext cx="289443" cy="248100"/>
              <a:chOff x="5696016" y="3086100"/>
              <a:chExt cx="800080" cy="685799"/>
            </a:xfrm>
            <a:grpFill/>
          </p:grpSpPr>
          <p:sp>
            <p:nvSpPr>
              <p:cNvPr id="1581" name="Vrije vorm: vorm 1580">
                <a:extLst>
                  <a:ext uri="{FF2B5EF4-FFF2-40B4-BE49-F238E27FC236}">
                    <a16:creationId xmlns:a16="http://schemas.microsoft.com/office/drawing/2014/main" id="{786148EF-AA5B-6DE5-9B5C-43D0FC9017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82" name="Vrije vorm: vorm 1581">
                <a:extLst>
                  <a:ext uri="{FF2B5EF4-FFF2-40B4-BE49-F238E27FC236}">
                    <a16:creationId xmlns:a16="http://schemas.microsoft.com/office/drawing/2014/main" id="{62E64EB2-9769-4127-4E34-F88F57CE402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3" name="Groep 1502">
              <a:extLst>
                <a:ext uri="{FF2B5EF4-FFF2-40B4-BE49-F238E27FC236}">
                  <a16:creationId xmlns:a16="http://schemas.microsoft.com/office/drawing/2014/main" id="{570F6BB6-8141-3C0E-BCA3-694BD86245B8}"/>
                </a:ext>
              </a:extLst>
            </p:cNvPr>
            <p:cNvGrpSpPr/>
            <p:nvPr/>
          </p:nvGrpSpPr>
          <p:grpSpPr>
            <a:xfrm>
              <a:off x="7461619" y="2083483"/>
              <a:ext cx="289443" cy="248100"/>
              <a:chOff x="5696016" y="3086100"/>
              <a:chExt cx="800080" cy="685799"/>
            </a:xfrm>
            <a:grpFill/>
          </p:grpSpPr>
          <p:sp>
            <p:nvSpPr>
              <p:cNvPr id="1579" name="Vrije vorm: vorm 1578">
                <a:extLst>
                  <a:ext uri="{FF2B5EF4-FFF2-40B4-BE49-F238E27FC236}">
                    <a16:creationId xmlns:a16="http://schemas.microsoft.com/office/drawing/2014/main" id="{2321C313-CCF8-3C6A-8483-6FFD6746F49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80" name="Vrije vorm: vorm 1579">
                <a:extLst>
                  <a:ext uri="{FF2B5EF4-FFF2-40B4-BE49-F238E27FC236}">
                    <a16:creationId xmlns:a16="http://schemas.microsoft.com/office/drawing/2014/main" id="{DA8A6DEC-6650-5549-B06F-54D1B398B98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4" name="Groep 1503">
              <a:extLst>
                <a:ext uri="{FF2B5EF4-FFF2-40B4-BE49-F238E27FC236}">
                  <a16:creationId xmlns:a16="http://schemas.microsoft.com/office/drawing/2014/main" id="{B78074A8-1215-FDE5-DAA9-DA81ADE02A70}"/>
                </a:ext>
              </a:extLst>
            </p:cNvPr>
            <p:cNvGrpSpPr/>
            <p:nvPr/>
          </p:nvGrpSpPr>
          <p:grpSpPr>
            <a:xfrm>
              <a:off x="7784107" y="2083483"/>
              <a:ext cx="289443" cy="248100"/>
              <a:chOff x="5696016" y="3086100"/>
              <a:chExt cx="800080" cy="685799"/>
            </a:xfrm>
            <a:grpFill/>
          </p:grpSpPr>
          <p:sp>
            <p:nvSpPr>
              <p:cNvPr id="1577" name="Vrije vorm: vorm 1576">
                <a:extLst>
                  <a:ext uri="{FF2B5EF4-FFF2-40B4-BE49-F238E27FC236}">
                    <a16:creationId xmlns:a16="http://schemas.microsoft.com/office/drawing/2014/main" id="{ADC63AC8-4B3F-BA18-0CF7-EA8D706BA7B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78" name="Vrije vorm: vorm 1577">
                <a:extLst>
                  <a:ext uri="{FF2B5EF4-FFF2-40B4-BE49-F238E27FC236}">
                    <a16:creationId xmlns:a16="http://schemas.microsoft.com/office/drawing/2014/main" id="{C6160AF5-654C-5771-05DC-78F6359D99C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5" name="Groep 1504">
              <a:extLst>
                <a:ext uri="{FF2B5EF4-FFF2-40B4-BE49-F238E27FC236}">
                  <a16:creationId xmlns:a16="http://schemas.microsoft.com/office/drawing/2014/main" id="{3C9DFF27-F2DA-0E6F-4FDD-04D1AEA68F8C}"/>
                </a:ext>
              </a:extLst>
            </p:cNvPr>
            <p:cNvGrpSpPr/>
            <p:nvPr/>
          </p:nvGrpSpPr>
          <p:grpSpPr>
            <a:xfrm>
              <a:off x="7139131" y="2393500"/>
              <a:ext cx="289443" cy="248100"/>
              <a:chOff x="5696016" y="3086100"/>
              <a:chExt cx="800080" cy="685799"/>
            </a:xfrm>
            <a:grpFill/>
          </p:grpSpPr>
          <p:sp>
            <p:nvSpPr>
              <p:cNvPr id="1575" name="Vrije vorm: vorm 1574">
                <a:extLst>
                  <a:ext uri="{FF2B5EF4-FFF2-40B4-BE49-F238E27FC236}">
                    <a16:creationId xmlns:a16="http://schemas.microsoft.com/office/drawing/2014/main" id="{9052867A-9E9D-759C-B002-12479C8CC5D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76" name="Vrije vorm: vorm 1575">
                <a:extLst>
                  <a:ext uri="{FF2B5EF4-FFF2-40B4-BE49-F238E27FC236}">
                    <a16:creationId xmlns:a16="http://schemas.microsoft.com/office/drawing/2014/main" id="{7F461DC6-D0CC-7314-CB5E-1465177812D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6" name="Groep 1505">
              <a:extLst>
                <a:ext uri="{FF2B5EF4-FFF2-40B4-BE49-F238E27FC236}">
                  <a16:creationId xmlns:a16="http://schemas.microsoft.com/office/drawing/2014/main" id="{1D5050E6-2205-0227-D097-9CDB3D1C4D76}"/>
                </a:ext>
              </a:extLst>
            </p:cNvPr>
            <p:cNvGrpSpPr/>
            <p:nvPr/>
          </p:nvGrpSpPr>
          <p:grpSpPr>
            <a:xfrm>
              <a:off x="7461619" y="2393500"/>
              <a:ext cx="289443" cy="248100"/>
              <a:chOff x="5696016" y="3086100"/>
              <a:chExt cx="800080" cy="685799"/>
            </a:xfrm>
            <a:grpFill/>
          </p:grpSpPr>
          <p:sp>
            <p:nvSpPr>
              <p:cNvPr id="1573" name="Vrije vorm: vorm 1572">
                <a:extLst>
                  <a:ext uri="{FF2B5EF4-FFF2-40B4-BE49-F238E27FC236}">
                    <a16:creationId xmlns:a16="http://schemas.microsoft.com/office/drawing/2014/main" id="{740B7799-F016-9D87-5612-3CD506E0EA4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74" name="Vrije vorm: vorm 1573">
                <a:extLst>
                  <a:ext uri="{FF2B5EF4-FFF2-40B4-BE49-F238E27FC236}">
                    <a16:creationId xmlns:a16="http://schemas.microsoft.com/office/drawing/2014/main" id="{A09D40F1-1F80-BCE1-FF9C-2BA7B35F4CA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7" name="Groep 1506">
              <a:extLst>
                <a:ext uri="{FF2B5EF4-FFF2-40B4-BE49-F238E27FC236}">
                  <a16:creationId xmlns:a16="http://schemas.microsoft.com/office/drawing/2014/main" id="{0BA40679-B32F-510F-38AE-BCD287EEA6BC}"/>
                </a:ext>
              </a:extLst>
            </p:cNvPr>
            <p:cNvGrpSpPr/>
            <p:nvPr/>
          </p:nvGrpSpPr>
          <p:grpSpPr>
            <a:xfrm>
              <a:off x="7784107" y="2393500"/>
              <a:ext cx="289443" cy="248100"/>
              <a:chOff x="5696016" y="3086100"/>
              <a:chExt cx="800080" cy="685799"/>
            </a:xfrm>
            <a:grpFill/>
          </p:grpSpPr>
          <p:sp>
            <p:nvSpPr>
              <p:cNvPr id="1571" name="Vrije vorm: vorm 1570">
                <a:extLst>
                  <a:ext uri="{FF2B5EF4-FFF2-40B4-BE49-F238E27FC236}">
                    <a16:creationId xmlns:a16="http://schemas.microsoft.com/office/drawing/2014/main" id="{D3F01EEB-22E0-E0F1-2099-91B4E91617F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72" name="Vrije vorm: vorm 1571">
                <a:extLst>
                  <a:ext uri="{FF2B5EF4-FFF2-40B4-BE49-F238E27FC236}">
                    <a16:creationId xmlns:a16="http://schemas.microsoft.com/office/drawing/2014/main" id="{280B256B-D707-9BEB-BB5D-BC925FE8F80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8" name="Groep 1507">
              <a:extLst>
                <a:ext uri="{FF2B5EF4-FFF2-40B4-BE49-F238E27FC236}">
                  <a16:creationId xmlns:a16="http://schemas.microsoft.com/office/drawing/2014/main" id="{2D13B909-D4BC-662F-E2E5-5BD2BB09FB38}"/>
                </a:ext>
              </a:extLst>
            </p:cNvPr>
            <p:cNvGrpSpPr/>
            <p:nvPr/>
          </p:nvGrpSpPr>
          <p:grpSpPr>
            <a:xfrm>
              <a:off x="7133223" y="2705100"/>
              <a:ext cx="289443" cy="248100"/>
              <a:chOff x="5696016" y="3086100"/>
              <a:chExt cx="800080" cy="685799"/>
            </a:xfrm>
            <a:grpFill/>
          </p:grpSpPr>
          <p:sp>
            <p:nvSpPr>
              <p:cNvPr id="1569" name="Vrije vorm: vorm 1568">
                <a:extLst>
                  <a:ext uri="{FF2B5EF4-FFF2-40B4-BE49-F238E27FC236}">
                    <a16:creationId xmlns:a16="http://schemas.microsoft.com/office/drawing/2014/main" id="{033FCCB7-A942-2E52-6F3A-3921DCDDC26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70" name="Vrije vorm: vorm 1569">
                <a:extLst>
                  <a:ext uri="{FF2B5EF4-FFF2-40B4-BE49-F238E27FC236}">
                    <a16:creationId xmlns:a16="http://schemas.microsoft.com/office/drawing/2014/main" id="{935C945B-FB25-9B1F-638B-425CAAD17D5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09" name="Groep 1508">
              <a:extLst>
                <a:ext uri="{FF2B5EF4-FFF2-40B4-BE49-F238E27FC236}">
                  <a16:creationId xmlns:a16="http://schemas.microsoft.com/office/drawing/2014/main" id="{1D0BA816-0C25-56F7-F921-833B5F72E562}"/>
                </a:ext>
              </a:extLst>
            </p:cNvPr>
            <p:cNvGrpSpPr/>
            <p:nvPr/>
          </p:nvGrpSpPr>
          <p:grpSpPr>
            <a:xfrm>
              <a:off x="7455711" y="2705100"/>
              <a:ext cx="289443" cy="248100"/>
              <a:chOff x="5696016" y="3086100"/>
              <a:chExt cx="800080" cy="685799"/>
            </a:xfrm>
            <a:grpFill/>
          </p:grpSpPr>
          <p:sp>
            <p:nvSpPr>
              <p:cNvPr id="1567" name="Vrije vorm: vorm 1566">
                <a:extLst>
                  <a:ext uri="{FF2B5EF4-FFF2-40B4-BE49-F238E27FC236}">
                    <a16:creationId xmlns:a16="http://schemas.microsoft.com/office/drawing/2014/main" id="{BFEE498A-10C6-30F8-EF70-E836ABA5BD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68" name="Vrije vorm: vorm 1567">
                <a:extLst>
                  <a:ext uri="{FF2B5EF4-FFF2-40B4-BE49-F238E27FC236}">
                    <a16:creationId xmlns:a16="http://schemas.microsoft.com/office/drawing/2014/main" id="{2EE84BA1-F53E-BCAB-552A-D0CA8E1CFE8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0" name="Groep 1509">
              <a:extLst>
                <a:ext uri="{FF2B5EF4-FFF2-40B4-BE49-F238E27FC236}">
                  <a16:creationId xmlns:a16="http://schemas.microsoft.com/office/drawing/2014/main" id="{73293A3B-65A7-9DB4-E11E-411ADAC4B499}"/>
                </a:ext>
              </a:extLst>
            </p:cNvPr>
            <p:cNvGrpSpPr/>
            <p:nvPr/>
          </p:nvGrpSpPr>
          <p:grpSpPr>
            <a:xfrm>
              <a:off x="7778199" y="2705100"/>
              <a:ext cx="289443" cy="248100"/>
              <a:chOff x="5696016" y="3086100"/>
              <a:chExt cx="800080" cy="685799"/>
            </a:xfrm>
            <a:grpFill/>
          </p:grpSpPr>
          <p:sp>
            <p:nvSpPr>
              <p:cNvPr id="1565" name="Vrije vorm: vorm 1564">
                <a:extLst>
                  <a:ext uri="{FF2B5EF4-FFF2-40B4-BE49-F238E27FC236}">
                    <a16:creationId xmlns:a16="http://schemas.microsoft.com/office/drawing/2014/main" id="{B2C3A9CB-30B7-7EA3-0939-EC835D87EA1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66" name="Vrije vorm: vorm 1565">
                <a:extLst>
                  <a:ext uri="{FF2B5EF4-FFF2-40B4-BE49-F238E27FC236}">
                    <a16:creationId xmlns:a16="http://schemas.microsoft.com/office/drawing/2014/main" id="{084D26F4-88EC-6E0B-A0D2-FE9CDF69FD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1" name="Groep 1510">
              <a:extLst>
                <a:ext uri="{FF2B5EF4-FFF2-40B4-BE49-F238E27FC236}">
                  <a16:creationId xmlns:a16="http://schemas.microsoft.com/office/drawing/2014/main" id="{63C89ADB-E061-E129-2517-E935A31245E4}"/>
                </a:ext>
              </a:extLst>
            </p:cNvPr>
            <p:cNvGrpSpPr/>
            <p:nvPr/>
          </p:nvGrpSpPr>
          <p:grpSpPr>
            <a:xfrm>
              <a:off x="7133223" y="3015117"/>
              <a:ext cx="289443" cy="248100"/>
              <a:chOff x="5696016" y="3086100"/>
              <a:chExt cx="800080" cy="685799"/>
            </a:xfrm>
            <a:grpFill/>
          </p:grpSpPr>
          <p:sp>
            <p:nvSpPr>
              <p:cNvPr id="1563" name="Vrije vorm: vorm 1562">
                <a:extLst>
                  <a:ext uri="{FF2B5EF4-FFF2-40B4-BE49-F238E27FC236}">
                    <a16:creationId xmlns:a16="http://schemas.microsoft.com/office/drawing/2014/main" id="{6F028D69-80E2-5695-4CB4-B57172C8153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64" name="Vrije vorm: vorm 1563">
                <a:extLst>
                  <a:ext uri="{FF2B5EF4-FFF2-40B4-BE49-F238E27FC236}">
                    <a16:creationId xmlns:a16="http://schemas.microsoft.com/office/drawing/2014/main" id="{5DD7A4F4-96D6-F231-1651-BCB1BAF1F85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2" name="Groep 1511">
              <a:extLst>
                <a:ext uri="{FF2B5EF4-FFF2-40B4-BE49-F238E27FC236}">
                  <a16:creationId xmlns:a16="http://schemas.microsoft.com/office/drawing/2014/main" id="{60D1EB14-D919-EBEB-5D64-3B77C85829C5}"/>
                </a:ext>
              </a:extLst>
            </p:cNvPr>
            <p:cNvGrpSpPr/>
            <p:nvPr/>
          </p:nvGrpSpPr>
          <p:grpSpPr>
            <a:xfrm>
              <a:off x="7455711" y="3015117"/>
              <a:ext cx="289443" cy="248100"/>
              <a:chOff x="5696016" y="3086100"/>
              <a:chExt cx="800080" cy="685799"/>
            </a:xfrm>
            <a:grpFill/>
          </p:grpSpPr>
          <p:sp>
            <p:nvSpPr>
              <p:cNvPr id="1561" name="Vrije vorm: vorm 1560">
                <a:extLst>
                  <a:ext uri="{FF2B5EF4-FFF2-40B4-BE49-F238E27FC236}">
                    <a16:creationId xmlns:a16="http://schemas.microsoft.com/office/drawing/2014/main" id="{9E8F63D5-4378-DA1C-C4D9-2633CEAAE83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62" name="Vrije vorm: vorm 1561">
                <a:extLst>
                  <a:ext uri="{FF2B5EF4-FFF2-40B4-BE49-F238E27FC236}">
                    <a16:creationId xmlns:a16="http://schemas.microsoft.com/office/drawing/2014/main" id="{539773BA-98F6-8233-5441-9CD8E7F00A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3" name="Groep 1512">
              <a:extLst>
                <a:ext uri="{FF2B5EF4-FFF2-40B4-BE49-F238E27FC236}">
                  <a16:creationId xmlns:a16="http://schemas.microsoft.com/office/drawing/2014/main" id="{1B5E9F98-8173-F146-7F68-A6381CB0553E}"/>
                </a:ext>
              </a:extLst>
            </p:cNvPr>
            <p:cNvGrpSpPr/>
            <p:nvPr/>
          </p:nvGrpSpPr>
          <p:grpSpPr>
            <a:xfrm>
              <a:off x="7778199" y="3015117"/>
              <a:ext cx="289443" cy="248100"/>
              <a:chOff x="5696016" y="3086100"/>
              <a:chExt cx="800080" cy="685799"/>
            </a:xfrm>
            <a:grpFill/>
          </p:grpSpPr>
          <p:sp>
            <p:nvSpPr>
              <p:cNvPr id="1559" name="Vrije vorm: vorm 1558">
                <a:extLst>
                  <a:ext uri="{FF2B5EF4-FFF2-40B4-BE49-F238E27FC236}">
                    <a16:creationId xmlns:a16="http://schemas.microsoft.com/office/drawing/2014/main" id="{2E29D133-8BC9-5548-DB9F-04B032F5E22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60" name="Vrije vorm: vorm 1559">
                <a:extLst>
                  <a:ext uri="{FF2B5EF4-FFF2-40B4-BE49-F238E27FC236}">
                    <a16:creationId xmlns:a16="http://schemas.microsoft.com/office/drawing/2014/main" id="{17A2B5C8-4D2A-6817-340D-AE4BCCE6EF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4" name="Groep 1513">
              <a:extLst>
                <a:ext uri="{FF2B5EF4-FFF2-40B4-BE49-F238E27FC236}">
                  <a16:creationId xmlns:a16="http://schemas.microsoft.com/office/drawing/2014/main" id="{4E4A8D60-FAC9-AEF8-DC40-0FF99C3639A2}"/>
                </a:ext>
              </a:extLst>
            </p:cNvPr>
            <p:cNvGrpSpPr/>
            <p:nvPr/>
          </p:nvGrpSpPr>
          <p:grpSpPr>
            <a:xfrm>
              <a:off x="7133223" y="3325135"/>
              <a:ext cx="289443" cy="248100"/>
              <a:chOff x="5696016" y="3086100"/>
              <a:chExt cx="800080" cy="685799"/>
            </a:xfrm>
            <a:grpFill/>
          </p:grpSpPr>
          <p:sp>
            <p:nvSpPr>
              <p:cNvPr id="1557" name="Vrije vorm: vorm 1556">
                <a:extLst>
                  <a:ext uri="{FF2B5EF4-FFF2-40B4-BE49-F238E27FC236}">
                    <a16:creationId xmlns:a16="http://schemas.microsoft.com/office/drawing/2014/main" id="{E7373AF3-9E63-EDF6-6AE7-2AC79A129E3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58" name="Vrije vorm: vorm 1557">
                <a:extLst>
                  <a:ext uri="{FF2B5EF4-FFF2-40B4-BE49-F238E27FC236}">
                    <a16:creationId xmlns:a16="http://schemas.microsoft.com/office/drawing/2014/main" id="{F3F9E1CF-9DF4-6196-0863-5806DD382D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5" name="Groep 1514">
              <a:extLst>
                <a:ext uri="{FF2B5EF4-FFF2-40B4-BE49-F238E27FC236}">
                  <a16:creationId xmlns:a16="http://schemas.microsoft.com/office/drawing/2014/main" id="{761A2C2A-328F-F10E-D374-D2531565258F}"/>
                </a:ext>
              </a:extLst>
            </p:cNvPr>
            <p:cNvGrpSpPr/>
            <p:nvPr/>
          </p:nvGrpSpPr>
          <p:grpSpPr>
            <a:xfrm>
              <a:off x="7455711" y="3325135"/>
              <a:ext cx="289443" cy="248100"/>
              <a:chOff x="5696016" y="3086100"/>
              <a:chExt cx="800080" cy="685799"/>
            </a:xfrm>
            <a:grpFill/>
          </p:grpSpPr>
          <p:sp>
            <p:nvSpPr>
              <p:cNvPr id="1555" name="Vrije vorm: vorm 1554">
                <a:extLst>
                  <a:ext uri="{FF2B5EF4-FFF2-40B4-BE49-F238E27FC236}">
                    <a16:creationId xmlns:a16="http://schemas.microsoft.com/office/drawing/2014/main" id="{1906548D-0D10-9768-546A-AE2D63FC4BB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56" name="Vrije vorm: vorm 1555">
                <a:extLst>
                  <a:ext uri="{FF2B5EF4-FFF2-40B4-BE49-F238E27FC236}">
                    <a16:creationId xmlns:a16="http://schemas.microsoft.com/office/drawing/2014/main" id="{59093422-99BA-ECE9-CEE8-3EC68095B49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6" name="Groep 1515">
              <a:extLst>
                <a:ext uri="{FF2B5EF4-FFF2-40B4-BE49-F238E27FC236}">
                  <a16:creationId xmlns:a16="http://schemas.microsoft.com/office/drawing/2014/main" id="{3427997D-BCC4-430C-672E-696AF56EC5C8}"/>
                </a:ext>
              </a:extLst>
            </p:cNvPr>
            <p:cNvGrpSpPr/>
            <p:nvPr/>
          </p:nvGrpSpPr>
          <p:grpSpPr>
            <a:xfrm>
              <a:off x="7778199" y="3325135"/>
              <a:ext cx="289443" cy="248100"/>
              <a:chOff x="5696016" y="3086100"/>
              <a:chExt cx="800080" cy="685799"/>
            </a:xfrm>
            <a:grpFill/>
          </p:grpSpPr>
          <p:sp>
            <p:nvSpPr>
              <p:cNvPr id="1553" name="Vrije vorm: vorm 1552">
                <a:extLst>
                  <a:ext uri="{FF2B5EF4-FFF2-40B4-BE49-F238E27FC236}">
                    <a16:creationId xmlns:a16="http://schemas.microsoft.com/office/drawing/2014/main" id="{51B840EB-844E-9498-E8CF-A9CDAB8190A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54" name="Vrije vorm: vorm 1553">
                <a:extLst>
                  <a:ext uri="{FF2B5EF4-FFF2-40B4-BE49-F238E27FC236}">
                    <a16:creationId xmlns:a16="http://schemas.microsoft.com/office/drawing/2014/main" id="{74316121-3BD9-66A7-831E-366CE85827A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7" name="Groep 1516">
              <a:extLst>
                <a:ext uri="{FF2B5EF4-FFF2-40B4-BE49-F238E27FC236}">
                  <a16:creationId xmlns:a16="http://schemas.microsoft.com/office/drawing/2014/main" id="{F34A994A-5688-8B76-A200-35C94754B40D}"/>
                </a:ext>
              </a:extLst>
            </p:cNvPr>
            <p:cNvGrpSpPr/>
            <p:nvPr/>
          </p:nvGrpSpPr>
          <p:grpSpPr>
            <a:xfrm>
              <a:off x="7133223" y="3635151"/>
              <a:ext cx="289443" cy="248100"/>
              <a:chOff x="5696016" y="3086100"/>
              <a:chExt cx="800080" cy="685799"/>
            </a:xfrm>
            <a:grpFill/>
          </p:grpSpPr>
          <p:sp>
            <p:nvSpPr>
              <p:cNvPr id="1551" name="Vrije vorm: vorm 1550">
                <a:extLst>
                  <a:ext uri="{FF2B5EF4-FFF2-40B4-BE49-F238E27FC236}">
                    <a16:creationId xmlns:a16="http://schemas.microsoft.com/office/drawing/2014/main" id="{6F517D08-7036-660D-F4EE-ACFDEAC834C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52" name="Vrije vorm: vorm 1551">
                <a:extLst>
                  <a:ext uri="{FF2B5EF4-FFF2-40B4-BE49-F238E27FC236}">
                    <a16:creationId xmlns:a16="http://schemas.microsoft.com/office/drawing/2014/main" id="{C40A69C7-E055-1C4B-B610-74679E5CE3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8" name="Groep 1517">
              <a:extLst>
                <a:ext uri="{FF2B5EF4-FFF2-40B4-BE49-F238E27FC236}">
                  <a16:creationId xmlns:a16="http://schemas.microsoft.com/office/drawing/2014/main" id="{D30D4FC2-8CA7-E0F2-D086-A988ABAE5AB8}"/>
                </a:ext>
              </a:extLst>
            </p:cNvPr>
            <p:cNvGrpSpPr/>
            <p:nvPr/>
          </p:nvGrpSpPr>
          <p:grpSpPr>
            <a:xfrm>
              <a:off x="7455711" y="3635151"/>
              <a:ext cx="289443" cy="248100"/>
              <a:chOff x="5696016" y="3086100"/>
              <a:chExt cx="800080" cy="685799"/>
            </a:xfrm>
            <a:grpFill/>
          </p:grpSpPr>
          <p:sp>
            <p:nvSpPr>
              <p:cNvPr id="1549" name="Vrije vorm: vorm 1548">
                <a:extLst>
                  <a:ext uri="{FF2B5EF4-FFF2-40B4-BE49-F238E27FC236}">
                    <a16:creationId xmlns:a16="http://schemas.microsoft.com/office/drawing/2014/main" id="{ECCE11B6-287E-41B5-A8A0-6C5C0727E6B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50" name="Vrije vorm: vorm 1549">
                <a:extLst>
                  <a:ext uri="{FF2B5EF4-FFF2-40B4-BE49-F238E27FC236}">
                    <a16:creationId xmlns:a16="http://schemas.microsoft.com/office/drawing/2014/main" id="{963154D7-A3E2-DE31-A27D-41D75E3F9BB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19" name="Groep 1518">
              <a:extLst>
                <a:ext uri="{FF2B5EF4-FFF2-40B4-BE49-F238E27FC236}">
                  <a16:creationId xmlns:a16="http://schemas.microsoft.com/office/drawing/2014/main" id="{7EA9AC0B-A067-0312-6A6E-733CC995262E}"/>
                </a:ext>
              </a:extLst>
            </p:cNvPr>
            <p:cNvGrpSpPr/>
            <p:nvPr/>
          </p:nvGrpSpPr>
          <p:grpSpPr>
            <a:xfrm>
              <a:off x="7778199" y="3635151"/>
              <a:ext cx="289443" cy="248100"/>
              <a:chOff x="5696016" y="3086100"/>
              <a:chExt cx="800080" cy="685799"/>
            </a:xfrm>
            <a:grpFill/>
          </p:grpSpPr>
          <p:sp>
            <p:nvSpPr>
              <p:cNvPr id="1547" name="Vrije vorm: vorm 1546">
                <a:extLst>
                  <a:ext uri="{FF2B5EF4-FFF2-40B4-BE49-F238E27FC236}">
                    <a16:creationId xmlns:a16="http://schemas.microsoft.com/office/drawing/2014/main" id="{5F1DA20F-BEDB-9767-17DA-AFC550C3021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48" name="Vrije vorm: vorm 1547">
                <a:extLst>
                  <a:ext uri="{FF2B5EF4-FFF2-40B4-BE49-F238E27FC236}">
                    <a16:creationId xmlns:a16="http://schemas.microsoft.com/office/drawing/2014/main" id="{C2B6D33B-AC69-57D8-FD27-D978F03FE49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0" name="Groep 1519">
              <a:extLst>
                <a:ext uri="{FF2B5EF4-FFF2-40B4-BE49-F238E27FC236}">
                  <a16:creationId xmlns:a16="http://schemas.microsoft.com/office/drawing/2014/main" id="{E4204807-3F94-BCEF-391A-86FD595F8DDF}"/>
                </a:ext>
              </a:extLst>
            </p:cNvPr>
            <p:cNvGrpSpPr/>
            <p:nvPr/>
          </p:nvGrpSpPr>
          <p:grpSpPr>
            <a:xfrm>
              <a:off x="7133223" y="3945167"/>
              <a:ext cx="289443" cy="248100"/>
              <a:chOff x="5696016" y="3086100"/>
              <a:chExt cx="800080" cy="685799"/>
            </a:xfrm>
            <a:grpFill/>
          </p:grpSpPr>
          <p:sp>
            <p:nvSpPr>
              <p:cNvPr id="1545" name="Vrije vorm: vorm 1544">
                <a:extLst>
                  <a:ext uri="{FF2B5EF4-FFF2-40B4-BE49-F238E27FC236}">
                    <a16:creationId xmlns:a16="http://schemas.microsoft.com/office/drawing/2014/main" id="{FB9DD27F-8674-76B5-38D1-61834378BCB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46" name="Vrije vorm: vorm 1545">
                <a:extLst>
                  <a:ext uri="{FF2B5EF4-FFF2-40B4-BE49-F238E27FC236}">
                    <a16:creationId xmlns:a16="http://schemas.microsoft.com/office/drawing/2014/main" id="{0A051FC0-9D6A-0A80-3A78-222DE5C94F9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1" name="Groep 1520">
              <a:extLst>
                <a:ext uri="{FF2B5EF4-FFF2-40B4-BE49-F238E27FC236}">
                  <a16:creationId xmlns:a16="http://schemas.microsoft.com/office/drawing/2014/main" id="{DC3C0330-F67D-3212-7102-3F065A6162B2}"/>
                </a:ext>
              </a:extLst>
            </p:cNvPr>
            <p:cNvGrpSpPr/>
            <p:nvPr/>
          </p:nvGrpSpPr>
          <p:grpSpPr>
            <a:xfrm>
              <a:off x="7455711" y="3945167"/>
              <a:ext cx="289443" cy="248100"/>
              <a:chOff x="5696016" y="3086100"/>
              <a:chExt cx="800080" cy="685799"/>
            </a:xfrm>
            <a:grpFill/>
          </p:grpSpPr>
          <p:sp>
            <p:nvSpPr>
              <p:cNvPr id="1543" name="Vrije vorm: vorm 1542">
                <a:extLst>
                  <a:ext uri="{FF2B5EF4-FFF2-40B4-BE49-F238E27FC236}">
                    <a16:creationId xmlns:a16="http://schemas.microsoft.com/office/drawing/2014/main" id="{8C067221-9A7D-4AA3-BB12-1CE89700D2E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44" name="Vrije vorm: vorm 1543">
                <a:extLst>
                  <a:ext uri="{FF2B5EF4-FFF2-40B4-BE49-F238E27FC236}">
                    <a16:creationId xmlns:a16="http://schemas.microsoft.com/office/drawing/2014/main" id="{FD9C1A86-0E5B-F0B0-D0A1-5C03022AF55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2" name="Groep 1521">
              <a:extLst>
                <a:ext uri="{FF2B5EF4-FFF2-40B4-BE49-F238E27FC236}">
                  <a16:creationId xmlns:a16="http://schemas.microsoft.com/office/drawing/2014/main" id="{0043E5CE-3670-F21C-C371-37F749EF60FA}"/>
                </a:ext>
              </a:extLst>
            </p:cNvPr>
            <p:cNvGrpSpPr/>
            <p:nvPr/>
          </p:nvGrpSpPr>
          <p:grpSpPr>
            <a:xfrm>
              <a:off x="7778199" y="3945167"/>
              <a:ext cx="289443" cy="248100"/>
              <a:chOff x="5696016" y="3086100"/>
              <a:chExt cx="800080" cy="685799"/>
            </a:xfrm>
            <a:grpFill/>
          </p:grpSpPr>
          <p:sp>
            <p:nvSpPr>
              <p:cNvPr id="1541" name="Vrije vorm: vorm 1540">
                <a:extLst>
                  <a:ext uri="{FF2B5EF4-FFF2-40B4-BE49-F238E27FC236}">
                    <a16:creationId xmlns:a16="http://schemas.microsoft.com/office/drawing/2014/main" id="{5E707315-C677-77C5-A731-5AAC4F24B6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42" name="Vrije vorm: vorm 1541">
                <a:extLst>
                  <a:ext uri="{FF2B5EF4-FFF2-40B4-BE49-F238E27FC236}">
                    <a16:creationId xmlns:a16="http://schemas.microsoft.com/office/drawing/2014/main" id="{5299FA10-432B-FF1E-325D-2BE18432FE2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3" name="Groep 1522">
              <a:extLst>
                <a:ext uri="{FF2B5EF4-FFF2-40B4-BE49-F238E27FC236}">
                  <a16:creationId xmlns:a16="http://schemas.microsoft.com/office/drawing/2014/main" id="{F621E216-DD5D-6493-C646-198EFC940640}"/>
                </a:ext>
              </a:extLst>
            </p:cNvPr>
            <p:cNvGrpSpPr/>
            <p:nvPr/>
          </p:nvGrpSpPr>
          <p:grpSpPr>
            <a:xfrm>
              <a:off x="7133223" y="4255183"/>
              <a:ext cx="289443" cy="248100"/>
              <a:chOff x="5696016" y="3086100"/>
              <a:chExt cx="800080" cy="685799"/>
            </a:xfrm>
            <a:grpFill/>
          </p:grpSpPr>
          <p:sp>
            <p:nvSpPr>
              <p:cNvPr id="1539" name="Vrije vorm: vorm 1538">
                <a:extLst>
                  <a:ext uri="{FF2B5EF4-FFF2-40B4-BE49-F238E27FC236}">
                    <a16:creationId xmlns:a16="http://schemas.microsoft.com/office/drawing/2014/main" id="{154E933E-885B-1091-8A93-257088794EE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40" name="Vrije vorm: vorm 1539">
                <a:extLst>
                  <a:ext uri="{FF2B5EF4-FFF2-40B4-BE49-F238E27FC236}">
                    <a16:creationId xmlns:a16="http://schemas.microsoft.com/office/drawing/2014/main" id="{F6881018-460D-1A82-B2F3-32AB0952D9B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4" name="Groep 1523">
              <a:extLst>
                <a:ext uri="{FF2B5EF4-FFF2-40B4-BE49-F238E27FC236}">
                  <a16:creationId xmlns:a16="http://schemas.microsoft.com/office/drawing/2014/main" id="{A9410CD4-3750-1092-2A4A-0EA744F5CC13}"/>
                </a:ext>
              </a:extLst>
            </p:cNvPr>
            <p:cNvGrpSpPr/>
            <p:nvPr/>
          </p:nvGrpSpPr>
          <p:grpSpPr>
            <a:xfrm>
              <a:off x="7455711" y="4255183"/>
              <a:ext cx="289443" cy="248100"/>
              <a:chOff x="5696016" y="3086100"/>
              <a:chExt cx="800080" cy="685799"/>
            </a:xfrm>
            <a:grpFill/>
          </p:grpSpPr>
          <p:sp>
            <p:nvSpPr>
              <p:cNvPr id="1537" name="Vrije vorm: vorm 1536">
                <a:extLst>
                  <a:ext uri="{FF2B5EF4-FFF2-40B4-BE49-F238E27FC236}">
                    <a16:creationId xmlns:a16="http://schemas.microsoft.com/office/drawing/2014/main" id="{0B4F3D3A-F594-7949-1C7B-9630CED44EB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38" name="Vrije vorm: vorm 1537">
                <a:extLst>
                  <a:ext uri="{FF2B5EF4-FFF2-40B4-BE49-F238E27FC236}">
                    <a16:creationId xmlns:a16="http://schemas.microsoft.com/office/drawing/2014/main" id="{807869E9-8D4E-C739-E572-F9D2647CE92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5" name="Groep 1524">
              <a:extLst>
                <a:ext uri="{FF2B5EF4-FFF2-40B4-BE49-F238E27FC236}">
                  <a16:creationId xmlns:a16="http://schemas.microsoft.com/office/drawing/2014/main" id="{46BEECA4-69B5-1751-D30A-7926250D2096}"/>
                </a:ext>
              </a:extLst>
            </p:cNvPr>
            <p:cNvGrpSpPr/>
            <p:nvPr/>
          </p:nvGrpSpPr>
          <p:grpSpPr>
            <a:xfrm>
              <a:off x="7778199" y="4255183"/>
              <a:ext cx="289443" cy="248100"/>
              <a:chOff x="5696016" y="3086100"/>
              <a:chExt cx="800080" cy="685799"/>
            </a:xfrm>
            <a:grpFill/>
          </p:grpSpPr>
          <p:sp>
            <p:nvSpPr>
              <p:cNvPr id="1535" name="Vrije vorm: vorm 1534">
                <a:extLst>
                  <a:ext uri="{FF2B5EF4-FFF2-40B4-BE49-F238E27FC236}">
                    <a16:creationId xmlns:a16="http://schemas.microsoft.com/office/drawing/2014/main" id="{536DFE3E-9DA0-9E5A-C572-29E70443539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36" name="Vrije vorm: vorm 1535">
                <a:extLst>
                  <a:ext uri="{FF2B5EF4-FFF2-40B4-BE49-F238E27FC236}">
                    <a16:creationId xmlns:a16="http://schemas.microsoft.com/office/drawing/2014/main" id="{3B6A848D-A220-E292-AB71-1F211FC89F1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6" name="Groep 1525">
              <a:extLst>
                <a:ext uri="{FF2B5EF4-FFF2-40B4-BE49-F238E27FC236}">
                  <a16:creationId xmlns:a16="http://schemas.microsoft.com/office/drawing/2014/main" id="{85647D72-BBC9-EEE3-95C8-372006A77156}"/>
                </a:ext>
              </a:extLst>
            </p:cNvPr>
            <p:cNvGrpSpPr/>
            <p:nvPr/>
          </p:nvGrpSpPr>
          <p:grpSpPr>
            <a:xfrm>
              <a:off x="7133223" y="4565200"/>
              <a:ext cx="289443" cy="248100"/>
              <a:chOff x="5696016" y="3086100"/>
              <a:chExt cx="800080" cy="685799"/>
            </a:xfrm>
            <a:grpFill/>
          </p:grpSpPr>
          <p:sp>
            <p:nvSpPr>
              <p:cNvPr id="1533" name="Vrije vorm: vorm 1532">
                <a:extLst>
                  <a:ext uri="{FF2B5EF4-FFF2-40B4-BE49-F238E27FC236}">
                    <a16:creationId xmlns:a16="http://schemas.microsoft.com/office/drawing/2014/main" id="{4156BFCB-BF0D-58DE-0791-97C0000A5BE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34" name="Vrije vorm: vorm 1533">
                <a:extLst>
                  <a:ext uri="{FF2B5EF4-FFF2-40B4-BE49-F238E27FC236}">
                    <a16:creationId xmlns:a16="http://schemas.microsoft.com/office/drawing/2014/main" id="{CA79DF4C-C9B0-E9A3-4B97-86E902C24D7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7" name="Groep 1526">
              <a:extLst>
                <a:ext uri="{FF2B5EF4-FFF2-40B4-BE49-F238E27FC236}">
                  <a16:creationId xmlns:a16="http://schemas.microsoft.com/office/drawing/2014/main" id="{8084BB94-2B1A-68CC-7037-46BA8B224D50}"/>
                </a:ext>
              </a:extLst>
            </p:cNvPr>
            <p:cNvGrpSpPr/>
            <p:nvPr/>
          </p:nvGrpSpPr>
          <p:grpSpPr>
            <a:xfrm>
              <a:off x="7455711" y="4565200"/>
              <a:ext cx="289443" cy="248100"/>
              <a:chOff x="5696016" y="3086100"/>
              <a:chExt cx="800080" cy="685799"/>
            </a:xfrm>
            <a:grpFill/>
          </p:grpSpPr>
          <p:sp>
            <p:nvSpPr>
              <p:cNvPr id="1531" name="Vrije vorm: vorm 1530">
                <a:extLst>
                  <a:ext uri="{FF2B5EF4-FFF2-40B4-BE49-F238E27FC236}">
                    <a16:creationId xmlns:a16="http://schemas.microsoft.com/office/drawing/2014/main" id="{76553882-5426-78E1-F955-4064E0C7368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32" name="Vrije vorm: vorm 1531">
                <a:extLst>
                  <a:ext uri="{FF2B5EF4-FFF2-40B4-BE49-F238E27FC236}">
                    <a16:creationId xmlns:a16="http://schemas.microsoft.com/office/drawing/2014/main" id="{72F73603-7498-BC29-3CE3-A555A44195A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528" name="Groep 1527">
              <a:extLst>
                <a:ext uri="{FF2B5EF4-FFF2-40B4-BE49-F238E27FC236}">
                  <a16:creationId xmlns:a16="http://schemas.microsoft.com/office/drawing/2014/main" id="{C6309A77-6B13-F501-DEC9-19D1AE95D408}"/>
                </a:ext>
              </a:extLst>
            </p:cNvPr>
            <p:cNvGrpSpPr/>
            <p:nvPr/>
          </p:nvGrpSpPr>
          <p:grpSpPr>
            <a:xfrm>
              <a:off x="7778199" y="4565200"/>
              <a:ext cx="289443" cy="248100"/>
              <a:chOff x="5696016" y="3086100"/>
              <a:chExt cx="800080" cy="685799"/>
            </a:xfrm>
            <a:grpFill/>
          </p:grpSpPr>
          <p:sp>
            <p:nvSpPr>
              <p:cNvPr id="1529" name="Vrije vorm: vorm 1528">
                <a:extLst>
                  <a:ext uri="{FF2B5EF4-FFF2-40B4-BE49-F238E27FC236}">
                    <a16:creationId xmlns:a16="http://schemas.microsoft.com/office/drawing/2014/main" id="{93E2F9CE-3A6B-AC26-D3E1-BC5F8B5853E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530" name="Vrije vorm: vorm 1529">
                <a:extLst>
                  <a:ext uri="{FF2B5EF4-FFF2-40B4-BE49-F238E27FC236}">
                    <a16:creationId xmlns:a16="http://schemas.microsoft.com/office/drawing/2014/main" id="{FB21956D-BBD5-91FD-A6DF-B04820D16F2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613" name="Groep 1612">
            <a:extLst>
              <a:ext uri="{FF2B5EF4-FFF2-40B4-BE49-F238E27FC236}">
                <a16:creationId xmlns:a16="http://schemas.microsoft.com/office/drawing/2014/main" id="{173B711D-A7C9-F335-01A6-0C1A28C67F4C}"/>
              </a:ext>
            </a:extLst>
          </p:cNvPr>
          <p:cNvGrpSpPr/>
          <p:nvPr/>
        </p:nvGrpSpPr>
        <p:grpSpPr>
          <a:xfrm>
            <a:off x="11683343" y="2048854"/>
            <a:ext cx="763072" cy="3473127"/>
            <a:chOff x="7133223" y="533400"/>
            <a:chExt cx="940327" cy="4279900"/>
          </a:xfrm>
          <a:solidFill>
            <a:schemeClr val="accent2"/>
          </a:solidFill>
        </p:grpSpPr>
        <p:grpSp>
          <p:nvGrpSpPr>
            <p:cNvPr id="1614" name="Groep 1613">
              <a:extLst>
                <a:ext uri="{FF2B5EF4-FFF2-40B4-BE49-F238E27FC236}">
                  <a16:creationId xmlns:a16="http://schemas.microsoft.com/office/drawing/2014/main" id="{E0E2A96F-1FB6-5693-8825-E85BC5344DAA}"/>
                </a:ext>
              </a:extLst>
            </p:cNvPr>
            <p:cNvGrpSpPr/>
            <p:nvPr/>
          </p:nvGrpSpPr>
          <p:grpSpPr>
            <a:xfrm>
              <a:off x="7139131" y="533400"/>
              <a:ext cx="289443" cy="248100"/>
              <a:chOff x="5696016" y="3086100"/>
              <a:chExt cx="800080" cy="685799"/>
            </a:xfrm>
            <a:grpFill/>
          </p:grpSpPr>
          <p:sp>
            <p:nvSpPr>
              <p:cNvPr id="1738" name="Vrije vorm: vorm 1737">
                <a:extLst>
                  <a:ext uri="{FF2B5EF4-FFF2-40B4-BE49-F238E27FC236}">
                    <a16:creationId xmlns:a16="http://schemas.microsoft.com/office/drawing/2014/main" id="{6D9BB37F-706A-DD71-9987-16726935AD3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39" name="Vrije vorm: vorm 1738">
                <a:extLst>
                  <a:ext uri="{FF2B5EF4-FFF2-40B4-BE49-F238E27FC236}">
                    <a16:creationId xmlns:a16="http://schemas.microsoft.com/office/drawing/2014/main" id="{A467FAAC-A91F-5D90-C0E3-90E12BB118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15" name="Groep 1614">
              <a:extLst>
                <a:ext uri="{FF2B5EF4-FFF2-40B4-BE49-F238E27FC236}">
                  <a16:creationId xmlns:a16="http://schemas.microsoft.com/office/drawing/2014/main" id="{60113A06-505B-8DE5-74FD-C9E0A3377D36}"/>
                </a:ext>
              </a:extLst>
            </p:cNvPr>
            <p:cNvGrpSpPr/>
            <p:nvPr/>
          </p:nvGrpSpPr>
          <p:grpSpPr>
            <a:xfrm>
              <a:off x="7461619" y="533400"/>
              <a:ext cx="289443" cy="248100"/>
              <a:chOff x="5696016" y="3086100"/>
              <a:chExt cx="800080" cy="685799"/>
            </a:xfrm>
            <a:grpFill/>
          </p:grpSpPr>
          <p:sp>
            <p:nvSpPr>
              <p:cNvPr id="1736" name="Vrije vorm: vorm 1735">
                <a:extLst>
                  <a:ext uri="{FF2B5EF4-FFF2-40B4-BE49-F238E27FC236}">
                    <a16:creationId xmlns:a16="http://schemas.microsoft.com/office/drawing/2014/main" id="{021C5F5B-98D3-1997-556F-32CD475D60C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37" name="Vrije vorm: vorm 1736">
                <a:extLst>
                  <a:ext uri="{FF2B5EF4-FFF2-40B4-BE49-F238E27FC236}">
                    <a16:creationId xmlns:a16="http://schemas.microsoft.com/office/drawing/2014/main" id="{AC739C0A-3438-BF56-F332-D1454A4B307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16" name="Groep 1615">
              <a:extLst>
                <a:ext uri="{FF2B5EF4-FFF2-40B4-BE49-F238E27FC236}">
                  <a16:creationId xmlns:a16="http://schemas.microsoft.com/office/drawing/2014/main" id="{F88EC8A9-0A54-DF04-2499-7EB510F056E5}"/>
                </a:ext>
              </a:extLst>
            </p:cNvPr>
            <p:cNvGrpSpPr/>
            <p:nvPr/>
          </p:nvGrpSpPr>
          <p:grpSpPr>
            <a:xfrm>
              <a:off x="7784107" y="533400"/>
              <a:ext cx="289443" cy="248100"/>
              <a:chOff x="5696016" y="3086100"/>
              <a:chExt cx="800080" cy="685799"/>
            </a:xfrm>
            <a:grpFill/>
          </p:grpSpPr>
          <p:sp>
            <p:nvSpPr>
              <p:cNvPr id="1734" name="Vrije vorm: vorm 1733">
                <a:extLst>
                  <a:ext uri="{FF2B5EF4-FFF2-40B4-BE49-F238E27FC236}">
                    <a16:creationId xmlns:a16="http://schemas.microsoft.com/office/drawing/2014/main" id="{B80868D4-1560-0D2E-0F86-568C12B1E92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35" name="Vrije vorm: vorm 1734">
                <a:extLst>
                  <a:ext uri="{FF2B5EF4-FFF2-40B4-BE49-F238E27FC236}">
                    <a16:creationId xmlns:a16="http://schemas.microsoft.com/office/drawing/2014/main" id="{1C5965A2-1E28-E17A-E64D-5561DB5661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17" name="Groep 1616">
              <a:extLst>
                <a:ext uri="{FF2B5EF4-FFF2-40B4-BE49-F238E27FC236}">
                  <a16:creationId xmlns:a16="http://schemas.microsoft.com/office/drawing/2014/main" id="{F915BDC4-93D1-87D8-BA1D-46AAE7812C0D}"/>
                </a:ext>
              </a:extLst>
            </p:cNvPr>
            <p:cNvGrpSpPr/>
            <p:nvPr/>
          </p:nvGrpSpPr>
          <p:grpSpPr>
            <a:xfrm>
              <a:off x="7139131" y="843417"/>
              <a:ext cx="289443" cy="248100"/>
              <a:chOff x="5696016" y="3086100"/>
              <a:chExt cx="800080" cy="685799"/>
            </a:xfrm>
            <a:grpFill/>
          </p:grpSpPr>
          <p:sp>
            <p:nvSpPr>
              <p:cNvPr id="1732" name="Vrije vorm: vorm 1731">
                <a:extLst>
                  <a:ext uri="{FF2B5EF4-FFF2-40B4-BE49-F238E27FC236}">
                    <a16:creationId xmlns:a16="http://schemas.microsoft.com/office/drawing/2014/main" id="{1F13884C-EB1C-520F-CD9A-84AEEC52CDE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33" name="Vrije vorm: vorm 1732">
                <a:extLst>
                  <a:ext uri="{FF2B5EF4-FFF2-40B4-BE49-F238E27FC236}">
                    <a16:creationId xmlns:a16="http://schemas.microsoft.com/office/drawing/2014/main" id="{64068364-415C-19FC-BB59-ADE904D0AB1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18" name="Groep 1617">
              <a:extLst>
                <a:ext uri="{FF2B5EF4-FFF2-40B4-BE49-F238E27FC236}">
                  <a16:creationId xmlns:a16="http://schemas.microsoft.com/office/drawing/2014/main" id="{4662EAE6-9356-96BD-1523-D42DAA445625}"/>
                </a:ext>
              </a:extLst>
            </p:cNvPr>
            <p:cNvGrpSpPr/>
            <p:nvPr/>
          </p:nvGrpSpPr>
          <p:grpSpPr>
            <a:xfrm>
              <a:off x="7461619" y="843417"/>
              <a:ext cx="289443" cy="248100"/>
              <a:chOff x="5696016" y="3086100"/>
              <a:chExt cx="800080" cy="685799"/>
            </a:xfrm>
            <a:grpFill/>
          </p:grpSpPr>
          <p:sp>
            <p:nvSpPr>
              <p:cNvPr id="1730" name="Vrije vorm: vorm 1729">
                <a:extLst>
                  <a:ext uri="{FF2B5EF4-FFF2-40B4-BE49-F238E27FC236}">
                    <a16:creationId xmlns:a16="http://schemas.microsoft.com/office/drawing/2014/main" id="{1485F994-3D87-7C56-A90C-2171B0B6F91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31" name="Vrije vorm: vorm 1730">
                <a:extLst>
                  <a:ext uri="{FF2B5EF4-FFF2-40B4-BE49-F238E27FC236}">
                    <a16:creationId xmlns:a16="http://schemas.microsoft.com/office/drawing/2014/main" id="{41F0BEE3-0890-D1BD-24C0-04A7F2C1DFE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19" name="Groep 1618">
              <a:extLst>
                <a:ext uri="{FF2B5EF4-FFF2-40B4-BE49-F238E27FC236}">
                  <a16:creationId xmlns:a16="http://schemas.microsoft.com/office/drawing/2014/main" id="{433240F5-5F6B-09D0-6F08-4988863BC952}"/>
                </a:ext>
              </a:extLst>
            </p:cNvPr>
            <p:cNvGrpSpPr/>
            <p:nvPr/>
          </p:nvGrpSpPr>
          <p:grpSpPr>
            <a:xfrm>
              <a:off x="7784107" y="843417"/>
              <a:ext cx="289443" cy="248100"/>
              <a:chOff x="5696016" y="3086100"/>
              <a:chExt cx="800080" cy="685799"/>
            </a:xfrm>
            <a:grpFill/>
          </p:grpSpPr>
          <p:sp>
            <p:nvSpPr>
              <p:cNvPr id="1728" name="Vrije vorm: vorm 1727">
                <a:extLst>
                  <a:ext uri="{FF2B5EF4-FFF2-40B4-BE49-F238E27FC236}">
                    <a16:creationId xmlns:a16="http://schemas.microsoft.com/office/drawing/2014/main" id="{57CA5158-EA4C-37B1-F8F9-101CB37390B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29" name="Vrije vorm: vorm 1728">
                <a:extLst>
                  <a:ext uri="{FF2B5EF4-FFF2-40B4-BE49-F238E27FC236}">
                    <a16:creationId xmlns:a16="http://schemas.microsoft.com/office/drawing/2014/main" id="{EEA543D4-28C2-1743-BCF4-F8AC16442EF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0" name="Groep 1619">
              <a:extLst>
                <a:ext uri="{FF2B5EF4-FFF2-40B4-BE49-F238E27FC236}">
                  <a16:creationId xmlns:a16="http://schemas.microsoft.com/office/drawing/2014/main" id="{B56FB858-31EB-CFD7-1B42-2ED8A05E6182}"/>
                </a:ext>
              </a:extLst>
            </p:cNvPr>
            <p:cNvGrpSpPr/>
            <p:nvPr/>
          </p:nvGrpSpPr>
          <p:grpSpPr>
            <a:xfrm>
              <a:off x="7139131" y="1153435"/>
              <a:ext cx="289443" cy="248100"/>
              <a:chOff x="5696016" y="3086100"/>
              <a:chExt cx="800080" cy="685799"/>
            </a:xfrm>
            <a:grpFill/>
          </p:grpSpPr>
          <p:sp>
            <p:nvSpPr>
              <p:cNvPr id="1726" name="Vrije vorm: vorm 1725">
                <a:extLst>
                  <a:ext uri="{FF2B5EF4-FFF2-40B4-BE49-F238E27FC236}">
                    <a16:creationId xmlns:a16="http://schemas.microsoft.com/office/drawing/2014/main" id="{D495473C-B2DF-59AC-33A8-9122D967EC3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27" name="Vrije vorm: vorm 1726">
                <a:extLst>
                  <a:ext uri="{FF2B5EF4-FFF2-40B4-BE49-F238E27FC236}">
                    <a16:creationId xmlns:a16="http://schemas.microsoft.com/office/drawing/2014/main" id="{C21B7AB8-8DEA-5AA5-AF91-343CD4FBD2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1" name="Groep 1620">
              <a:extLst>
                <a:ext uri="{FF2B5EF4-FFF2-40B4-BE49-F238E27FC236}">
                  <a16:creationId xmlns:a16="http://schemas.microsoft.com/office/drawing/2014/main" id="{CB783632-6B78-DDA9-DF1A-4381F0087934}"/>
                </a:ext>
              </a:extLst>
            </p:cNvPr>
            <p:cNvGrpSpPr/>
            <p:nvPr/>
          </p:nvGrpSpPr>
          <p:grpSpPr>
            <a:xfrm>
              <a:off x="7461619" y="1153435"/>
              <a:ext cx="289443" cy="248100"/>
              <a:chOff x="5696016" y="3086100"/>
              <a:chExt cx="800080" cy="685799"/>
            </a:xfrm>
            <a:grpFill/>
          </p:grpSpPr>
          <p:sp>
            <p:nvSpPr>
              <p:cNvPr id="1724" name="Vrije vorm: vorm 1723">
                <a:extLst>
                  <a:ext uri="{FF2B5EF4-FFF2-40B4-BE49-F238E27FC236}">
                    <a16:creationId xmlns:a16="http://schemas.microsoft.com/office/drawing/2014/main" id="{5E063B04-70DA-F78C-038E-DFC8F474169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25" name="Vrije vorm: vorm 1724">
                <a:extLst>
                  <a:ext uri="{FF2B5EF4-FFF2-40B4-BE49-F238E27FC236}">
                    <a16:creationId xmlns:a16="http://schemas.microsoft.com/office/drawing/2014/main" id="{00119768-07A0-FB64-460A-9C815C14905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2" name="Groep 1621">
              <a:extLst>
                <a:ext uri="{FF2B5EF4-FFF2-40B4-BE49-F238E27FC236}">
                  <a16:creationId xmlns:a16="http://schemas.microsoft.com/office/drawing/2014/main" id="{FBA6B1B9-94A8-0AC8-AEB8-332FFECE4E56}"/>
                </a:ext>
              </a:extLst>
            </p:cNvPr>
            <p:cNvGrpSpPr/>
            <p:nvPr/>
          </p:nvGrpSpPr>
          <p:grpSpPr>
            <a:xfrm>
              <a:off x="7784107" y="1153435"/>
              <a:ext cx="289443" cy="248100"/>
              <a:chOff x="5696016" y="3086100"/>
              <a:chExt cx="800080" cy="685799"/>
            </a:xfrm>
            <a:grpFill/>
          </p:grpSpPr>
          <p:sp>
            <p:nvSpPr>
              <p:cNvPr id="1722" name="Vrije vorm: vorm 1721">
                <a:extLst>
                  <a:ext uri="{FF2B5EF4-FFF2-40B4-BE49-F238E27FC236}">
                    <a16:creationId xmlns:a16="http://schemas.microsoft.com/office/drawing/2014/main" id="{60249AA2-0C03-FC1B-B843-BC7396CBA83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23" name="Vrije vorm: vorm 1722">
                <a:extLst>
                  <a:ext uri="{FF2B5EF4-FFF2-40B4-BE49-F238E27FC236}">
                    <a16:creationId xmlns:a16="http://schemas.microsoft.com/office/drawing/2014/main" id="{A626E48E-C982-5B12-43A6-14B90BC07BC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3" name="Groep 1622">
              <a:extLst>
                <a:ext uri="{FF2B5EF4-FFF2-40B4-BE49-F238E27FC236}">
                  <a16:creationId xmlns:a16="http://schemas.microsoft.com/office/drawing/2014/main" id="{77244575-BED2-DD0E-D8BB-B3AE5A5002AE}"/>
                </a:ext>
              </a:extLst>
            </p:cNvPr>
            <p:cNvGrpSpPr/>
            <p:nvPr/>
          </p:nvGrpSpPr>
          <p:grpSpPr>
            <a:xfrm>
              <a:off x="7139131" y="1463451"/>
              <a:ext cx="289443" cy="248100"/>
              <a:chOff x="5696016" y="3086100"/>
              <a:chExt cx="800080" cy="685799"/>
            </a:xfrm>
            <a:grpFill/>
          </p:grpSpPr>
          <p:sp>
            <p:nvSpPr>
              <p:cNvPr id="1720" name="Vrije vorm: vorm 1719">
                <a:extLst>
                  <a:ext uri="{FF2B5EF4-FFF2-40B4-BE49-F238E27FC236}">
                    <a16:creationId xmlns:a16="http://schemas.microsoft.com/office/drawing/2014/main" id="{AE7F89A1-D142-FD9F-15A0-8E158B7CE86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21" name="Vrije vorm: vorm 1720">
                <a:extLst>
                  <a:ext uri="{FF2B5EF4-FFF2-40B4-BE49-F238E27FC236}">
                    <a16:creationId xmlns:a16="http://schemas.microsoft.com/office/drawing/2014/main" id="{120FEA79-250B-F2D2-D5EA-B5D9C46195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4" name="Groep 1623">
              <a:extLst>
                <a:ext uri="{FF2B5EF4-FFF2-40B4-BE49-F238E27FC236}">
                  <a16:creationId xmlns:a16="http://schemas.microsoft.com/office/drawing/2014/main" id="{A49F361E-42BF-EE7B-8388-0C81DB676370}"/>
                </a:ext>
              </a:extLst>
            </p:cNvPr>
            <p:cNvGrpSpPr/>
            <p:nvPr/>
          </p:nvGrpSpPr>
          <p:grpSpPr>
            <a:xfrm>
              <a:off x="7461619" y="1463451"/>
              <a:ext cx="289443" cy="248100"/>
              <a:chOff x="5696016" y="3086100"/>
              <a:chExt cx="800080" cy="685799"/>
            </a:xfrm>
            <a:grpFill/>
          </p:grpSpPr>
          <p:sp>
            <p:nvSpPr>
              <p:cNvPr id="1718" name="Vrije vorm: vorm 1717">
                <a:extLst>
                  <a:ext uri="{FF2B5EF4-FFF2-40B4-BE49-F238E27FC236}">
                    <a16:creationId xmlns:a16="http://schemas.microsoft.com/office/drawing/2014/main" id="{1FAFDF3D-1283-FC5D-1C77-B58BDE5EADD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19" name="Vrije vorm: vorm 1718">
                <a:extLst>
                  <a:ext uri="{FF2B5EF4-FFF2-40B4-BE49-F238E27FC236}">
                    <a16:creationId xmlns:a16="http://schemas.microsoft.com/office/drawing/2014/main" id="{63A48866-25FF-651A-A894-32F009D78E3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5" name="Groep 1624">
              <a:extLst>
                <a:ext uri="{FF2B5EF4-FFF2-40B4-BE49-F238E27FC236}">
                  <a16:creationId xmlns:a16="http://schemas.microsoft.com/office/drawing/2014/main" id="{906A3197-946B-6042-F595-FC4620CF80B2}"/>
                </a:ext>
              </a:extLst>
            </p:cNvPr>
            <p:cNvGrpSpPr/>
            <p:nvPr/>
          </p:nvGrpSpPr>
          <p:grpSpPr>
            <a:xfrm>
              <a:off x="7784107" y="1463451"/>
              <a:ext cx="289443" cy="248100"/>
              <a:chOff x="5696016" y="3086100"/>
              <a:chExt cx="800080" cy="685799"/>
            </a:xfrm>
            <a:grpFill/>
          </p:grpSpPr>
          <p:sp>
            <p:nvSpPr>
              <p:cNvPr id="1716" name="Vrije vorm: vorm 1715">
                <a:extLst>
                  <a:ext uri="{FF2B5EF4-FFF2-40B4-BE49-F238E27FC236}">
                    <a16:creationId xmlns:a16="http://schemas.microsoft.com/office/drawing/2014/main" id="{1EB08879-07C2-14D5-05DD-3ABC357D7B8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17" name="Vrije vorm: vorm 1716">
                <a:extLst>
                  <a:ext uri="{FF2B5EF4-FFF2-40B4-BE49-F238E27FC236}">
                    <a16:creationId xmlns:a16="http://schemas.microsoft.com/office/drawing/2014/main" id="{6487040C-23A2-09C6-BC9B-167C342CE47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6" name="Groep 1625">
              <a:extLst>
                <a:ext uri="{FF2B5EF4-FFF2-40B4-BE49-F238E27FC236}">
                  <a16:creationId xmlns:a16="http://schemas.microsoft.com/office/drawing/2014/main" id="{DEC58DC6-22D9-CF45-A281-3B0D4FB5EDDD}"/>
                </a:ext>
              </a:extLst>
            </p:cNvPr>
            <p:cNvGrpSpPr/>
            <p:nvPr/>
          </p:nvGrpSpPr>
          <p:grpSpPr>
            <a:xfrm>
              <a:off x="7139131" y="1773467"/>
              <a:ext cx="289443" cy="248100"/>
              <a:chOff x="5696016" y="3086100"/>
              <a:chExt cx="800080" cy="685799"/>
            </a:xfrm>
            <a:grpFill/>
          </p:grpSpPr>
          <p:sp>
            <p:nvSpPr>
              <p:cNvPr id="1714" name="Vrije vorm: vorm 1713">
                <a:extLst>
                  <a:ext uri="{FF2B5EF4-FFF2-40B4-BE49-F238E27FC236}">
                    <a16:creationId xmlns:a16="http://schemas.microsoft.com/office/drawing/2014/main" id="{E5BB18A9-2F0D-503F-8F8F-1884AAA673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15" name="Vrije vorm: vorm 1714">
                <a:extLst>
                  <a:ext uri="{FF2B5EF4-FFF2-40B4-BE49-F238E27FC236}">
                    <a16:creationId xmlns:a16="http://schemas.microsoft.com/office/drawing/2014/main" id="{E753E906-95DB-9365-7644-5BC6691A1BC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7" name="Groep 1626">
              <a:extLst>
                <a:ext uri="{FF2B5EF4-FFF2-40B4-BE49-F238E27FC236}">
                  <a16:creationId xmlns:a16="http://schemas.microsoft.com/office/drawing/2014/main" id="{495187B5-D7F4-C6C2-90D4-4E58C7AF8F6B}"/>
                </a:ext>
              </a:extLst>
            </p:cNvPr>
            <p:cNvGrpSpPr/>
            <p:nvPr/>
          </p:nvGrpSpPr>
          <p:grpSpPr>
            <a:xfrm>
              <a:off x="7461619" y="1773467"/>
              <a:ext cx="289443" cy="248100"/>
              <a:chOff x="5696016" y="3086100"/>
              <a:chExt cx="800080" cy="685799"/>
            </a:xfrm>
            <a:grpFill/>
          </p:grpSpPr>
          <p:sp>
            <p:nvSpPr>
              <p:cNvPr id="1712" name="Vrije vorm: vorm 1711">
                <a:extLst>
                  <a:ext uri="{FF2B5EF4-FFF2-40B4-BE49-F238E27FC236}">
                    <a16:creationId xmlns:a16="http://schemas.microsoft.com/office/drawing/2014/main" id="{FD2FDDCF-E0EE-1863-2597-9EEF9B8F314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13" name="Vrije vorm: vorm 1712">
                <a:extLst>
                  <a:ext uri="{FF2B5EF4-FFF2-40B4-BE49-F238E27FC236}">
                    <a16:creationId xmlns:a16="http://schemas.microsoft.com/office/drawing/2014/main" id="{6BD60AC5-933B-68CF-4D6D-B9D9B390F58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8" name="Groep 1627">
              <a:extLst>
                <a:ext uri="{FF2B5EF4-FFF2-40B4-BE49-F238E27FC236}">
                  <a16:creationId xmlns:a16="http://schemas.microsoft.com/office/drawing/2014/main" id="{25921AF3-BD8E-9E12-E9A2-76BAFA2A1A8F}"/>
                </a:ext>
              </a:extLst>
            </p:cNvPr>
            <p:cNvGrpSpPr/>
            <p:nvPr/>
          </p:nvGrpSpPr>
          <p:grpSpPr>
            <a:xfrm>
              <a:off x="7784107" y="1773467"/>
              <a:ext cx="289443" cy="248100"/>
              <a:chOff x="5696016" y="3086100"/>
              <a:chExt cx="800080" cy="685799"/>
            </a:xfrm>
            <a:grpFill/>
          </p:grpSpPr>
          <p:sp>
            <p:nvSpPr>
              <p:cNvPr id="1710" name="Vrije vorm: vorm 1709">
                <a:extLst>
                  <a:ext uri="{FF2B5EF4-FFF2-40B4-BE49-F238E27FC236}">
                    <a16:creationId xmlns:a16="http://schemas.microsoft.com/office/drawing/2014/main" id="{25503C4F-061B-4007-9718-10AA56EFBAF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11" name="Vrije vorm: vorm 1710">
                <a:extLst>
                  <a:ext uri="{FF2B5EF4-FFF2-40B4-BE49-F238E27FC236}">
                    <a16:creationId xmlns:a16="http://schemas.microsoft.com/office/drawing/2014/main" id="{244C4511-798B-3A4D-6A6D-81F63869183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29" name="Groep 1628">
              <a:extLst>
                <a:ext uri="{FF2B5EF4-FFF2-40B4-BE49-F238E27FC236}">
                  <a16:creationId xmlns:a16="http://schemas.microsoft.com/office/drawing/2014/main" id="{2D014153-2537-5809-36C3-DC5014282C19}"/>
                </a:ext>
              </a:extLst>
            </p:cNvPr>
            <p:cNvGrpSpPr/>
            <p:nvPr/>
          </p:nvGrpSpPr>
          <p:grpSpPr>
            <a:xfrm>
              <a:off x="7139131" y="2083483"/>
              <a:ext cx="289443" cy="248100"/>
              <a:chOff x="5696016" y="3086100"/>
              <a:chExt cx="800080" cy="685799"/>
            </a:xfrm>
            <a:grpFill/>
          </p:grpSpPr>
          <p:sp>
            <p:nvSpPr>
              <p:cNvPr id="1708" name="Vrije vorm: vorm 1707">
                <a:extLst>
                  <a:ext uri="{FF2B5EF4-FFF2-40B4-BE49-F238E27FC236}">
                    <a16:creationId xmlns:a16="http://schemas.microsoft.com/office/drawing/2014/main" id="{1F2DB874-7B77-34A0-4D0B-E3EC8F3AF6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09" name="Vrije vorm: vorm 1708">
                <a:extLst>
                  <a:ext uri="{FF2B5EF4-FFF2-40B4-BE49-F238E27FC236}">
                    <a16:creationId xmlns:a16="http://schemas.microsoft.com/office/drawing/2014/main" id="{A8C2EBB1-2059-043E-4A33-F3653BFE8B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0" name="Groep 1629">
              <a:extLst>
                <a:ext uri="{FF2B5EF4-FFF2-40B4-BE49-F238E27FC236}">
                  <a16:creationId xmlns:a16="http://schemas.microsoft.com/office/drawing/2014/main" id="{4E8907F5-966A-CABA-7BEE-FE6E48C93E48}"/>
                </a:ext>
              </a:extLst>
            </p:cNvPr>
            <p:cNvGrpSpPr/>
            <p:nvPr/>
          </p:nvGrpSpPr>
          <p:grpSpPr>
            <a:xfrm>
              <a:off x="7461619" y="2083483"/>
              <a:ext cx="289443" cy="248100"/>
              <a:chOff x="5696016" y="3086100"/>
              <a:chExt cx="800080" cy="685799"/>
            </a:xfrm>
            <a:grpFill/>
          </p:grpSpPr>
          <p:sp>
            <p:nvSpPr>
              <p:cNvPr id="1706" name="Vrije vorm: vorm 1705">
                <a:extLst>
                  <a:ext uri="{FF2B5EF4-FFF2-40B4-BE49-F238E27FC236}">
                    <a16:creationId xmlns:a16="http://schemas.microsoft.com/office/drawing/2014/main" id="{3F18BE18-494C-D52E-C33E-6C66C096A84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07" name="Vrije vorm: vorm 1706">
                <a:extLst>
                  <a:ext uri="{FF2B5EF4-FFF2-40B4-BE49-F238E27FC236}">
                    <a16:creationId xmlns:a16="http://schemas.microsoft.com/office/drawing/2014/main" id="{8450D309-B607-25F6-5EE3-7D1338F4473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1" name="Groep 1630">
              <a:extLst>
                <a:ext uri="{FF2B5EF4-FFF2-40B4-BE49-F238E27FC236}">
                  <a16:creationId xmlns:a16="http://schemas.microsoft.com/office/drawing/2014/main" id="{8EB5A88F-4C2C-B4BF-667D-E482344A70A9}"/>
                </a:ext>
              </a:extLst>
            </p:cNvPr>
            <p:cNvGrpSpPr/>
            <p:nvPr/>
          </p:nvGrpSpPr>
          <p:grpSpPr>
            <a:xfrm>
              <a:off x="7784107" y="2083483"/>
              <a:ext cx="289443" cy="248100"/>
              <a:chOff x="5696016" y="3086100"/>
              <a:chExt cx="800080" cy="685799"/>
            </a:xfrm>
            <a:grpFill/>
          </p:grpSpPr>
          <p:sp>
            <p:nvSpPr>
              <p:cNvPr id="1704" name="Vrije vorm: vorm 1703">
                <a:extLst>
                  <a:ext uri="{FF2B5EF4-FFF2-40B4-BE49-F238E27FC236}">
                    <a16:creationId xmlns:a16="http://schemas.microsoft.com/office/drawing/2014/main" id="{98797E44-1056-0B69-8347-D1C76AC6866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05" name="Vrije vorm: vorm 1704">
                <a:extLst>
                  <a:ext uri="{FF2B5EF4-FFF2-40B4-BE49-F238E27FC236}">
                    <a16:creationId xmlns:a16="http://schemas.microsoft.com/office/drawing/2014/main" id="{60332B28-AA30-3279-1206-4F4BE20AEA7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2" name="Groep 1631">
              <a:extLst>
                <a:ext uri="{FF2B5EF4-FFF2-40B4-BE49-F238E27FC236}">
                  <a16:creationId xmlns:a16="http://schemas.microsoft.com/office/drawing/2014/main" id="{71128EAC-F4CD-A8DA-3A24-833C31FA6757}"/>
                </a:ext>
              </a:extLst>
            </p:cNvPr>
            <p:cNvGrpSpPr/>
            <p:nvPr/>
          </p:nvGrpSpPr>
          <p:grpSpPr>
            <a:xfrm>
              <a:off x="7139131" y="2393500"/>
              <a:ext cx="289443" cy="248100"/>
              <a:chOff x="5696016" y="3086100"/>
              <a:chExt cx="800080" cy="685799"/>
            </a:xfrm>
            <a:grpFill/>
          </p:grpSpPr>
          <p:sp>
            <p:nvSpPr>
              <p:cNvPr id="1702" name="Vrije vorm: vorm 1701">
                <a:extLst>
                  <a:ext uri="{FF2B5EF4-FFF2-40B4-BE49-F238E27FC236}">
                    <a16:creationId xmlns:a16="http://schemas.microsoft.com/office/drawing/2014/main" id="{5EC31710-98C9-B83B-86C8-397EA050077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03" name="Vrije vorm: vorm 1702">
                <a:extLst>
                  <a:ext uri="{FF2B5EF4-FFF2-40B4-BE49-F238E27FC236}">
                    <a16:creationId xmlns:a16="http://schemas.microsoft.com/office/drawing/2014/main" id="{E4EFA556-E38C-95D9-4D6F-CBA02F170B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3" name="Groep 1632">
              <a:extLst>
                <a:ext uri="{FF2B5EF4-FFF2-40B4-BE49-F238E27FC236}">
                  <a16:creationId xmlns:a16="http://schemas.microsoft.com/office/drawing/2014/main" id="{ADFEF7C1-FBCE-78D5-EFEC-405C2A7ED165}"/>
                </a:ext>
              </a:extLst>
            </p:cNvPr>
            <p:cNvGrpSpPr/>
            <p:nvPr/>
          </p:nvGrpSpPr>
          <p:grpSpPr>
            <a:xfrm>
              <a:off x="7461619" y="2393500"/>
              <a:ext cx="289443" cy="248100"/>
              <a:chOff x="5696016" y="3086100"/>
              <a:chExt cx="800080" cy="685799"/>
            </a:xfrm>
            <a:grpFill/>
          </p:grpSpPr>
          <p:sp>
            <p:nvSpPr>
              <p:cNvPr id="1700" name="Vrije vorm: vorm 1699">
                <a:extLst>
                  <a:ext uri="{FF2B5EF4-FFF2-40B4-BE49-F238E27FC236}">
                    <a16:creationId xmlns:a16="http://schemas.microsoft.com/office/drawing/2014/main" id="{C9664B14-B293-E921-8E90-07C04EF3D8D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01" name="Vrije vorm: vorm 1700">
                <a:extLst>
                  <a:ext uri="{FF2B5EF4-FFF2-40B4-BE49-F238E27FC236}">
                    <a16:creationId xmlns:a16="http://schemas.microsoft.com/office/drawing/2014/main" id="{FAEA3B19-78EF-8EA4-1A95-1EFA981599E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4" name="Groep 1633">
              <a:extLst>
                <a:ext uri="{FF2B5EF4-FFF2-40B4-BE49-F238E27FC236}">
                  <a16:creationId xmlns:a16="http://schemas.microsoft.com/office/drawing/2014/main" id="{7F3E100B-33B7-EC28-CF5A-4D8FEDA38AA5}"/>
                </a:ext>
              </a:extLst>
            </p:cNvPr>
            <p:cNvGrpSpPr/>
            <p:nvPr/>
          </p:nvGrpSpPr>
          <p:grpSpPr>
            <a:xfrm>
              <a:off x="7784107" y="2393500"/>
              <a:ext cx="289443" cy="248100"/>
              <a:chOff x="5696016" y="3086100"/>
              <a:chExt cx="800080" cy="685799"/>
            </a:xfrm>
            <a:grpFill/>
          </p:grpSpPr>
          <p:sp>
            <p:nvSpPr>
              <p:cNvPr id="1698" name="Vrije vorm: vorm 1697">
                <a:extLst>
                  <a:ext uri="{FF2B5EF4-FFF2-40B4-BE49-F238E27FC236}">
                    <a16:creationId xmlns:a16="http://schemas.microsoft.com/office/drawing/2014/main" id="{95D3998D-3736-5A83-142A-C4587CA3DCB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99" name="Vrije vorm: vorm 1698">
                <a:extLst>
                  <a:ext uri="{FF2B5EF4-FFF2-40B4-BE49-F238E27FC236}">
                    <a16:creationId xmlns:a16="http://schemas.microsoft.com/office/drawing/2014/main" id="{B3CF1EC4-E86B-F2E0-75CF-EC41B8CD954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5" name="Groep 1634">
              <a:extLst>
                <a:ext uri="{FF2B5EF4-FFF2-40B4-BE49-F238E27FC236}">
                  <a16:creationId xmlns:a16="http://schemas.microsoft.com/office/drawing/2014/main" id="{B4A7E0BA-9512-4AA7-13DF-49372E075441}"/>
                </a:ext>
              </a:extLst>
            </p:cNvPr>
            <p:cNvGrpSpPr/>
            <p:nvPr/>
          </p:nvGrpSpPr>
          <p:grpSpPr>
            <a:xfrm>
              <a:off x="7133223" y="2705100"/>
              <a:ext cx="289443" cy="248100"/>
              <a:chOff x="5696016" y="3086100"/>
              <a:chExt cx="800080" cy="685799"/>
            </a:xfrm>
            <a:grpFill/>
          </p:grpSpPr>
          <p:sp>
            <p:nvSpPr>
              <p:cNvPr id="1696" name="Vrije vorm: vorm 1695">
                <a:extLst>
                  <a:ext uri="{FF2B5EF4-FFF2-40B4-BE49-F238E27FC236}">
                    <a16:creationId xmlns:a16="http://schemas.microsoft.com/office/drawing/2014/main" id="{F2F76A70-0AE2-66FA-B2E1-52E7A962B7C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97" name="Vrije vorm: vorm 1696">
                <a:extLst>
                  <a:ext uri="{FF2B5EF4-FFF2-40B4-BE49-F238E27FC236}">
                    <a16:creationId xmlns:a16="http://schemas.microsoft.com/office/drawing/2014/main" id="{819B0D68-A608-12E8-8AFD-8A9309F3B6B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6" name="Groep 1635">
              <a:extLst>
                <a:ext uri="{FF2B5EF4-FFF2-40B4-BE49-F238E27FC236}">
                  <a16:creationId xmlns:a16="http://schemas.microsoft.com/office/drawing/2014/main" id="{6F36D18B-6C5B-FDE7-D6FD-34FFEB507890}"/>
                </a:ext>
              </a:extLst>
            </p:cNvPr>
            <p:cNvGrpSpPr/>
            <p:nvPr/>
          </p:nvGrpSpPr>
          <p:grpSpPr>
            <a:xfrm>
              <a:off x="7455711" y="2705100"/>
              <a:ext cx="289443" cy="248100"/>
              <a:chOff x="5696016" y="3086100"/>
              <a:chExt cx="800080" cy="685799"/>
            </a:xfrm>
            <a:grpFill/>
          </p:grpSpPr>
          <p:sp>
            <p:nvSpPr>
              <p:cNvPr id="1694" name="Vrije vorm: vorm 1693">
                <a:extLst>
                  <a:ext uri="{FF2B5EF4-FFF2-40B4-BE49-F238E27FC236}">
                    <a16:creationId xmlns:a16="http://schemas.microsoft.com/office/drawing/2014/main" id="{4943FD9F-A6BD-9308-8C7B-0CEF37D1555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95" name="Vrije vorm: vorm 1694">
                <a:extLst>
                  <a:ext uri="{FF2B5EF4-FFF2-40B4-BE49-F238E27FC236}">
                    <a16:creationId xmlns:a16="http://schemas.microsoft.com/office/drawing/2014/main" id="{A4104E05-5289-A1E3-2A5E-E60751C6915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7" name="Groep 1636">
              <a:extLst>
                <a:ext uri="{FF2B5EF4-FFF2-40B4-BE49-F238E27FC236}">
                  <a16:creationId xmlns:a16="http://schemas.microsoft.com/office/drawing/2014/main" id="{49309DAC-77AC-CE24-99C2-297F4A26CCF2}"/>
                </a:ext>
              </a:extLst>
            </p:cNvPr>
            <p:cNvGrpSpPr/>
            <p:nvPr/>
          </p:nvGrpSpPr>
          <p:grpSpPr>
            <a:xfrm>
              <a:off x="7778199" y="2705100"/>
              <a:ext cx="289443" cy="248100"/>
              <a:chOff x="5696016" y="3086100"/>
              <a:chExt cx="800080" cy="685799"/>
            </a:xfrm>
            <a:grpFill/>
          </p:grpSpPr>
          <p:sp>
            <p:nvSpPr>
              <p:cNvPr id="1692" name="Vrije vorm: vorm 1691">
                <a:extLst>
                  <a:ext uri="{FF2B5EF4-FFF2-40B4-BE49-F238E27FC236}">
                    <a16:creationId xmlns:a16="http://schemas.microsoft.com/office/drawing/2014/main" id="{41F78B1D-50EA-A636-9E43-EF3F86F8412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93" name="Vrije vorm: vorm 1692">
                <a:extLst>
                  <a:ext uri="{FF2B5EF4-FFF2-40B4-BE49-F238E27FC236}">
                    <a16:creationId xmlns:a16="http://schemas.microsoft.com/office/drawing/2014/main" id="{25B64514-6447-0479-D413-FD81D46622D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8" name="Groep 1637">
              <a:extLst>
                <a:ext uri="{FF2B5EF4-FFF2-40B4-BE49-F238E27FC236}">
                  <a16:creationId xmlns:a16="http://schemas.microsoft.com/office/drawing/2014/main" id="{23D3523E-18B7-66F0-84B2-E1B4A468A73A}"/>
                </a:ext>
              </a:extLst>
            </p:cNvPr>
            <p:cNvGrpSpPr/>
            <p:nvPr/>
          </p:nvGrpSpPr>
          <p:grpSpPr>
            <a:xfrm>
              <a:off x="7133223" y="3015117"/>
              <a:ext cx="289443" cy="248100"/>
              <a:chOff x="5696016" y="3086100"/>
              <a:chExt cx="800080" cy="685799"/>
            </a:xfrm>
            <a:grpFill/>
          </p:grpSpPr>
          <p:sp>
            <p:nvSpPr>
              <p:cNvPr id="1690" name="Vrije vorm: vorm 1689">
                <a:extLst>
                  <a:ext uri="{FF2B5EF4-FFF2-40B4-BE49-F238E27FC236}">
                    <a16:creationId xmlns:a16="http://schemas.microsoft.com/office/drawing/2014/main" id="{E42596EA-D15A-5F99-AE08-619A57E7CAF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91" name="Vrije vorm: vorm 1690">
                <a:extLst>
                  <a:ext uri="{FF2B5EF4-FFF2-40B4-BE49-F238E27FC236}">
                    <a16:creationId xmlns:a16="http://schemas.microsoft.com/office/drawing/2014/main" id="{0D77A190-1644-5EC9-C81C-E8E994EF032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39" name="Groep 1638">
              <a:extLst>
                <a:ext uri="{FF2B5EF4-FFF2-40B4-BE49-F238E27FC236}">
                  <a16:creationId xmlns:a16="http://schemas.microsoft.com/office/drawing/2014/main" id="{AB0540FE-59FB-B742-1180-D7588AE96320}"/>
                </a:ext>
              </a:extLst>
            </p:cNvPr>
            <p:cNvGrpSpPr/>
            <p:nvPr/>
          </p:nvGrpSpPr>
          <p:grpSpPr>
            <a:xfrm>
              <a:off x="7455711" y="3015117"/>
              <a:ext cx="289443" cy="248100"/>
              <a:chOff x="5696016" y="3086100"/>
              <a:chExt cx="800080" cy="685799"/>
            </a:xfrm>
            <a:grpFill/>
          </p:grpSpPr>
          <p:sp>
            <p:nvSpPr>
              <p:cNvPr id="1688" name="Vrije vorm: vorm 1687">
                <a:extLst>
                  <a:ext uri="{FF2B5EF4-FFF2-40B4-BE49-F238E27FC236}">
                    <a16:creationId xmlns:a16="http://schemas.microsoft.com/office/drawing/2014/main" id="{9EF17A9D-AA27-CDA1-3256-45975654CC6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89" name="Vrije vorm: vorm 1688">
                <a:extLst>
                  <a:ext uri="{FF2B5EF4-FFF2-40B4-BE49-F238E27FC236}">
                    <a16:creationId xmlns:a16="http://schemas.microsoft.com/office/drawing/2014/main" id="{2B86A8A0-3163-2B14-FF5E-55252ACC15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0" name="Groep 1639">
              <a:extLst>
                <a:ext uri="{FF2B5EF4-FFF2-40B4-BE49-F238E27FC236}">
                  <a16:creationId xmlns:a16="http://schemas.microsoft.com/office/drawing/2014/main" id="{B8712E59-0DEF-78B2-5364-08E06AC4F692}"/>
                </a:ext>
              </a:extLst>
            </p:cNvPr>
            <p:cNvGrpSpPr/>
            <p:nvPr/>
          </p:nvGrpSpPr>
          <p:grpSpPr>
            <a:xfrm>
              <a:off x="7778199" y="3015117"/>
              <a:ext cx="289443" cy="248100"/>
              <a:chOff x="5696016" y="3086100"/>
              <a:chExt cx="800080" cy="685799"/>
            </a:xfrm>
            <a:grpFill/>
          </p:grpSpPr>
          <p:sp>
            <p:nvSpPr>
              <p:cNvPr id="1686" name="Vrije vorm: vorm 1685">
                <a:extLst>
                  <a:ext uri="{FF2B5EF4-FFF2-40B4-BE49-F238E27FC236}">
                    <a16:creationId xmlns:a16="http://schemas.microsoft.com/office/drawing/2014/main" id="{4F13C2BE-9AD8-1310-996C-31B7358592D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87" name="Vrije vorm: vorm 1686">
                <a:extLst>
                  <a:ext uri="{FF2B5EF4-FFF2-40B4-BE49-F238E27FC236}">
                    <a16:creationId xmlns:a16="http://schemas.microsoft.com/office/drawing/2014/main" id="{0F581464-0F93-31C4-4D74-BEC81D5A64E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1" name="Groep 1640">
              <a:extLst>
                <a:ext uri="{FF2B5EF4-FFF2-40B4-BE49-F238E27FC236}">
                  <a16:creationId xmlns:a16="http://schemas.microsoft.com/office/drawing/2014/main" id="{A23FB7F2-3FDB-1CA1-5A57-63B206C574DC}"/>
                </a:ext>
              </a:extLst>
            </p:cNvPr>
            <p:cNvGrpSpPr/>
            <p:nvPr/>
          </p:nvGrpSpPr>
          <p:grpSpPr>
            <a:xfrm>
              <a:off x="7133223" y="3325135"/>
              <a:ext cx="289443" cy="248100"/>
              <a:chOff x="5696016" y="3086100"/>
              <a:chExt cx="800080" cy="685799"/>
            </a:xfrm>
            <a:grpFill/>
          </p:grpSpPr>
          <p:sp>
            <p:nvSpPr>
              <p:cNvPr id="1684" name="Vrije vorm: vorm 1683">
                <a:extLst>
                  <a:ext uri="{FF2B5EF4-FFF2-40B4-BE49-F238E27FC236}">
                    <a16:creationId xmlns:a16="http://schemas.microsoft.com/office/drawing/2014/main" id="{191E4DE6-BEC7-380A-D63E-298B2280DA1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85" name="Vrije vorm: vorm 1684">
                <a:extLst>
                  <a:ext uri="{FF2B5EF4-FFF2-40B4-BE49-F238E27FC236}">
                    <a16:creationId xmlns:a16="http://schemas.microsoft.com/office/drawing/2014/main" id="{9C6963FC-9E36-54B5-E43D-76294E8C3F5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2" name="Groep 1641">
              <a:extLst>
                <a:ext uri="{FF2B5EF4-FFF2-40B4-BE49-F238E27FC236}">
                  <a16:creationId xmlns:a16="http://schemas.microsoft.com/office/drawing/2014/main" id="{00CECBAD-8582-752F-A886-AE43C078CE21}"/>
                </a:ext>
              </a:extLst>
            </p:cNvPr>
            <p:cNvGrpSpPr/>
            <p:nvPr/>
          </p:nvGrpSpPr>
          <p:grpSpPr>
            <a:xfrm>
              <a:off x="7455711" y="3325135"/>
              <a:ext cx="289443" cy="248100"/>
              <a:chOff x="5696016" y="3086100"/>
              <a:chExt cx="800080" cy="685799"/>
            </a:xfrm>
            <a:grpFill/>
          </p:grpSpPr>
          <p:sp>
            <p:nvSpPr>
              <p:cNvPr id="1682" name="Vrije vorm: vorm 1681">
                <a:extLst>
                  <a:ext uri="{FF2B5EF4-FFF2-40B4-BE49-F238E27FC236}">
                    <a16:creationId xmlns:a16="http://schemas.microsoft.com/office/drawing/2014/main" id="{05EE4139-112E-CD07-EB7D-F1543BCEF32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83" name="Vrije vorm: vorm 1682">
                <a:extLst>
                  <a:ext uri="{FF2B5EF4-FFF2-40B4-BE49-F238E27FC236}">
                    <a16:creationId xmlns:a16="http://schemas.microsoft.com/office/drawing/2014/main" id="{407471FF-70A3-60AD-7FED-656F590D548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3" name="Groep 1642">
              <a:extLst>
                <a:ext uri="{FF2B5EF4-FFF2-40B4-BE49-F238E27FC236}">
                  <a16:creationId xmlns:a16="http://schemas.microsoft.com/office/drawing/2014/main" id="{AE4AFF19-226F-71D6-789F-86FFD3D810A1}"/>
                </a:ext>
              </a:extLst>
            </p:cNvPr>
            <p:cNvGrpSpPr/>
            <p:nvPr/>
          </p:nvGrpSpPr>
          <p:grpSpPr>
            <a:xfrm>
              <a:off x="7778199" y="3325135"/>
              <a:ext cx="289443" cy="248100"/>
              <a:chOff x="5696016" y="3086100"/>
              <a:chExt cx="800080" cy="685799"/>
            </a:xfrm>
            <a:grpFill/>
          </p:grpSpPr>
          <p:sp>
            <p:nvSpPr>
              <p:cNvPr id="1680" name="Vrije vorm: vorm 1679">
                <a:extLst>
                  <a:ext uri="{FF2B5EF4-FFF2-40B4-BE49-F238E27FC236}">
                    <a16:creationId xmlns:a16="http://schemas.microsoft.com/office/drawing/2014/main" id="{ABB68ED3-C89B-95E0-1104-6BB48171F18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81" name="Vrije vorm: vorm 1680">
                <a:extLst>
                  <a:ext uri="{FF2B5EF4-FFF2-40B4-BE49-F238E27FC236}">
                    <a16:creationId xmlns:a16="http://schemas.microsoft.com/office/drawing/2014/main" id="{58AF505C-755F-711D-385F-F10FA3006C9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4" name="Groep 1643">
              <a:extLst>
                <a:ext uri="{FF2B5EF4-FFF2-40B4-BE49-F238E27FC236}">
                  <a16:creationId xmlns:a16="http://schemas.microsoft.com/office/drawing/2014/main" id="{7344ECE2-56D0-90B8-C7EE-351261A563C9}"/>
                </a:ext>
              </a:extLst>
            </p:cNvPr>
            <p:cNvGrpSpPr/>
            <p:nvPr/>
          </p:nvGrpSpPr>
          <p:grpSpPr>
            <a:xfrm>
              <a:off x="7133223" y="3635151"/>
              <a:ext cx="289443" cy="248100"/>
              <a:chOff x="5696016" y="3086100"/>
              <a:chExt cx="800080" cy="685799"/>
            </a:xfrm>
            <a:grpFill/>
          </p:grpSpPr>
          <p:sp>
            <p:nvSpPr>
              <p:cNvPr id="1678" name="Vrije vorm: vorm 1677">
                <a:extLst>
                  <a:ext uri="{FF2B5EF4-FFF2-40B4-BE49-F238E27FC236}">
                    <a16:creationId xmlns:a16="http://schemas.microsoft.com/office/drawing/2014/main" id="{AFB06F82-279B-8BA0-EF12-78A6CB5DA4E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79" name="Vrije vorm: vorm 1678">
                <a:extLst>
                  <a:ext uri="{FF2B5EF4-FFF2-40B4-BE49-F238E27FC236}">
                    <a16:creationId xmlns:a16="http://schemas.microsoft.com/office/drawing/2014/main" id="{80753A78-18D7-06F4-DB7C-4ECA8D300C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5" name="Groep 1644">
              <a:extLst>
                <a:ext uri="{FF2B5EF4-FFF2-40B4-BE49-F238E27FC236}">
                  <a16:creationId xmlns:a16="http://schemas.microsoft.com/office/drawing/2014/main" id="{AD6D6C95-BD76-C85D-63A7-9D929BF66BD6}"/>
                </a:ext>
              </a:extLst>
            </p:cNvPr>
            <p:cNvGrpSpPr/>
            <p:nvPr/>
          </p:nvGrpSpPr>
          <p:grpSpPr>
            <a:xfrm>
              <a:off x="7455711" y="3635151"/>
              <a:ext cx="289443" cy="248100"/>
              <a:chOff x="5696016" y="3086100"/>
              <a:chExt cx="800080" cy="685799"/>
            </a:xfrm>
            <a:grpFill/>
          </p:grpSpPr>
          <p:sp>
            <p:nvSpPr>
              <p:cNvPr id="1676" name="Vrije vorm: vorm 1675">
                <a:extLst>
                  <a:ext uri="{FF2B5EF4-FFF2-40B4-BE49-F238E27FC236}">
                    <a16:creationId xmlns:a16="http://schemas.microsoft.com/office/drawing/2014/main" id="{B33DBAFD-7440-638E-B549-590BBE9C537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77" name="Vrije vorm: vorm 1676">
                <a:extLst>
                  <a:ext uri="{FF2B5EF4-FFF2-40B4-BE49-F238E27FC236}">
                    <a16:creationId xmlns:a16="http://schemas.microsoft.com/office/drawing/2014/main" id="{7B4946E9-E237-7072-8FA8-0B37DCB06A6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6" name="Groep 1645">
              <a:extLst>
                <a:ext uri="{FF2B5EF4-FFF2-40B4-BE49-F238E27FC236}">
                  <a16:creationId xmlns:a16="http://schemas.microsoft.com/office/drawing/2014/main" id="{B29E0A0D-D934-2FEF-3B28-3FC630AAF021}"/>
                </a:ext>
              </a:extLst>
            </p:cNvPr>
            <p:cNvGrpSpPr/>
            <p:nvPr/>
          </p:nvGrpSpPr>
          <p:grpSpPr>
            <a:xfrm>
              <a:off x="7778199" y="3635151"/>
              <a:ext cx="289443" cy="248100"/>
              <a:chOff x="5696016" y="3086100"/>
              <a:chExt cx="800080" cy="685799"/>
            </a:xfrm>
            <a:grpFill/>
          </p:grpSpPr>
          <p:sp>
            <p:nvSpPr>
              <p:cNvPr id="1674" name="Vrije vorm: vorm 1673">
                <a:extLst>
                  <a:ext uri="{FF2B5EF4-FFF2-40B4-BE49-F238E27FC236}">
                    <a16:creationId xmlns:a16="http://schemas.microsoft.com/office/drawing/2014/main" id="{A1FC445E-8DC7-2659-5BD2-0C09E51991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75" name="Vrije vorm: vorm 1674">
                <a:extLst>
                  <a:ext uri="{FF2B5EF4-FFF2-40B4-BE49-F238E27FC236}">
                    <a16:creationId xmlns:a16="http://schemas.microsoft.com/office/drawing/2014/main" id="{9C631320-FAD5-0D72-56C1-9E900CA836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7" name="Groep 1646">
              <a:extLst>
                <a:ext uri="{FF2B5EF4-FFF2-40B4-BE49-F238E27FC236}">
                  <a16:creationId xmlns:a16="http://schemas.microsoft.com/office/drawing/2014/main" id="{548CA8C5-1BEF-84EF-36CA-CC82B0CDEEAC}"/>
                </a:ext>
              </a:extLst>
            </p:cNvPr>
            <p:cNvGrpSpPr/>
            <p:nvPr/>
          </p:nvGrpSpPr>
          <p:grpSpPr>
            <a:xfrm>
              <a:off x="7133223" y="3945167"/>
              <a:ext cx="289443" cy="248100"/>
              <a:chOff x="5696016" y="3086100"/>
              <a:chExt cx="800080" cy="685799"/>
            </a:xfrm>
            <a:grpFill/>
          </p:grpSpPr>
          <p:sp>
            <p:nvSpPr>
              <p:cNvPr id="1672" name="Vrije vorm: vorm 1671">
                <a:extLst>
                  <a:ext uri="{FF2B5EF4-FFF2-40B4-BE49-F238E27FC236}">
                    <a16:creationId xmlns:a16="http://schemas.microsoft.com/office/drawing/2014/main" id="{39D5629C-D511-CA85-4A14-FBBE91E18A4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73" name="Vrije vorm: vorm 1672">
                <a:extLst>
                  <a:ext uri="{FF2B5EF4-FFF2-40B4-BE49-F238E27FC236}">
                    <a16:creationId xmlns:a16="http://schemas.microsoft.com/office/drawing/2014/main" id="{EAE5A1F6-F271-30EE-2017-9FD5E7F00B4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8" name="Groep 1647">
              <a:extLst>
                <a:ext uri="{FF2B5EF4-FFF2-40B4-BE49-F238E27FC236}">
                  <a16:creationId xmlns:a16="http://schemas.microsoft.com/office/drawing/2014/main" id="{FF72CDC6-1D12-D0DB-67F3-906C59FCC3D2}"/>
                </a:ext>
              </a:extLst>
            </p:cNvPr>
            <p:cNvGrpSpPr/>
            <p:nvPr/>
          </p:nvGrpSpPr>
          <p:grpSpPr>
            <a:xfrm>
              <a:off x="7455711" y="3945167"/>
              <a:ext cx="289443" cy="248100"/>
              <a:chOff x="5696016" y="3086100"/>
              <a:chExt cx="800080" cy="685799"/>
            </a:xfrm>
            <a:grpFill/>
          </p:grpSpPr>
          <p:sp>
            <p:nvSpPr>
              <p:cNvPr id="1670" name="Vrije vorm: vorm 1669">
                <a:extLst>
                  <a:ext uri="{FF2B5EF4-FFF2-40B4-BE49-F238E27FC236}">
                    <a16:creationId xmlns:a16="http://schemas.microsoft.com/office/drawing/2014/main" id="{8A4C8411-77AD-71EE-8571-6702805095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71" name="Vrije vorm: vorm 1670">
                <a:extLst>
                  <a:ext uri="{FF2B5EF4-FFF2-40B4-BE49-F238E27FC236}">
                    <a16:creationId xmlns:a16="http://schemas.microsoft.com/office/drawing/2014/main" id="{1E0B5F14-8093-582E-D4BC-2D53AA5498D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49" name="Groep 1648">
              <a:extLst>
                <a:ext uri="{FF2B5EF4-FFF2-40B4-BE49-F238E27FC236}">
                  <a16:creationId xmlns:a16="http://schemas.microsoft.com/office/drawing/2014/main" id="{C068565A-490E-555B-0BD5-BA23BCDC3A39}"/>
                </a:ext>
              </a:extLst>
            </p:cNvPr>
            <p:cNvGrpSpPr/>
            <p:nvPr/>
          </p:nvGrpSpPr>
          <p:grpSpPr>
            <a:xfrm>
              <a:off x="7778199" y="3945167"/>
              <a:ext cx="289443" cy="248100"/>
              <a:chOff x="5696016" y="3086100"/>
              <a:chExt cx="800080" cy="685799"/>
            </a:xfrm>
            <a:grpFill/>
          </p:grpSpPr>
          <p:sp>
            <p:nvSpPr>
              <p:cNvPr id="1668" name="Vrije vorm: vorm 1667">
                <a:extLst>
                  <a:ext uri="{FF2B5EF4-FFF2-40B4-BE49-F238E27FC236}">
                    <a16:creationId xmlns:a16="http://schemas.microsoft.com/office/drawing/2014/main" id="{766B607E-6544-F3EB-3039-53F36BF913C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69" name="Vrije vorm: vorm 1668">
                <a:extLst>
                  <a:ext uri="{FF2B5EF4-FFF2-40B4-BE49-F238E27FC236}">
                    <a16:creationId xmlns:a16="http://schemas.microsoft.com/office/drawing/2014/main" id="{97A6BF18-8F24-4790-BE31-95918AA6B83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50" name="Groep 1649">
              <a:extLst>
                <a:ext uri="{FF2B5EF4-FFF2-40B4-BE49-F238E27FC236}">
                  <a16:creationId xmlns:a16="http://schemas.microsoft.com/office/drawing/2014/main" id="{2FFEAD06-BA84-0173-9099-51F65C90D1B0}"/>
                </a:ext>
              </a:extLst>
            </p:cNvPr>
            <p:cNvGrpSpPr/>
            <p:nvPr/>
          </p:nvGrpSpPr>
          <p:grpSpPr>
            <a:xfrm>
              <a:off x="7133223" y="4255183"/>
              <a:ext cx="289443" cy="248100"/>
              <a:chOff x="5696016" y="3086100"/>
              <a:chExt cx="800080" cy="685799"/>
            </a:xfrm>
            <a:grpFill/>
          </p:grpSpPr>
          <p:sp>
            <p:nvSpPr>
              <p:cNvPr id="1666" name="Vrije vorm: vorm 1665">
                <a:extLst>
                  <a:ext uri="{FF2B5EF4-FFF2-40B4-BE49-F238E27FC236}">
                    <a16:creationId xmlns:a16="http://schemas.microsoft.com/office/drawing/2014/main" id="{4591CBD5-47BA-6C95-743D-4C71623B65B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67" name="Vrije vorm: vorm 1666">
                <a:extLst>
                  <a:ext uri="{FF2B5EF4-FFF2-40B4-BE49-F238E27FC236}">
                    <a16:creationId xmlns:a16="http://schemas.microsoft.com/office/drawing/2014/main" id="{2E896360-DFC4-FFA0-9D36-F0DA74CEB6E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51" name="Groep 1650">
              <a:extLst>
                <a:ext uri="{FF2B5EF4-FFF2-40B4-BE49-F238E27FC236}">
                  <a16:creationId xmlns:a16="http://schemas.microsoft.com/office/drawing/2014/main" id="{F502C641-D7EF-8B76-E0B3-E098DBB1582C}"/>
                </a:ext>
              </a:extLst>
            </p:cNvPr>
            <p:cNvGrpSpPr/>
            <p:nvPr/>
          </p:nvGrpSpPr>
          <p:grpSpPr>
            <a:xfrm>
              <a:off x="7455711" y="4255183"/>
              <a:ext cx="289443" cy="248100"/>
              <a:chOff x="5696016" y="3086100"/>
              <a:chExt cx="800080" cy="685799"/>
            </a:xfrm>
            <a:grpFill/>
          </p:grpSpPr>
          <p:sp>
            <p:nvSpPr>
              <p:cNvPr id="1664" name="Vrije vorm: vorm 1663">
                <a:extLst>
                  <a:ext uri="{FF2B5EF4-FFF2-40B4-BE49-F238E27FC236}">
                    <a16:creationId xmlns:a16="http://schemas.microsoft.com/office/drawing/2014/main" id="{D10D5041-4879-B136-3A63-E580758CD70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65" name="Vrije vorm: vorm 1664">
                <a:extLst>
                  <a:ext uri="{FF2B5EF4-FFF2-40B4-BE49-F238E27FC236}">
                    <a16:creationId xmlns:a16="http://schemas.microsoft.com/office/drawing/2014/main" id="{A22370C0-5DF9-ABA2-35EC-D80E2F4FA21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52" name="Groep 1651">
              <a:extLst>
                <a:ext uri="{FF2B5EF4-FFF2-40B4-BE49-F238E27FC236}">
                  <a16:creationId xmlns:a16="http://schemas.microsoft.com/office/drawing/2014/main" id="{E88CD420-28FE-FDB7-F0A6-E68547916ABB}"/>
                </a:ext>
              </a:extLst>
            </p:cNvPr>
            <p:cNvGrpSpPr/>
            <p:nvPr/>
          </p:nvGrpSpPr>
          <p:grpSpPr>
            <a:xfrm>
              <a:off x="7778199" y="4255183"/>
              <a:ext cx="289443" cy="248100"/>
              <a:chOff x="5696016" y="3086100"/>
              <a:chExt cx="800080" cy="685799"/>
            </a:xfrm>
            <a:grpFill/>
          </p:grpSpPr>
          <p:sp>
            <p:nvSpPr>
              <p:cNvPr id="1662" name="Vrije vorm: vorm 1661">
                <a:extLst>
                  <a:ext uri="{FF2B5EF4-FFF2-40B4-BE49-F238E27FC236}">
                    <a16:creationId xmlns:a16="http://schemas.microsoft.com/office/drawing/2014/main" id="{6089045B-B7CE-C2A8-92A8-7A20DC98EC7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63" name="Vrije vorm: vorm 1662">
                <a:extLst>
                  <a:ext uri="{FF2B5EF4-FFF2-40B4-BE49-F238E27FC236}">
                    <a16:creationId xmlns:a16="http://schemas.microsoft.com/office/drawing/2014/main" id="{DC9024C2-06B5-FD30-B69D-2972A0BE8E0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53" name="Groep 1652">
              <a:extLst>
                <a:ext uri="{FF2B5EF4-FFF2-40B4-BE49-F238E27FC236}">
                  <a16:creationId xmlns:a16="http://schemas.microsoft.com/office/drawing/2014/main" id="{8794E5D8-0ECE-CB12-AB03-A8A52425E409}"/>
                </a:ext>
              </a:extLst>
            </p:cNvPr>
            <p:cNvGrpSpPr/>
            <p:nvPr/>
          </p:nvGrpSpPr>
          <p:grpSpPr>
            <a:xfrm>
              <a:off x="7133223" y="4565200"/>
              <a:ext cx="289443" cy="248100"/>
              <a:chOff x="5696016" y="3086100"/>
              <a:chExt cx="800080" cy="685799"/>
            </a:xfrm>
            <a:grpFill/>
          </p:grpSpPr>
          <p:sp>
            <p:nvSpPr>
              <p:cNvPr id="1660" name="Vrije vorm: vorm 1659">
                <a:extLst>
                  <a:ext uri="{FF2B5EF4-FFF2-40B4-BE49-F238E27FC236}">
                    <a16:creationId xmlns:a16="http://schemas.microsoft.com/office/drawing/2014/main" id="{E0242023-1C21-71CE-023A-2DAC1EE61FA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61" name="Vrije vorm: vorm 1660">
                <a:extLst>
                  <a:ext uri="{FF2B5EF4-FFF2-40B4-BE49-F238E27FC236}">
                    <a16:creationId xmlns:a16="http://schemas.microsoft.com/office/drawing/2014/main" id="{6367E567-AB78-1535-8B26-68EAFEB49D7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54" name="Groep 1653">
              <a:extLst>
                <a:ext uri="{FF2B5EF4-FFF2-40B4-BE49-F238E27FC236}">
                  <a16:creationId xmlns:a16="http://schemas.microsoft.com/office/drawing/2014/main" id="{B0F793BA-4596-AE6B-9321-D2C2C68EC194}"/>
                </a:ext>
              </a:extLst>
            </p:cNvPr>
            <p:cNvGrpSpPr/>
            <p:nvPr/>
          </p:nvGrpSpPr>
          <p:grpSpPr>
            <a:xfrm>
              <a:off x="7455711" y="4565200"/>
              <a:ext cx="289443" cy="248100"/>
              <a:chOff x="5696016" y="3086100"/>
              <a:chExt cx="800080" cy="685799"/>
            </a:xfrm>
            <a:grpFill/>
          </p:grpSpPr>
          <p:sp>
            <p:nvSpPr>
              <p:cNvPr id="1658" name="Vrije vorm: vorm 1657">
                <a:extLst>
                  <a:ext uri="{FF2B5EF4-FFF2-40B4-BE49-F238E27FC236}">
                    <a16:creationId xmlns:a16="http://schemas.microsoft.com/office/drawing/2014/main" id="{4444857E-ED51-1882-DE6B-AF67824769F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59" name="Vrije vorm: vorm 1658">
                <a:extLst>
                  <a:ext uri="{FF2B5EF4-FFF2-40B4-BE49-F238E27FC236}">
                    <a16:creationId xmlns:a16="http://schemas.microsoft.com/office/drawing/2014/main" id="{9E79D5B4-61F6-C360-6E5E-81145C65AF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655" name="Groep 1654">
              <a:extLst>
                <a:ext uri="{FF2B5EF4-FFF2-40B4-BE49-F238E27FC236}">
                  <a16:creationId xmlns:a16="http://schemas.microsoft.com/office/drawing/2014/main" id="{F9781FEC-2AAF-191A-C9A4-C8EEE6B8167D}"/>
                </a:ext>
              </a:extLst>
            </p:cNvPr>
            <p:cNvGrpSpPr/>
            <p:nvPr/>
          </p:nvGrpSpPr>
          <p:grpSpPr>
            <a:xfrm>
              <a:off x="7778199" y="4565200"/>
              <a:ext cx="289443" cy="248100"/>
              <a:chOff x="5696016" y="3086100"/>
              <a:chExt cx="800080" cy="685799"/>
            </a:xfrm>
            <a:grpFill/>
          </p:grpSpPr>
          <p:sp>
            <p:nvSpPr>
              <p:cNvPr id="1656" name="Vrije vorm: vorm 1655">
                <a:extLst>
                  <a:ext uri="{FF2B5EF4-FFF2-40B4-BE49-F238E27FC236}">
                    <a16:creationId xmlns:a16="http://schemas.microsoft.com/office/drawing/2014/main" id="{01A828AC-F85B-6141-2052-97927C37A8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657" name="Vrije vorm: vorm 1656">
                <a:extLst>
                  <a:ext uri="{FF2B5EF4-FFF2-40B4-BE49-F238E27FC236}">
                    <a16:creationId xmlns:a16="http://schemas.microsoft.com/office/drawing/2014/main" id="{61C8F5FE-F7A4-0868-B273-13C343D39A5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740" name="Groep 1739">
            <a:extLst>
              <a:ext uri="{FF2B5EF4-FFF2-40B4-BE49-F238E27FC236}">
                <a16:creationId xmlns:a16="http://schemas.microsoft.com/office/drawing/2014/main" id="{DA25183E-9D84-9618-9BCC-F8BCCCA02AD8}"/>
              </a:ext>
            </a:extLst>
          </p:cNvPr>
          <p:cNvGrpSpPr/>
          <p:nvPr/>
        </p:nvGrpSpPr>
        <p:grpSpPr>
          <a:xfrm>
            <a:off x="2475843" y="2036154"/>
            <a:ext cx="763072" cy="3473127"/>
            <a:chOff x="7133223" y="533400"/>
            <a:chExt cx="940327" cy="4279900"/>
          </a:xfrm>
          <a:solidFill>
            <a:schemeClr val="accent2"/>
          </a:solidFill>
        </p:grpSpPr>
        <p:grpSp>
          <p:nvGrpSpPr>
            <p:cNvPr id="1741" name="Groep 1740">
              <a:extLst>
                <a:ext uri="{FF2B5EF4-FFF2-40B4-BE49-F238E27FC236}">
                  <a16:creationId xmlns:a16="http://schemas.microsoft.com/office/drawing/2014/main" id="{82DB152E-9485-1D79-FDE0-0A018152C372}"/>
                </a:ext>
              </a:extLst>
            </p:cNvPr>
            <p:cNvGrpSpPr/>
            <p:nvPr/>
          </p:nvGrpSpPr>
          <p:grpSpPr>
            <a:xfrm>
              <a:off x="7139131" y="533400"/>
              <a:ext cx="289443" cy="248100"/>
              <a:chOff x="5696016" y="3086100"/>
              <a:chExt cx="800080" cy="685799"/>
            </a:xfrm>
            <a:grpFill/>
          </p:grpSpPr>
          <p:sp>
            <p:nvSpPr>
              <p:cNvPr id="1865" name="Vrije vorm: vorm 1864">
                <a:extLst>
                  <a:ext uri="{FF2B5EF4-FFF2-40B4-BE49-F238E27FC236}">
                    <a16:creationId xmlns:a16="http://schemas.microsoft.com/office/drawing/2014/main" id="{15152E99-D2CD-D056-1D70-A1CC98B43D0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66" name="Vrije vorm: vorm 1865">
                <a:extLst>
                  <a:ext uri="{FF2B5EF4-FFF2-40B4-BE49-F238E27FC236}">
                    <a16:creationId xmlns:a16="http://schemas.microsoft.com/office/drawing/2014/main" id="{E58DB0ED-999D-3040-1EAD-436EACCAB9E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2" name="Groep 1741">
              <a:extLst>
                <a:ext uri="{FF2B5EF4-FFF2-40B4-BE49-F238E27FC236}">
                  <a16:creationId xmlns:a16="http://schemas.microsoft.com/office/drawing/2014/main" id="{7A124277-1577-35D5-08C4-3E5E6A529B15}"/>
                </a:ext>
              </a:extLst>
            </p:cNvPr>
            <p:cNvGrpSpPr/>
            <p:nvPr/>
          </p:nvGrpSpPr>
          <p:grpSpPr>
            <a:xfrm>
              <a:off x="7461619" y="533400"/>
              <a:ext cx="289443" cy="248100"/>
              <a:chOff x="5696016" y="3086100"/>
              <a:chExt cx="800080" cy="685799"/>
            </a:xfrm>
            <a:grpFill/>
          </p:grpSpPr>
          <p:sp>
            <p:nvSpPr>
              <p:cNvPr id="1863" name="Vrije vorm: vorm 1862">
                <a:extLst>
                  <a:ext uri="{FF2B5EF4-FFF2-40B4-BE49-F238E27FC236}">
                    <a16:creationId xmlns:a16="http://schemas.microsoft.com/office/drawing/2014/main" id="{092AA890-CF5B-4E97-EBD6-2A943A70B0A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64" name="Vrije vorm: vorm 1863">
                <a:extLst>
                  <a:ext uri="{FF2B5EF4-FFF2-40B4-BE49-F238E27FC236}">
                    <a16:creationId xmlns:a16="http://schemas.microsoft.com/office/drawing/2014/main" id="{351B62D4-E349-3296-8F74-69DC26CE79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3" name="Groep 1742">
              <a:extLst>
                <a:ext uri="{FF2B5EF4-FFF2-40B4-BE49-F238E27FC236}">
                  <a16:creationId xmlns:a16="http://schemas.microsoft.com/office/drawing/2014/main" id="{90BE0AF3-8C5D-335C-85F7-C296E86EC896}"/>
                </a:ext>
              </a:extLst>
            </p:cNvPr>
            <p:cNvGrpSpPr/>
            <p:nvPr/>
          </p:nvGrpSpPr>
          <p:grpSpPr>
            <a:xfrm>
              <a:off x="7784107" y="533400"/>
              <a:ext cx="289443" cy="248100"/>
              <a:chOff x="5696016" y="3086100"/>
              <a:chExt cx="800080" cy="685799"/>
            </a:xfrm>
            <a:grpFill/>
          </p:grpSpPr>
          <p:sp>
            <p:nvSpPr>
              <p:cNvPr id="1861" name="Vrije vorm: vorm 1860">
                <a:extLst>
                  <a:ext uri="{FF2B5EF4-FFF2-40B4-BE49-F238E27FC236}">
                    <a16:creationId xmlns:a16="http://schemas.microsoft.com/office/drawing/2014/main" id="{887E7F85-59B8-E843-1DC9-6FAAB15C0E6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62" name="Vrije vorm: vorm 1861">
                <a:extLst>
                  <a:ext uri="{FF2B5EF4-FFF2-40B4-BE49-F238E27FC236}">
                    <a16:creationId xmlns:a16="http://schemas.microsoft.com/office/drawing/2014/main" id="{883ADEC4-FBC0-1DE9-814F-1597FA8616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4" name="Groep 1743">
              <a:extLst>
                <a:ext uri="{FF2B5EF4-FFF2-40B4-BE49-F238E27FC236}">
                  <a16:creationId xmlns:a16="http://schemas.microsoft.com/office/drawing/2014/main" id="{8F04EFBC-C2F6-E2FD-1EC5-2F10CDEE8553}"/>
                </a:ext>
              </a:extLst>
            </p:cNvPr>
            <p:cNvGrpSpPr/>
            <p:nvPr/>
          </p:nvGrpSpPr>
          <p:grpSpPr>
            <a:xfrm>
              <a:off x="7139131" y="843417"/>
              <a:ext cx="289443" cy="248100"/>
              <a:chOff x="5696016" y="3086100"/>
              <a:chExt cx="800080" cy="685799"/>
            </a:xfrm>
            <a:grpFill/>
          </p:grpSpPr>
          <p:sp>
            <p:nvSpPr>
              <p:cNvPr id="1859" name="Vrije vorm: vorm 1858">
                <a:extLst>
                  <a:ext uri="{FF2B5EF4-FFF2-40B4-BE49-F238E27FC236}">
                    <a16:creationId xmlns:a16="http://schemas.microsoft.com/office/drawing/2014/main" id="{806EDC81-6010-289C-B26E-A8983CA38F0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60" name="Vrije vorm: vorm 1859">
                <a:extLst>
                  <a:ext uri="{FF2B5EF4-FFF2-40B4-BE49-F238E27FC236}">
                    <a16:creationId xmlns:a16="http://schemas.microsoft.com/office/drawing/2014/main" id="{D25DFF3F-1457-9105-C87F-9A1E1AF433E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5" name="Groep 1744">
              <a:extLst>
                <a:ext uri="{FF2B5EF4-FFF2-40B4-BE49-F238E27FC236}">
                  <a16:creationId xmlns:a16="http://schemas.microsoft.com/office/drawing/2014/main" id="{5CD4190E-51F1-7B6E-3F80-C6970C091B2F}"/>
                </a:ext>
              </a:extLst>
            </p:cNvPr>
            <p:cNvGrpSpPr/>
            <p:nvPr/>
          </p:nvGrpSpPr>
          <p:grpSpPr>
            <a:xfrm>
              <a:off x="7461619" y="843417"/>
              <a:ext cx="289443" cy="248100"/>
              <a:chOff x="5696016" y="3086100"/>
              <a:chExt cx="800080" cy="685799"/>
            </a:xfrm>
            <a:grpFill/>
          </p:grpSpPr>
          <p:sp>
            <p:nvSpPr>
              <p:cNvPr id="1857" name="Vrije vorm: vorm 1856">
                <a:extLst>
                  <a:ext uri="{FF2B5EF4-FFF2-40B4-BE49-F238E27FC236}">
                    <a16:creationId xmlns:a16="http://schemas.microsoft.com/office/drawing/2014/main" id="{925B613E-72DB-72C1-0FE8-D63BAB9DC3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58" name="Vrije vorm: vorm 1857">
                <a:extLst>
                  <a:ext uri="{FF2B5EF4-FFF2-40B4-BE49-F238E27FC236}">
                    <a16:creationId xmlns:a16="http://schemas.microsoft.com/office/drawing/2014/main" id="{8ADCE1E6-D0FE-0F2D-C5A3-F52386D2D9E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6" name="Groep 1745">
              <a:extLst>
                <a:ext uri="{FF2B5EF4-FFF2-40B4-BE49-F238E27FC236}">
                  <a16:creationId xmlns:a16="http://schemas.microsoft.com/office/drawing/2014/main" id="{18C8D75B-7622-0060-956C-1CF886C53D99}"/>
                </a:ext>
              </a:extLst>
            </p:cNvPr>
            <p:cNvGrpSpPr/>
            <p:nvPr/>
          </p:nvGrpSpPr>
          <p:grpSpPr>
            <a:xfrm>
              <a:off x="7784107" y="843417"/>
              <a:ext cx="289443" cy="248100"/>
              <a:chOff x="5696016" y="3086100"/>
              <a:chExt cx="800080" cy="685799"/>
            </a:xfrm>
            <a:grpFill/>
          </p:grpSpPr>
          <p:sp>
            <p:nvSpPr>
              <p:cNvPr id="1855" name="Vrije vorm: vorm 1854">
                <a:extLst>
                  <a:ext uri="{FF2B5EF4-FFF2-40B4-BE49-F238E27FC236}">
                    <a16:creationId xmlns:a16="http://schemas.microsoft.com/office/drawing/2014/main" id="{E954D69A-A85D-0017-E47B-EAD0D6B7D1B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56" name="Vrije vorm: vorm 1855">
                <a:extLst>
                  <a:ext uri="{FF2B5EF4-FFF2-40B4-BE49-F238E27FC236}">
                    <a16:creationId xmlns:a16="http://schemas.microsoft.com/office/drawing/2014/main" id="{8980D42A-69E2-0C7C-C654-4620ABD1CAB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7" name="Groep 1746">
              <a:extLst>
                <a:ext uri="{FF2B5EF4-FFF2-40B4-BE49-F238E27FC236}">
                  <a16:creationId xmlns:a16="http://schemas.microsoft.com/office/drawing/2014/main" id="{232999BA-8AB3-F19D-875C-47D4285DFE1A}"/>
                </a:ext>
              </a:extLst>
            </p:cNvPr>
            <p:cNvGrpSpPr/>
            <p:nvPr/>
          </p:nvGrpSpPr>
          <p:grpSpPr>
            <a:xfrm>
              <a:off x="7139131" y="1153435"/>
              <a:ext cx="289443" cy="248100"/>
              <a:chOff x="5696016" y="3086100"/>
              <a:chExt cx="800080" cy="685799"/>
            </a:xfrm>
            <a:grpFill/>
          </p:grpSpPr>
          <p:sp>
            <p:nvSpPr>
              <p:cNvPr id="1853" name="Vrije vorm: vorm 1852">
                <a:extLst>
                  <a:ext uri="{FF2B5EF4-FFF2-40B4-BE49-F238E27FC236}">
                    <a16:creationId xmlns:a16="http://schemas.microsoft.com/office/drawing/2014/main" id="{6820547E-035C-DF73-3C2D-4D4C02849BB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54" name="Vrije vorm: vorm 1853">
                <a:extLst>
                  <a:ext uri="{FF2B5EF4-FFF2-40B4-BE49-F238E27FC236}">
                    <a16:creationId xmlns:a16="http://schemas.microsoft.com/office/drawing/2014/main" id="{C4FD4B48-1DE1-BB93-DBB5-86549AF0BF1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8" name="Groep 1747">
              <a:extLst>
                <a:ext uri="{FF2B5EF4-FFF2-40B4-BE49-F238E27FC236}">
                  <a16:creationId xmlns:a16="http://schemas.microsoft.com/office/drawing/2014/main" id="{16C4E756-81FD-97F9-60FF-F0E0073137C4}"/>
                </a:ext>
              </a:extLst>
            </p:cNvPr>
            <p:cNvGrpSpPr/>
            <p:nvPr/>
          </p:nvGrpSpPr>
          <p:grpSpPr>
            <a:xfrm>
              <a:off x="7461619" y="1153435"/>
              <a:ext cx="289443" cy="248100"/>
              <a:chOff x="5696016" y="3086100"/>
              <a:chExt cx="800080" cy="685799"/>
            </a:xfrm>
            <a:grpFill/>
          </p:grpSpPr>
          <p:sp>
            <p:nvSpPr>
              <p:cNvPr id="1851" name="Vrije vorm: vorm 1850">
                <a:extLst>
                  <a:ext uri="{FF2B5EF4-FFF2-40B4-BE49-F238E27FC236}">
                    <a16:creationId xmlns:a16="http://schemas.microsoft.com/office/drawing/2014/main" id="{ADBB6480-319A-DABC-E213-3FA6B0981C8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52" name="Vrije vorm: vorm 1851">
                <a:extLst>
                  <a:ext uri="{FF2B5EF4-FFF2-40B4-BE49-F238E27FC236}">
                    <a16:creationId xmlns:a16="http://schemas.microsoft.com/office/drawing/2014/main" id="{75084C59-C4EE-0EBA-14E4-335760EA061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49" name="Groep 1748">
              <a:extLst>
                <a:ext uri="{FF2B5EF4-FFF2-40B4-BE49-F238E27FC236}">
                  <a16:creationId xmlns:a16="http://schemas.microsoft.com/office/drawing/2014/main" id="{37492237-DF5F-B843-5145-3AA37DD64B63}"/>
                </a:ext>
              </a:extLst>
            </p:cNvPr>
            <p:cNvGrpSpPr/>
            <p:nvPr/>
          </p:nvGrpSpPr>
          <p:grpSpPr>
            <a:xfrm>
              <a:off x="7784107" y="1153435"/>
              <a:ext cx="289443" cy="248100"/>
              <a:chOff x="5696016" y="3086100"/>
              <a:chExt cx="800080" cy="685799"/>
            </a:xfrm>
            <a:grpFill/>
          </p:grpSpPr>
          <p:sp>
            <p:nvSpPr>
              <p:cNvPr id="1849" name="Vrije vorm: vorm 1848">
                <a:extLst>
                  <a:ext uri="{FF2B5EF4-FFF2-40B4-BE49-F238E27FC236}">
                    <a16:creationId xmlns:a16="http://schemas.microsoft.com/office/drawing/2014/main" id="{8BE277F0-B84C-30A0-3B10-9FC610A8813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50" name="Vrije vorm: vorm 1849">
                <a:extLst>
                  <a:ext uri="{FF2B5EF4-FFF2-40B4-BE49-F238E27FC236}">
                    <a16:creationId xmlns:a16="http://schemas.microsoft.com/office/drawing/2014/main" id="{C70F5EFA-4AFF-F2A2-40EE-1754DC0E272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0" name="Groep 1749">
              <a:extLst>
                <a:ext uri="{FF2B5EF4-FFF2-40B4-BE49-F238E27FC236}">
                  <a16:creationId xmlns:a16="http://schemas.microsoft.com/office/drawing/2014/main" id="{DB61A41A-1DDD-C3C4-A519-86FD77E80922}"/>
                </a:ext>
              </a:extLst>
            </p:cNvPr>
            <p:cNvGrpSpPr/>
            <p:nvPr/>
          </p:nvGrpSpPr>
          <p:grpSpPr>
            <a:xfrm>
              <a:off x="7139131" y="1463451"/>
              <a:ext cx="289443" cy="248100"/>
              <a:chOff x="5696016" y="3086100"/>
              <a:chExt cx="800080" cy="685799"/>
            </a:xfrm>
            <a:grpFill/>
          </p:grpSpPr>
          <p:sp>
            <p:nvSpPr>
              <p:cNvPr id="1847" name="Vrije vorm: vorm 1846">
                <a:extLst>
                  <a:ext uri="{FF2B5EF4-FFF2-40B4-BE49-F238E27FC236}">
                    <a16:creationId xmlns:a16="http://schemas.microsoft.com/office/drawing/2014/main" id="{21E95682-0D0A-D529-72DC-02ABF4C7BFF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48" name="Vrije vorm: vorm 1847">
                <a:extLst>
                  <a:ext uri="{FF2B5EF4-FFF2-40B4-BE49-F238E27FC236}">
                    <a16:creationId xmlns:a16="http://schemas.microsoft.com/office/drawing/2014/main" id="{ECE02070-3685-A86F-748A-0EB3BF90D8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1" name="Groep 1750">
              <a:extLst>
                <a:ext uri="{FF2B5EF4-FFF2-40B4-BE49-F238E27FC236}">
                  <a16:creationId xmlns:a16="http://schemas.microsoft.com/office/drawing/2014/main" id="{12ACBE85-1A3A-4899-D08A-377C06B455E4}"/>
                </a:ext>
              </a:extLst>
            </p:cNvPr>
            <p:cNvGrpSpPr/>
            <p:nvPr/>
          </p:nvGrpSpPr>
          <p:grpSpPr>
            <a:xfrm>
              <a:off x="7461619" y="1463451"/>
              <a:ext cx="289443" cy="248100"/>
              <a:chOff x="5696016" y="3086100"/>
              <a:chExt cx="800080" cy="685799"/>
            </a:xfrm>
            <a:grpFill/>
          </p:grpSpPr>
          <p:sp>
            <p:nvSpPr>
              <p:cNvPr id="1845" name="Vrije vorm: vorm 1844">
                <a:extLst>
                  <a:ext uri="{FF2B5EF4-FFF2-40B4-BE49-F238E27FC236}">
                    <a16:creationId xmlns:a16="http://schemas.microsoft.com/office/drawing/2014/main" id="{44F33FFC-3059-2BF6-BB3F-7E6A0D483AE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46" name="Vrije vorm: vorm 1845">
                <a:extLst>
                  <a:ext uri="{FF2B5EF4-FFF2-40B4-BE49-F238E27FC236}">
                    <a16:creationId xmlns:a16="http://schemas.microsoft.com/office/drawing/2014/main" id="{080AD8BD-43B1-489F-D964-07D7E5C4355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2" name="Groep 1751">
              <a:extLst>
                <a:ext uri="{FF2B5EF4-FFF2-40B4-BE49-F238E27FC236}">
                  <a16:creationId xmlns:a16="http://schemas.microsoft.com/office/drawing/2014/main" id="{9EEC4099-D150-CFDA-AA71-60A76D459C18}"/>
                </a:ext>
              </a:extLst>
            </p:cNvPr>
            <p:cNvGrpSpPr/>
            <p:nvPr/>
          </p:nvGrpSpPr>
          <p:grpSpPr>
            <a:xfrm>
              <a:off x="7784107" y="1463451"/>
              <a:ext cx="289443" cy="248100"/>
              <a:chOff x="5696016" y="3086100"/>
              <a:chExt cx="800080" cy="685799"/>
            </a:xfrm>
            <a:grpFill/>
          </p:grpSpPr>
          <p:sp>
            <p:nvSpPr>
              <p:cNvPr id="1843" name="Vrije vorm: vorm 1842">
                <a:extLst>
                  <a:ext uri="{FF2B5EF4-FFF2-40B4-BE49-F238E27FC236}">
                    <a16:creationId xmlns:a16="http://schemas.microsoft.com/office/drawing/2014/main" id="{617AF5AD-53FD-2723-8184-4FE4396C92B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44" name="Vrije vorm: vorm 1843">
                <a:extLst>
                  <a:ext uri="{FF2B5EF4-FFF2-40B4-BE49-F238E27FC236}">
                    <a16:creationId xmlns:a16="http://schemas.microsoft.com/office/drawing/2014/main" id="{A0DBE12F-CD26-27F2-1295-6A9C306A351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3" name="Groep 1752">
              <a:extLst>
                <a:ext uri="{FF2B5EF4-FFF2-40B4-BE49-F238E27FC236}">
                  <a16:creationId xmlns:a16="http://schemas.microsoft.com/office/drawing/2014/main" id="{2407E27F-EC4B-514F-78DD-B1755FFBDA62}"/>
                </a:ext>
              </a:extLst>
            </p:cNvPr>
            <p:cNvGrpSpPr/>
            <p:nvPr/>
          </p:nvGrpSpPr>
          <p:grpSpPr>
            <a:xfrm>
              <a:off x="7139131" y="1773467"/>
              <a:ext cx="289443" cy="248100"/>
              <a:chOff x="5696016" y="3086100"/>
              <a:chExt cx="800080" cy="685799"/>
            </a:xfrm>
            <a:grpFill/>
          </p:grpSpPr>
          <p:sp>
            <p:nvSpPr>
              <p:cNvPr id="1841" name="Vrije vorm: vorm 1840">
                <a:extLst>
                  <a:ext uri="{FF2B5EF4-FFF2-40B4-BE49-F238E27FC236}">
                    <a16:creationId xmlns:a16="http://schemas.microsoft.com/office/drawing/2014/main" id="{01DA72BF-181A-F0A5-27D3-82E4073762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42" name="Vrije vorm: vorm 1841">
                <a:extLst>
                  <a:ext uri="{FF2B5EF4-FFF2-40B4-BE49-F238E27FC236}">
                    <a16:creationId xmlns:a16="http://schemas.microsoft.com/office/drawing/2014/main" id="{3F27A704-4013-1E8B-0783-68DCBD3EB7D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4" name="Groep 1753">
              <a:extLst>
                <a:ext uri="{FF2B5EF4-FFF2-40B4-BE49-F238E27FC236}">
                  <a16:creationId xmlns:a16="http://schemas.microsoft.com/office/drawing/2014/main" id="{E68F1EC4-D298-85F7-62BF-A695E20D1C33}"/>
                </a:ext>
              </a:extLst>
            </p:cNvPr>
            <p:cNvGrpSpPr/>
            <p:nvPr/>
          </p:nvGrpSpPr>
          <p:grpSpPr>
            <a:xfrm>
              <a:off x="7461619" y="1773467"/>
              <a:ext cx="289443" cy="248100"/>
              <a:chOff x="5696016" y="3086100"/>
              <a:chExt cx="800080" cy="685799"/>
            </a:xfrm>
            <a:grpFill/>
          </p:grpSpPr>
          <p:sp>
            <p:nvSpPr>
              <p:cNvPr id="1839" name="Vrije vorm: vorm 1838">
                <a:extLst>
                  <a:ext uri="{FF2B5EF4-FFF2-40B4-BE49-F238E27FC236}">
                    <a16:creationId xmlns:a16="http://schemas.microsoft.com/office/drawing/2014/main" id="{11A4D069-DB51-3987-7416-8FF06F9C18C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40" name="Vrije vorm: vorm 1839">
                <a:extLst>
                  <a:ext uri="{FF2B5EF4-FFF2-40B4-BE49-F238E27FC236}">
                    <a16:creationId xmlns:a16="http://schemas.microsoft.com/office/drawing/2014/main" id="{9518C09E-EDD9-0466-CD08-6A1D32F754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5" name="Groep 1754">
              <a:extLst>
                <a:ext uri="{FF2B5EF4-FFF2-40B4-BE49-F238E27FC236}">
                  <a16:creationId xmlns:a16="http://schemas.microsoft.com/office/drawing/2014/main" id="{23A43F74-2218-C491-3395-87F5C1A0FD8B}"/>
                </a:ext>
              </a:extLst>
            </p:cNvPr>
            <p:cNvGrpSpPr/>
            <p:nvPr/>
          </p:nvGrpSpPr>
          <p:grpSpPr>
            <a:xfrm>
              <a:off x="7784107" y="1773467"/>
              <a:ext cx="289443" cy="248100"/>
              <a:chOff x="5696016" y="3086100"/>
              <a:chExt cx="800080" cy="685799"/>
            </a:xfrm>
            <a:grpFill/>
          </p:grpSpPr>
          <p:sp>
            <p:nvSpPr>
              <p:cNvPr id="1837" name="Vrije vorm: vorm 1836">
                <a:extLst>
                  <a:ext uri="{FF2B5EF4-FFF2-40B4-BE49-F238E27FC236}">
                    <a16:creationId xmlns:a16="http://schemas.microsoft.com/office/drawing/2014/main" id="{4CF55F6F-FDB6-4ADC-D70A-05C9D72CAAC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38" name="Vrije vorm: vorm 1837">
                <a:extLst>
                  <a:ext uri="{FF2B5EF4-FFF2-40B4-BE49-F238E27FC236}">
                    <a16:creationId xmlns:a16="http://schemas.microsoft.com/office/drawing/2014/main" id="{18A9934C-29A9-BFC5-7788-1BB22599EC2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6" name="Groep 1755">
              <a:extLst>
                <a:ext uri="{FF2B5EF4-FFF2-40B4-BE49-F238E27FC236}">
                  <a16:creationId xmlns:a16="http://schemas.microsoft.com/office/drawing/2014/main" id="{B2C6CD83-C7E9-B6F7-2370-1ACFD3E5FE5F}"/>
                </a:ext>
              </a:extLst>
            </p:cNvPr>
            <p:cNvGrpSpPr/>
            <p:nvPr/>
          </p:nvGrpSpPr>
          <p:grpSpPr>
            <a:xfrm>
              <a:off x="7139131" y="2083483"/>
              <a:ext cx="289443" cy="248100"/>
              <a:chOff x="5696016" y="3086100"/>
              <a:chExt cx="800080" cy="685799"/>
            </a:xfrm>
            <a:grpFill/>
          </p:grpSpPr>
          <p:sp>
            <p:nvSpPr>
              <p:cNvPr id="1835" name="Vrije vorm: vorm 1834">
                <a:extLst>
                  <a:ext uri="{FF2B5EF4-FFF2-40B4-BE49-F238E27FC236}">
                    <a16:creationId xmlns:a16="http://schemas.microsoft.com/office/drawing/2014/main" id="{489BBA7F-2BBF-605C-EB9F-8B251B90F4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36" name="Vrije vorm: vorm 1835">
                <a:extLst>
                  <a:ext uri="{FF2B5EF4-FFF2-40B4-BE49-F238E27FC236}">
                    <a16:creationId xmlns:a16="http://schemas.microsoft.com/office/drawing/2014/main" id="{B832238F-2BBC-B611-FA73-42E3027F373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7" name="Groep 1756">
              <a:extLst>
                <a:ext uri="{FF2B5EF4-FFF2-40B4-BE49-F238E27FC236}">
                  <a16:creationId xmlns:a16="http://schemas.microsoft.com/office/drawing/2014/main" id="{C9240511-16CE-7621-B470-AD4B611DF4FC}"/>
                </a:ext>
              </a:extLst>
            </p:cNvPr>
            <p:cNvGrpSpPr/>
            <p:nvPr/>
          </p:nvGrpSpPr>
          <p:grpSpPr>
            <a:xfrm>
              <a:off x="7461619" y="2083483"/>
              <a:ext cx="289443" cy="248100"/>
              <a:chOff x="5696016" y="3086100"/>
              <a:chExt cx="800080" cy="685799"/>
            </a:xfrm>
            <a:grpFill/>
          </p:grpSpPr>
          <p:sp>
            <p:nvSpPr>
              <p:cNvPr id="1833" name="Vrije vorm: vorm 1832">
                <a:extLst>
                  <a:ext uri="{FF2B5EF4-FFF2-40B4-BE49-F238E27FC236}">
                    <a16:creationId xmlns:a16="http://schemas.microsoft.com/office/drawing/2014/main" id="{7D4130A1-FB01-23BE-A0F0-CD96CD5CE1E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34" name="Vrije vorm: vorm 1833">
                <a:extLst>
                  <a:ext uri="{FF2B5EF4-FFF2-40B4-BE49-F238E27FC236}">
                    <a16:creationId xmlns:a16="http://schemas.microsoft.com/office/drawing/2014/main" id="{FE34C032-5577-DD49-B98F-AA38EF4121C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8" name="Groep 1757">
              <a:extLst>
                <a:ext uri="{FF2B5EF4-FFF2-40B4-BE49-F238E27FC236}">
                  <a16:creationId xmlns:a16="http://schemas.microsoft.com/office/drawing/2014/main" id="{095D99B1-A510-3E08-5946-6CE0A01B0D7F}"/>
                </a:ext>
              </a:extLst>
            </p:cNvPr>
            <p:cNvGrpSpPr/>
            <p:nvPr/>
          </p:nvGrpSpPr>
          <p:grpSpPr>
            <a:xfrm>
              <a:off x="7784107" y="2083483"/>
              <a:ext cx="289443" cy="248100"/>
              <a:chOff x="5696016" y="3086100"/>
              <a:chExt cx="800080" cy="685799"/>
            </a:xfrm>
            <a:grpFill/>
          </p:grpSpPr>
          <p:sp>
            <p:nvSpPr>
              <p:cNvPr id="1831" name="Vrije vorm: vorm 1830">
                <a:extLst>
                  <a:ext uri="{FF2B5EF4-FFF2-40B4-BE49-F238E27FC236}">
                    <a16:creationId xmlns:a16="http://schemas.microsoft.com/office/drawing/2014/main" id="{A6C8CB48-0F02-94DE-0DD7-62DD5DDF494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32" name="Vrije vorm: vorm 1831">
                <a:extLst>
                  <a:ext uri="{FF2B5EF4-FFF2-40B4-BE49-F238E27FC236}">
                    <a16:creationId xmlns:a16="http://schemas.microsoft.com/office/drawing/2014/main" id="{FD97E10A-93D6-57A1-F522-C31F229204A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59" name="Groep 1758">
              <a:extLst>
                <a:ext uri="{FF2B5EF4-FFF2-40B4-BE49-F238E27FC236}">
                  <a16:creationId xmlns:a16="http://schemas.microsoft.com/office/drawing/2014/main" id="{346FB8CA-99D1-4E7F-5469-1AF1BF76C81F}"/>
                </a:ext>
              </a:extLst>
            </p:cNvPr>
            <p:cNvGrpSpPr/>
            <p:nvPr/>
          </p:nvGrpSpPr>
          <p:grpSpPr>
            <a:xfrm>
              <a:off x="7139131" y="2393500"/>
              <a:ext cx="289443" cy="248100"/>
              <a:chOff x="5696016" y="3086100"/>
              <a:chExt cx="800080" cy="685799"/>
            </a:xfrm>
            <a:grpFill/>
          </p:grpSpPr>
          <p:sp>
            <p:nvSpPr>
              <p:cNvPr id="1829" name="Vrije vorm: vorm 1828">
                <a:extLst>
                  <a:ext uri="{FF2B5EF4-FFF2-40B4-BE49-F238E27FC236}">
                    <a16:creationId xmlns:a16="http://schemas.microsoft.com/office/drawing/2014/main" id="{E0DCBAFF-6403-8D00-1E1F-B6E9A6E1D6F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30" name="Vrije vorm: vorm 1829">
                <a:extLst>
                  <a:ext uri="{FF2B5EF4-FFF2-40B4-BE49-F238E27FC236}">
                    <a16:creationId xmlns:a16="http://schemas.microsoft.com/office/drawing/2014/main" id="{A290F8B5-7362-7027-A6FD-96CC36A5B1D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0" name="Groep 1759">
              <a:extLst>
                <a:ext uri="{FF2B5EF4-FFF2-40B4-BE49-F238E27FC236}">
                  <a16:creationId xmlns:a16="http://schemas.microsoft.com/office/drawing/2014/main" id="{A069D69F-C03F-202E-E4C6-546A94F328C9}"/>
                </a:ext>
              </a:extLst>
            </p:cNvPr>
            <p:cNvGrpSpPr/>
            <p:nvPr/>
          </p:nvGrpSpPr>
          <p:grpSpPr>
            <a:xfrm>
              <a:off x="7461619" y="2393500"/>
              <a:ext cx="289443" cy="248100"/>
              <a:chOff x="5696016" y="3086100"/>
              <a:chExt cx="800080" cy="685799"/>
            </a:xfrm>
            <a:grpFill/>
          </p:grpSpPr>
          <p:sp>
            <p:nvSpPr>
              <p:cNvPr id="1827" name="Vrije vorm: vorm 1826">
                <a:extLst>
                  <a:ext uri="{FF2B5EF4-FFF2-40B4-BE49-F238E27FC236}">
                    <a16:creationId xmlns:a16="http://schemas.microsoft.com/office/drawing/2014/main" id="{5C3C5037-A048-CFAC-5240-C2797BF4956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28" name="Vrije vorm: vorm 1827">
                <a:extLst>
                  <a:ext uri="{FF2B5EF4-FFF2-40B4-BE49-F238E27FC236}">
                    <a16:creationId xmlns:a16="http://schemas.microsoft.com/office/drawing/2014/main" id="{FBAEF059-76F8-5072-418D-7C455E7B39F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1" name="Groep 1760">
              <a:extLst>
                <a:ext uri="{FF2B5EF4-FFF2-40B4-BE49-F238E27FC236}">
                  <a16:creationId xmlns:a16="http://schemas.microsoft.com/office/drawing/2014/main" id="{4CBA885B-2E1B-0BC7-D03A-06B373A623F8}"/>
                </a:ext>
              </a:extLst>
            </p:cNvPr>
            <p:cNvGrpSpPr/>
            <p:nvPr/>
          </p:nvGrpSpPr>
          <p:grpSpPr>
            <a:xfrm>
              <a:off x="7784107" y="2393500"/>
              <a:ext cx="289443" cy="248100"/>
              <a:chOff x="5696016" y="3086100"/>
              <a:chExt cx="800080" cy="685799"/>
            </a:xfrm>
            <a:grpFill/>
          </p:grpSpPr>
          <p:sp>
            <p:nvSpPr>
              <p:cNvPr id="1825" name="Vrije vorm: vorm 1824">
                <a:extLst>
                  <a:ext uri="{FF2B5EF4-FFF2-40B4-BE49-F238E27FC236}">
                    <a16:creationId xmlns:a16="http://schemas.microsoft.com/office/drawing/2014/main" id="{AA4D4A21-E5C3-600B-11E0-14935CB61C2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26" name="Vrije vorm: vorm 1825">
                <a:extLst>
                  <a:ext uri="{FF2B5EF4-FFF2-40B4-BE49-F238E27FC236}">
                    <a16:creationId xmlns:a16="http://schemas.microsoft.com/office/drawing/2014/main" id="{1D81A6FF-4D7C-E21D-3906-9B7D0750D3F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2" name="Groep 1761">
              <a:extLst>
                <a:ext uri="{FF2B5EF4-FFF2-40B4-BE49-F238E27FC236}">
                  <a16:creationId xmlns:a16="http://schemas.microsoft.com/office/drawing/2014/main" id="{0A9D525A-2E9D-DFCB-2019-B060B4067E9B}"/>
                </a:ext>
              </a:extLst>
            </p:cNvPr>
            <p:cNvGrpSpPr/>
            <p:nvPr/>
          </p:nvGrpSpPr>
          <p:grpSpPr>
            <a:xfrm>
              <a:off x="7133223" y="2705100"/>
              <a:ext cx="289443" cy="248100"/>
              <a:chOff x="5696016" y="3086100"/>
              <a:chExt cx="800080" cy="685799"/>
            </a:xfrm>
            <a:grpFill/>
          </p:grpSpPr>
          <p:sp>
            <p:nvSpPr>
              <p:cNvPr id="1823" name="Vrije vorm: vorm 1822">
                <a:extLst>
                  <a:ext uri="{FF2B5EF4-FFF2-40B4-BE49-F238E27FC236}">
                    <a16:creationId xmlns:a16="http://schemas.microsoft.com/office/drawing/2014/main" id="{C5BC6DAE-78C7-B30D-78AB-21D8A5C4C6D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24" name="Vrije vorm: vorm 1823">
                <a:extLst>
                  <a:ext uri="{FF2B5EF4-FFF2-40B4-BE49-F238E27FC236}">
                    <a16:creationId xmlns:a16="http://schemas.microsoft.com/office/drawing/2014/main" id="{91C14387-D16F-7DFC-5C28-5AFCB84D76C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3" name="Groep 1762">
              <a:extLst>
                <a:ext uri="{FF2B5EF4-FFF2-40B4-BE49-F238E27FC236}">
                  <a16:creationId xmlns:a16="http://schemas.microsoft.com/office/drawing/2014/main" id="{372BECAE-D060-3CAD-D7C8-D911E7480A68}"/>
                </a:ext>
              </a:extLst>
            </p:cNvPr>
            <p:cNvGrpSpPr/>
            <p:nvPr/>
          </p:nvGrpSpPr>
          <p:grpSpPr>
            <a:xfrm>
              <a:off x="7455711" y="2705100"/>
              <a:ext cx="289443" cy="248100"/>
              <a:chOff x="5696016" y="3086100"/>
              <a:chExt cx="800080" cy="685799"/>
            </a:xfrm>
            <a:grpFill/>
          </p:grpSpPr>
          <p:sp>
            <p:nvSpPr>
              <p:cNvPr id="1821" name="Vrije vorm: vorm 1820">
                <a:extLst>
                  <a:ext uri="{FF2B5EF4-FFF2-40B4-BE49-F238E27FC236}">
                    <a16:creationId xmlns:a16="http://schemas.microsoft.com/office/drawing/2014/main" id="{2DD0DE35-C773-0AB9-D0B9-150823B1138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22" name="Vrije vorm: vorm 1821">
                <a:extLst>
                  <a:ext uri="{FF2B5EF4-FFF2-40B4-BE49-F238E27FC236}">
                    <a16:creationId xmlns:a16="http://schemas.microsoft.com/office/drawing/2014/main" id="{60D8B5D0-CC94-4A5E-173A-375C8BDB45E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4" name="Groep 1763">
              <a:extLst>
                <a:ext uri="{FF2B5EF4-FFF2-40B4-BE49-F238E27FC236}">
                  <a16:creationId xmlns:a16="http://schemas.microsoft.com/office/drawing/2014/main" id="{6294B16C-96A2-3396-AB24-83E24C920131}"/>
                </a:ext>
              </a:extLst>
            </p:cNvPr>
            <p:cNvGrpSpPr/>
            <p:nvPr/>
          </p:nvGrpSpPr>
          <p:grpSpPr>
            <a:xfrm>
              <a:off x="7778199" y="2705100"/>
              <a:ext cx="289443" cy="248100"/>
              <a:chOff x="5696016" y="3086100"/>
              <a:chExt cx="800080" cy="685799"/>
            </a:xfrm>
            <a:grpFill/>
          </p:grpSpPr>
          <p:sp>
            <p:nvSpPr>
              <p:cNvPr id="1819" name="Vrije vorm: vorm 1818">
                <a:extLst>
                  <a:ext uri="{FF2B5EF4-FFF2-40B4-BE49-F238E27FC236}">
                    <a16:creationId xmlns:a16="http://schemas.microsoft.com/office/drawing/2014/main" id="{E3F56A8F-C6CD-F6E2-656F-8C71C9B8F19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20" name="Vrije vorm: vorm 1819">
                <a:extLst>
                  <a:ext uri="{FF2B5EF4-FFF2-40B4-BE49-F238E27FC236}">
                    <a16:creationId xmlns:a16="http://schemas.microsoft.com/office/drawing/2014/main" id="{A4860E29-8125-DA5C-6758-2067ECA3C57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5" name="Groep 1764">
              <a:extLst>
                <a:ext uri="{FF2B5EF4-FFF2-40B4-BE49-F238E27FC236}">
                  <a16:creationId xmlns:a16="http://schemas.microsoft.com/office/drawing/2014/main" id="{68AACEF8-48DD-C12F-704D-CE08CE712625}"/>
                </a:ext>
              </a:extLst>
            </p:cNvPr>
            <p:cNvGrpSpPr/>
            <p:nvPr/>
          </p:nvGrpSpPr>
          <p:grpSpPr>
            <a:xfrm>
              <a:off x="7133223" y="3015117"/>
              <a:ext cx="289443" cy="248100"/>
              <a:chOff x="5696016" y="3086100"/>
              <a:chExt cx="800080" cy="685799"/>
            </a:xfrm>
            <a:grpFill/>
          </p:grpSpPr>
          <p:sp>
            <p:nvSpPr>
              <p:cNvPr id="1817" name="Vrije vorm: vorm 1816">
                <a:extLst>
                  <a:ext uri="{FF2B5EF4-FFF2-40B4-BE49-F238E27FC236}">
                    <a16:creationId xmlns:a16="http://schemas.microsoft.com/office/drawing/2014/main" id="{D4A89B59-C25C-25D7-55DB-53B921A2DEA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18" name="Vrije vorm: vorm 1817">
                <a:extLst>
                  <a:ext uri="{FF2B5EF4-FFF2-40B4-BE49-F238E27FC236}">
                    <a16:creationId xmlns:a16="http://schemas.microsoft.com/office/drawing/2014/main" id="{5FA675A6-5BF7-A3A4-DAA1-24D4874A020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6" name="Groep 1765">
              <a:extLst>
                <a:ext uri="{FF2B5EF4-FFF2-40B4-BE49-F238E27FC236}">
                  <a16:creationId xmlns:a16="http://schemas.microsoft.com/office/drawing/2014/main" id="{F44B3867-9515-E006-E856-A58B27165AAC}"/>
                </a:ext>
              </a:extLst>
            </p:cNvPr>
            <p:cNvGrpSpPr/>
            <p:nvPr/>
          </p:nvGrpSpPr>
          <p:grpSpPr>
            <a:xfrm>
              <a:off x="7455711" y="3015117"/>
              <a:ext cx="289443" cy="248100"/>
              <a:chOff x="5696016" y="3086100"/>
              <a:chExt cx="800080" cy="685799"/>
            </a:xfrm>
            <a:grpFill/>
          </p:grpSpPr>
          <p:sp>
            <p:nvSpPr>
              <p:cNvPr id="1815" name="Vrije vorm: vorm 1814">
                <a:extLst>
                  <a:ext uri="{FF2B5EF4-FFF2-40B4-BE49-F238E27FC236}">
                    <a16:creationId xmlns:a16="http://schemas.microsoft.com/office/drawing/2014/main" id="{41D8D820-CFD9-ECCB-45A9-40FD2D20A07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16" name="Vrije vorm: vorm 1815">
                <a:extLst>
                  <a:ext uri="{FF2B5EF4-FFF2-40B4-BE49-F238E27FC236}">
                    <a16:creationId xmlns:a16="http://schemas.microsoft.com/office/drawing/2014/main" id="{D92AEB98-FDF2-9916-426A-FF06E5FADB4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7" name="Groep 1766">
              <a:extLst>
                <a:ext uri="{FF2B5EF4-FFF2-40B4-BE49-F238E27FC236}">
                  <a16:creationId xmlns:a16="http://schemas.microsoft.com/office/drawing/2014/main" id="{9F15EC5A-078F-70A3-F367-37E58DF99908}"/>
                </a:ext>
              </a:extLst>
            </p:cNvPr>
            <p:cNvGrpSpPr/>
            <p:nvPr/>
          </p:nvGrpSpPr>
          <p:grpSpPr>
            <a:xfrm>
              <a:off x="7778199" y="3015117"/>
              <a:ext cx="289443" cy="248100"/>
              <a:chOff x="5696016" y="3086100"/>
              <a:chExt cx="800080" cy="685799"/>
            </a:xfrm>
            <a:grpFill/>
          </p:grpSpPr>
          <p:sp>
            <p:nvSpPr>
              <p:cNvPr id="1813" name="Vrije vorm: vorm 1812">
                <a:extLst>
                  <a:ext uri="{FF2B5EF4-FFF2-40B4-BE49-F238E27FC236}">
                    <a16:creationId xmlns:a16="http://schemas.microsoft.com/office/drawing/2014/main" id="{7E14E0A3-97B7-1942-B5C3-4BAE2065BF6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14" name="Vrije vorm: vorm 1813">
                <a:extLst>
                  <a:ext uri="{FF2B5EF4-FFF2-40B4-BE49-F238E27FC236}">
                    <a16:creationId xmlns:a16="http://schemas.microsoft.com/office/drawing/2014/main" id="{6F03882A-3CAF-200F-9CA1-46C4299FC6C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8" name="Groep 1767">
              <a:extLst>
                <a:ext uri="{FF2B5EF4-FFF2-40B4-BE49-F238E27FC236}">
                  <a16:creationId xmlns:a16="http://schemas.microsoft.com/office/drawing/2014/main" id="{7CF22BE5-D25C-9029-5175-7E3CBC74814E}"/>
                </a:ext>
              </a:extLst>
            </p:cNvPr>
            <p:cNvGrpSpPr/>
            <p:nvPr/>
          </p:nvGrpSpPr>
          <p:grpSpPr>
            <a:xfrm>
              <a:off x="7133223" y="3325135"/>
              <a:ext cx="289443" cy="248100"/>
              <a:chOff x="5696016" y="3086100"/>
              <a:chExt cx="800080" cy="685799"/>
            </a:xfrm>
            <a:grpFill/>
          </p:grpSpPr>
          <p:sp>
            <p:nvSpPr>
              <p:cNvPr id="1811" name="Vrije vorm: vorm 1810">
                <a:extLst>
                  <a:ext uri="{FF2B5EF4-FFF2-40B4-BE49-F238E27FC236}">
                    <a16:creationId xmlns:a16="http://schemas.microsoft.com/office/drawing/2014/main" id="{CB5032DB-8EAF-1F98-E431-09785907C9D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12" name="Vrije vorm: vorm 1811">
                <a:extLst>
                  <a:ext uri="{FF2B5EF4-FFF2-40B4-BE49-F238E27FC236}">
                    <a16:creationId xmlns:a16="http://schemas.microsoft.com/office/drawing/2014/main" id="{29C9B284-98EF-506B-A2DA-70B8F1299B5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69" name="Groep 1768">
              <a:extLst>
                <a:ext uri="{FF2B5EF4-FFF2-40B4-BE49-F238E27FC236}">
                  <a16:creationId xmlns:a16="http://schemas.microsoft.com/office/drawing/2014/main" id="{EAEEA226-2786-D88C-4DF6-F8B9CD3BA256}"/>
                </a:ext>
              </a:extLst>
            </p:cNvPr>
            <p:cNvGrpSpPr/>
            <p:nvPr/>
          </p:nvGrpSpPr>
          <p:grpSpPr>
            <a:xfrm>
              <a:off x="7455711" y="3325135"/>
              <a:ext cx="289443" cy="248100"/>
              <a:chOff x="5696016" y="3086100"/>
              <a:chExt cx="800080" cy="685799"/>
            </a:xfrm>
            <a:grpFill/>
          </p:grpSpPr>
          <p:sp>
            <p:nvSpPr>
              <p:cNvPr id="1809" name="Vrije vorm: vorm 1808">
                <a:extLst>
                  <a:ext uri="{FF2B5EF4-FFF2-40B4-BE49-F238E27FC236}">
                    <a16:creationId xmlns:a16="http://schemas.microsoft.com/office/drawing/2014/main" id="{1F111626-B4EF-8646-A642-7CC208CFF91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10" name="Vrije vorm: vorm 1809">
                <a:extLst>
                  <a:ext uri="{FF2B5EF4-FFF2-40B4-BE49-F238E27FC236}">
                    <a16:creationId xmlns:a16="http://schemas.microsoft.com/office/drawing/2014/main" id="{0A5151E7-3729-B11E-99B5-84DB0302DB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0" name="Groep 1769">
              <a:extLst>
                <a:ext uri="{FF2B5EF4-FFF2-40B4-BE49-F238E27FC236}">
                  <a16:creationId xmlns:a16="http://schemas.microsoft.com/office/drawing/2014/main" id="{166DFDDC-177E-BABE-0F30-A5A64B939A70}"/>
                </a:ext>
              </a:extLst>
            </p:cNvPr>
            <p:cNvGrpSpPr/>
            <p:nvPr/>
          </p:nvGrpSpPr>
          <p:grpSpPr>
            <a:xfrm>
              <a:off x="7778199" y="3325135"/>
              <a:ext cx="289443" cy="248100"/>
              <a:chOff x="5696016" y="3086100"/>
              <a:chExt cx="800080" cy="685799"/>
            </a:xfrm>
            <a:grpFill/>
          </p:grpSpPr>
          <p:sp>
            <p:nvSpPr>
              <p:cNvPr id="1807" name="Vrije vorm: vorm 1806">
                <a:extLst>
                  <a:ext uri="{FF2B5EF4-FFF2-40B4-BE49-F238E27FC236}">
                    <a16:creationId xmlns:a16="http://schemas.microsoft.com/office/drawing/2014/main" id="{55B18DBC-437A-DC0C-556B-EA19B306EA0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08" name="Vrije vorm: vorm 1807">
                <a:extLst>
                  <a:ext uri="{FF2B5EF4-FFF2-40B4-BE49-F238E27FC236}">
                    <a16:creationId xmlns:a16="http://schemas.microsoft.com/office/drawing/2014/main" id="{E67A127B-7222-EC8B-D20F-95F33B95681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1" name="Groep 1770">
              <a:extLst>
                <a:ext uri="{FF2B5EF4-FFF2-40B4-BE49-F238E27FC236}">
                  <a16:creationId xmlns:a16="http://schemas.microsoft.com/office/drawing/2014/main" id="{8A6294AD-AA44-DC02-E7F0-0CD5ABDFDF55}"/>
                </a:ext>
              </a:extLst>
            </p:cNvPr>
            <p:cNvGrpSpPr/>
            <p:nvPr/>
          </p:nvGrpSpPr>
          <p:grpSpPr>
            <a:xfrm>
              <a:off x="7133223" y="3635151"/>
              <a:ext cx="289443" cy="248100"/>
              <a:chOff x="5696016" y="3086100"/>
              <a:chExt cx="800080" cy="685799"/>
            </a:xfrm>
            <a:grpFill/>
          </p:grpSpPr>
          <p:sp>
            <p:nvSpPr>
              <p:cNvPr id="1805" name="Vrije vorm: vorm 1804">
                <a:extLst>
                  <a:ext uri="{FF2B5EF4-FFF2-40B4-BE49-F238E27FC236}">
                    <a16:creationId xmlns:a16="http://schemas.microsoft.com/office/drawing/2014/main" id="{308C9CBF-B29D-7FB3-0BE7-E937D32F32B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06" name="Vrije vorm: vorm 1805">
                <a:extLst>
                  <a:ext uri="{FF2B5EF4-FFF2-40B4-BE49-F238E27FC236}">
                    <a16:creationId xmlns:a16="http://schemas.microsoft.com/office/drawing/2014/main" id="{57B42D09-29F4-3363-9EF9-2C42124570C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2" name="Groep 1771">
              <a:extLst>
                <a:ext uri="{FF2B5EF4-FFF2-40B4-BE49-F238E27FC236}">
                  <a16:creationId xmlns:a16="http://schemas.microsoft.com/office/drawing/2014/main" id="{AE05E2E7-89DD-9B4C-4F12-49319D3127F1}"/>
                </a:ext>
              </a:extLst>
            </p:cNvPr>
            <p:cNvGrpSpPr/>
            <p:nvPr/>
          </p:nvGrpSpPr>
          <p:grpSpPr>
            <a:xfrm>
              <a:off x="7455711" y="3635151"/>
              <a:ext cx="289443" cy="248100"/>
              <a:chOff x="5696016" y="3086100"/>
              <a:chExt cx="800080" cy="685799"/>
            </a:xfrm>
            <a:grpFill/>
          </p:grpSpPr>
          <p:sp>
            <p:nvSpPr>
              <p:cNvPr id="1803" name="Vrije vorm: vorm 1802">
                <a:extLst>
                  <a:ext uri="{FF2B5EF4-FFF2-40B4-BE49-F238E27FC236}">
                    <a16:creationId xmlns:a16="http://schemas.microsoft.com/office/drawing/2014/main" id="{7335713A-1032-B244-4398-34D0FBFDF39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04" name="Vrije vorm: vorm 1803">
                <a:extLst>
                  <a:ext uri="{FF2B5EF4-FFF2-40B4-BE49-F238E27FC236}">
                    <a16:creationId xmlns:a16="http://schemas.microsoft.com/office/drawing/2014/main" id="{DFBEEE86-60B7-2DF8-D678-A228FC9F39A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3" name="Groep 1772">
              <a:extLst>
                <a:ext uri="{FF2B5EF4-FFF2-40B4-BE49-F238E27FC236}">
                  <a16:creationId xmlns:a16="http://schemas.microsoft.com/office/drawing/2014/main" id="{EA01659E-B09A-0861-9EC6-CACE6B22A1E5}"/>
                </a:ext>
              </a:extLst>
            </p:cNvPr>
            <p:cNvGrpSpPr/>
            <p:nvPr/>
          </p:nvGrpSpPr>
          <p:grpSpPr>
            <a:xfrm>
              <a:off x="7778199" y="3635151"/>
              <a:ext cx="289443" cy="248100"/>
              <a:chOff x="5696016" y="3086100"/>
              <a:chExt cx="800080" cy="685799"/>
            </a:xfrm>
            <a:grpFill/>
          </p:grpSpPr>
          <p:sp>
            <p:nvSpPr>
              <p:cNvPr id="1801" name="Vrije vorm: vorm 1800">
                <a:extLst>
                  <a:ext uri="{FF2B5EF4-FFF2-40B4-BE49-F238E27FC236}">
                    <a16:creationId xmlns:a16="http://schemas.microsoft.com/office/drawing/2014/main" id="{507AD6E6-9B57-1B9F-2BC2-E4FBD1E4654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02" name="Vrije vorm: vorm 1801">
                <a:extLst>
                  <a:ext uri="{FF2B5EF4-FFF2-40B4-BE49-F238E27FC236}">
                    <a16:creationId xmlns:a16="http://schemas.microsoft.com/office/drawing/2014/main" id="{886DB76A-9F36-C464-09B1-B81FFA1DCA3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4" name="Groep 1773">
              <a:extLst>
                <a:ext uri="{FF2B5EF4-FFF2-40B4-BE49-F238E27FC236}">
                  <a16:creationId xmlns:a16="http://schemas.microsoft.com/office/drawing/2014/main" id="{ECE7C1D3-DCAD-62EC-67B3-319C27B051B4}"/>
                </a:ext>
              </a:extLst>
            </p:cNvPr>
            <p:cNvGrpSpPr/>
            <p:nvPr/>
          </p:nvGrpSpPr>
          <p:grpSpPr>
            <a:xfrm>
              <a:off x="7133223" y="3945167"/>
              <a:ext cx="289443" cy="248100"/>
              <a:chOff x="5696016" y="3086100"/>
              <a:chExt cx="800080" cy="685799"/>
            </a:xfrm>
            <a:grpFill/>
          </p:grpSpPr>
          <p:sp>
            <p:nvSpPr>
              <p:cNvPr id="1799" name="Vrije vorm: vorm 1798">
                <a:extLst>
                  <a:ext uri="{FF2B5EF4-FFF2-40B4-BE49-F238E27FC236}">
                    <a16:creationId xmlns:a16="http://schemas.microsoft.com/office/drawing/2014/main" id="{9C342B01-1792-B259-0D8B-5F82746CF6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800" name="Vrije vorm: vorm 1799">
                <a:extLst>
                  <a:ext uri="{FF2B5EF4-FFF2-40B4-BE49-F238E27FC236}">
                    <a16:creationId xmlns:a16="http://schemas.microsoft.com/office/drawing/2014/main" id="{0CAD4E99-19E3-D12A-C119-3DCA26686FE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5" name="Groep 1774">
              <a:extLst>
                <a:ext uri="{FF2B5EF4-FFF2-40B4-BE49-F238E27FC236}">
                  <a16:creationId xmlns:a16="http://schemas.microsoft.com/office/drawing/2014/main" id="{0BE869F5-5B48-507D-55D1-0A36885103D0}"/>
                </a:ext>
              </a:extLst>
            </p:cNvPr>
            <p:cNvGrpSpPr/>
            <p:nvPr/>
          </p:nvGrpSpPr>
          <p:grpSpPr>
            <a:xfrm>
              <a:off x="7455711" y="3945167"/>
              <a:ext cx="289443" cy="248100"/>
              <a:chOff x="5696016" y="3086100"/>
              <a:chExt cx="800080" cy="685799"/>
            </a:xfrm>
            <a:grpFill/>
          </p:grpSpPr>
          <p:sp>
            <p:nvSpPr>
              <p:cNvPr id="1797" name="Vrije vorm: vorm 1796">
                <a:extLst>
                  <a:ext uri="{FF2B5EF4-FFF2-40B4-BE49-F238E27FC236}">
                    <a16:creationId xmlns:a16="http://schemas.microsoft.com/office/drawing/2014/main" id="{801B0BD6-E9DA-1E0F-13DE-7737A4E4E43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98" name="Vrije vorm: vorm 1797">
                <a:extLst>
                  <a:ext uri="{FF2B5EF4-FFF2-40B4-BE49-F238E27FC236}">
                    <a16:creationId xmlns:a16="http://schemas.microsoft.com/office/drawing/2014/main" id="{462CE217-BDB0-F11B-EEB2-4957B901012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6" name="Groep 1775">
              <a:extLst>
                <a:ext uri="{FF2B5EF4-FFF2-40B4-BE49-F238E27FC236}">
                  <a16:creationId xmlns:a16="http://schemas.microsoft.com/office/drawing/2014/main" id="{8D061F4A-4B49-34A5-A1D8-EEBA4F2B9C84}"/>
                </a:ext>
              </a:extLst>
            </p:cNvPr>
            <p:cNvGrpSpPr/>
            <p:nvPr/>
          </p:nvGrpSpPr>
          <p:grpSpPr>
            <a:xfrm>
              <a:off x="7778199" y="3945167"/>
              <a:ext cx="289443" cy="248100"/>
              <a:chOff x="5696016" y="3086100"/>
              <a:chExt cx="800080" cy="685799"/>
            </a:xfrm>
            <a:grpFill/>
          </p:grpSpPr>
          <p:sp>
            <p:nvSpPr>
              <p:cNvPr id="1795" name="Vrije vorm: vorm 1794">
                <a:extLst>
                  <a:ext uri="{FF2B5EF4-FFF2-40B4-BE49-F238E27FC236}">
                    <a16:creationId xmlns:a16="http://schemas.microsoft.com/office/drawing/2014/main" id="{B9259099-5A78-F031-7354-E89F10A35E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96" name="Vrije vorm: vorm 1795">
                <a:extLst>
                  <a:ext uri="{FF2B5EF4-FFF2-40B4-BE49-F238E27FC236}">
                    <a16:creationId xmlns:a16="http://schemas.microsoft.com/office/drawing/2014/main" id="{95233145-7DED-6CF4-73FF-F4E073A1485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7" name="Groep 1776">
              <a:extLst>
                <a:ext uri="{FF2B5EF4-FFF2-40B4-BE49-F238E27FC236}">
                  <a16:creationId xmlns:a16="http://schemas.microsoft.com/office/drawing/2014/main" id="{1BD5D09B-CBAE-5596-4B1C-2243F301BFA9}"/>
                </a:ext>
              </a:extLst>
            </p:cNvPr>
            <p:cNvGrpSpPr/>
            <p:nvPr/>
          </p:nvGrpSpPr>
          <p:grpSpPr>
            <a:xfrm>
              <a:off x="7133223" y="4255183"/>
              <a:ext cx="289443" cy="248100"/>
              <a:chOff x="5696016" y="3086100"/>
              <a:chExt cx="800080" cy="685799"/>
            </a:xfrm>
            <a:grpFill/>
          </p:grpSpPr>
          <p:sp>
            <p:nvSpPr>
              <p:cNvPr id="1793" name="Vrije vorm: vorm 1792">
                <a:extLst>
                  <a:ext uri="{FF2B5EF4-FFF2-40B4-BE49-F238E27FC236}">
                    <a16:creationId xmlns:a16="http://schemas.microsoft.com/office/drawing/2014/main" id="{C1545062-7254-F504-D408-3D0EA927F82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94" name="Vrije vorm: vorm 1793">
                <a:extLst>
                  <a:ext uri="{FF2B5EF4-FFF2-40B4-BE49-F238E27FC236}">
                    <a16:creationId xmlns:a16="http://schemas.microsoft.com/office/drawing/2014/main" id="{C9D39E4A-D19F-E3DC-5854-F3B138E7B1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8" name="Groep 1777">
              <a:extLst>
                <a:ext uri="{FF2B5EF4-FFF2-40B4-BE49-F238E27FC236}">
                  <a16:creationId xmlns:a16="http://schemas.microsoft.com/office/drawing/2014/main" id="{C6963ABF-1652-AF15-26D9-BF96FBCD00DC}"/>
                </a:ext>
              </a:extLst>
            </p:cNvPr>
            <p:cNvGrpSpPr/>
            <p:nvPr/>
          </p:nvGrpSpPr>
          <p:grpSpPr>
            <a:xfrm>
              <a:off x="7455711" y="4255183"/>
              <a:ext cx="289443" cy="248100"/>
              <a:chOff x="5696016" y="3086100"/>
              <a:chExt cx="800080" cy="685799"/>
            </a:xfrm>
            <a:grpFill/>
          </p:grpSpPr>
          <p:sp>
            <p:nvSpPr>
              <p:cNvPr id="1791" name="Vrije vorm: vorm 1790">
                <a:extLst>
                  <a:ext uri="{FF2B5EF4-FFF2-40B4-BE49-F238E27FC236}">
                    <a16:creationId xmlns:a16="http://schemas.microsoft.com/office/drawing/2014/main" id="{61933802-968A-200F-3DF8-3770B129D68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92" name="Vrije vorm: vorm 1791">
                <a:extLst>
                  <a:ext uri="{FF2B5EF4-FFF2-40B4-BE49-F238E27FC236}">
                    <a16:creationId xmlns:a16="http://schemas.microsoft.com/office/drawing/2014/main" id="{39F897B5-AB5E-EACE-D8F9-5D4E7FD4C69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79" name="Groep 1778">
              <a:extLst>
                <a:ext uri="{FF2B5EF4-FFF2-40B4-BE49-F238E27FC236}">
                  <a16:creationId xmlns:a16="http://schemas.microsoft.com/office/drawing/2014/main" id="{560A6D00-2919-4D8F-C8E9-1C698B805AD6}"/>
                </a:ext>
              </a:extLst>
            </p:cNvPr>
            <p:cNvGrpSpPr/>
            <p:nvPr/>
          </p:nvGrpSpPr>
          <p:grpSpPr>
            <a:xfrm>
              <a:off x="7778199" y="4255183"/>
              <a:ext cx="289443" cy="248100"/>
              <a:chOff x="5696016" y="3086100"/>
              <a:chExt cx="800080" cy="685799"/>
            </a:xfrm>
            <a:grpFill/>
          </p:grpSpPr>
          <p:sp>
            <p:nvSpPr>
              <p:cNvPr id="1789" name="Vrije vorm: vorm 1788">
                <a:extLst>
                  <a:ext uri="{FF2B5EF4-FFF2-40B4-BE49-F238E27FC236}">
                    <a16:creationId xmlns:a16="http://schemas.microsoft.com/office/drawing/2014/main" id="{80171267-B76C-C9F1-DCF5-0FCD85E6A5F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90" name="Vrije vorm: vorm 1789">
                <a:extLst>
                  <a:ext uri="{FF2B5EF4-FFF2-40B4-BE49-F238E27FC236}">
                    <a16:creationId xmlns:a16="http://schemas.microsoft.com/office/drawing/2014/main" id="{D00A3B8E-402D-17C5-6CD0-F5146DF102D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80" name="Groep 1779">
              <a:extLst>
                <a:ext uri="{FF2B5EF4-FFF2-40B4-BE49-F238E27FC236}">
                  <a16:creationId xmlns:a16="http://schemas.microsoft.com/office/drawing/2014/main" id="{CD05FA6D-1323-F9A7-D62D-5E9D9305C75D}"/>
                </a:ext>
              </a:extLst>
            </p:cNvPr>
            <p:cNvGrpSpPr/>
            <p:nvPr/>
          </p:nvGrpSpPr>
          <p:grpSpPr>
            <a:xfrm>
              <a:off x="7133223" y="4565200"/>
              <a:ext cx="289443" cy="248100"/>
              <a:chOff x="5696016" y="3086100"/>
              <a:chExt cx="800080" cy="685799"/>
            </a:xfrm>
            <a:grpFill/>
          </p:grpSpPr>
          <p:sp>
            <p:nvSpPr>
              <p:cNvPr id="1787" name="Vrije vorm: vorm 1786">
                <a:extLst>
                  <a:ext uri="{FF2B5EF4-FFF2-40B4-BE49-F238E27FC236}">
                    <a16:creationId xmlns:a16="http://schemas.microsoft.com/office/drawing/2014/main" id="{E76FD751-099E-6074-D1B2-60B298984EA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88" name="Vrije vorm: vorm 1787">
                <a:extLst>
                  <a:ext uri="{FF2B5EF4-FFF2-40B4-BE49-F238E27FC236}">
                    <a16:creationId xmlns:a16="http://schemas.microsoft.com/office/drawing/2014/main" id="{43F94BF6-A483-E138-5145-BA7351B9C98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81" name="Groep 1780">
              <a:extLst>
                <a:ext uri="{FF2B5EF4-FFF2-40B4-BE49-F238E27FC236}">
                  <a16:creationId xmlns:a16="http://schemas.microsoft.com/office/drawing/2014/main" id="{C2BB08C5-3F8B-72B1-490C-61A9F979C91F}"/>
                </a:ext>
              </a:extLst>
            </p:cNvPr>
            <p:cNvGrpSpPr/>
            <p:nvPr/>
          </p:nvGrpSpPr>
          <p:grpSpPr>
            <a:xfrm>
              <a:off x="7455711" y="4565200"/>
              <a:ext cx="289443" cy="248100"/>
              <a:chOff x="5696016" y="3086100"/>
              <a:chExt cx="800080" cy="685799"/>
            </a:xfrm>
            <a:grpFill/>
          </p:grpSpPr>
          <p:sp>
            <p:nvSpPr>
              <p:cNvPr id="1785" name="Vrije vorm: vorm 1784">
                <a:extLst>
                  <a:ext uri="{FF2B5EF4-FFF2-40B4-BE49-F238E27FC236}">
                    <a16:creationId xmlns:a16="http://schemas.microsoft.com/office/drawing/2014/main" id="{1BA6BA67-DAFA-2B21-DCC3-B8B33E572CE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86" name="Vrije vorm: vorm 1785">
                <a:extLst>
                  <a:ext uri="{FF2B5EF4-FFF2-40B4-BE49-F238E27FC236}">
                    <a16:creationId xmlns:a16="http://schemas.microsoft.com/office/drawing/2014/main" id="{F41E7352-B92F-E5B4-EA13-88F5E87BCA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782" name="Groep 1781">
              <a:extLst>
                <a:ext uri="{FF2B5EF4-FFF2-40B4-BE49-F238E27FC236}">
                  <a16:creationId xmlns:a16="http://schemas.microsoft.com/office/drawing/2014/main" id="{FF8A2B41-89B3-DBA9-1B9E-5F6B00D34E76}"/>
                </a:ext>
              </a:extLst>
            </p:cNvPr>
            <p:cNvGrpSpPr/>
            <p:nvPr/>
          </p:nvGrpSpPr>
          <p:grpSpPr>
            <a:xfrm>
              <a:off x="7778199" y="4565200"/>
              <a:ext cx="289443" cy="248100"/>
              <a:chOff x="5696016" y="3086100"/>
              <a:chExt cx="800080" cy="685799"/>
            </a:xfrm>
            <a:grpFill/>
          </p:grpSpPr>
          <p:sp>
            <p:nvSpPr>
              <p:cNvPr id="1783" name="Vrije vorm: vorm 1782">
                <a:extLst>
                  <a:ext uri="{FF2B5EF4-FFF2-40B4-BE49-F238E27FC236}">
                    <a16:creationId xmlns:a16="http://schemas.microsoft.com/office/drawing/2014/main" id="{C8E7F3AB-F04C-A19B-3155-7E8FAE68741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1784" name="Vrije vorm: vorm 1783">
                <a:extLst>
                  <a:ext uri="{FF2B5EF4-FFF2-40B4-BE49-F238E27FC236}">
                    <a16:creationId xmlns:a16="http://schemas.microsoft.com/office/drawing/2014/main" id="{62774F89-FA5A-65F0-CBC5-0F059C2D952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1994" name="Groep 1993">
            <a:extLst>
              <a:ext uri="{FF2B5EF4-FFF2-40B4-BE49-F238E27FC236}">
                <a16:creationId xmlns:a16="http://schemas.microsoft.com/office/drawing/2014/main" id="{55B171D8-848D-7068-2AF6-53DDBE7BB5C3}"/>
              </a:ext>
            </a:extLst>
          </p:cNvPr>
          <p:cNvGrpSpPr/>
          <p:nvPr/>
        </p:nvGrpSpPr>
        <p:grpSpPr>
          <a:xfrm>
            <a:off x="112754" y="2044547"/>
            <a:ext cx="763072" cy="3473127"/>
            <a:chOff x="7133223" y="533400"/>
            <a:chExt cx="940327" cy="4279900"/>
          </a:xfrm>
          <a:solidFill>
            <a:schemeClr val="accent2"/>
          </a:solidFill>
        </p:grpSpPr>
        <p:grpSp>
          <p:nvGrpSpPr>
            <p:cNvPr id="1995" name="Groep 1994">
              <a:extLst>
                <a:ext uri="{FF2B5EF4-FFF2-40B4-BE49-F238E27FC236}">
                  <a16:creationId xmlns:a16="http://schemas.microsoft.com/office/drawing/2014/main" id="{A8FD5A21-C15F-3FE0-B766-DAC5126DDE8A}"/>
                </a:ext>
              </a:extLst>
            </p:cNvPr>
            <p:cNvGrpSpPr/>
            <p:nvPr/>
          </p:nvGrpSpPr>
          <p:grpSpPr>
            <a:xfrm>
              <a:off x="7139131" y="533400"/>
              <a:ext cx="289443" cy="248100"/>
              <a:chOff x="5696016" y="3086100"/>
              <a:chExt cx="800080" cy="685799"/>
            </a:xfrm>
            <a:grpFill/>
          </p:grpSpPr>
          <p:sp>
            <p:nvSpPr>
              <p:cNvPr id="2119" name="Vrije vorm: vorm 2118">
                <a:extLst>
                  <a:ext uri="{FF2B5EF4-FFF2-40B4-BE49-F238E27FC236}">
                    <a16:creationId xmlns:a16="http://schemas.microsoft.com/office/drawing/2014/main" id="{BF26DE85-25EC-AA10-0E21-AA612189837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20" name="Vrije vorm: vorm 2119">
                <a:extLst>
                  <a:ext uri="{FF2B5EF4-FFF2-40B4-BE49-F238E27FC236}">
                    <a16:creationId xmlns:a16="http://schemas.microsoft.com/office/drawing/2014/main" id="{46373971-B499-F8F4-9110-E36C668D391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96" name="Groep 1995">
              <a:extLst>
                <a:ext uri="{FF2B5EF4-FFF2-40B4-BE49-F238E27FC236}">
                  <a16:creationId xmlns:a16="http://schemas.microsoft.com/office/drawing/2014/main" id="{E0950EF9-6FD5-DCCA-4D15-B1AA16EADCEB}"/>
                </a:ext>
              </a:extLst>
            </p:cNvPr>
            <p:cNvGrpSpPr/>
            <p:nvPr/>
          </p:nvGrpSpPr>
          <p:grpSpPr>
            <a:xfrm>
              <a:off x="7461619" y="533400"/>
              <a:ext cx="289443" cy="248100"/>
              <a:chOff x="5696016" y="3086100"/>
              <a:chExt cx="800080" cy="685799"/>
            </a:xfrm>
            <a:grpFill/>
          </p:grpSpPr>
          <p:sp>
            <p:nvSpPr>
              <p:cNvPr id="2117" name="Vrije vorm: vorm 2116">
                <a:extLst>
                  <a:ext uri="{FF2B5EF4-FFF2-40B4-BE49-F238E27FC236}">
                    <a16:creationId xmlns:a16="http://schemas.microsoft.com/office/drawing/2014/main" id="{904497A1-3BAC-E74F-5ACB-31CE507204B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18" name="Vrije vorm: vorm 2117">
                <a:extLst>
                  <a:ext uri="{FF2B5EF4-FFF2-40B4-BE49-F238E27FC236}">
                    <a16:creationId xmlns:a16="http://schemas.microsoft.com/office/drawing/2014/main" id="{FC48EBB9-790F-35E4-721F-98EA5F37720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97" name="Groep 1996">
              <a:extLst>
                <a:ext uri="{FF2B5EF4-FFF2-40B4-BE49-F238E27FC236}">
                  <a16:creationId xmlns:a16="http://schemas.microsoft.com/office/drawing/2014/main" id="{429DA218-5A2D-8408-21E8-71928C2C8A1D}"/>
                </a:ext>
              </a:extLst>
            </p:cNvPr>
            <p:cNvGrpSpPr/>
            <p:nvPr/>
          </p:nvGrpSpPr>
          <p:grpSpPr>
            <a:xfrm>
              <a:off x="7784107" y="533400"/>
              <a:ext cx="289443" cy="248100"/>
              <a:chOff x="5696016" y="3086100"/>
              <a:chExt cx="800080" cy="685799"/>
            </a:xfrm>
            <a:grpFill/>
          </p:grpSpPr>
          <p:sp>
            <p:nvSpPr>
              <p:cNvPr id="2115" name="Vrije vorm: vorm 2114">
                <a:extLst>
                  <a:ext uri="{FF2B5EF4-FFF2-40B4-BE49-F238E27FC236}">
                    <a16:creationId xmlns:a16="http://schemas.microsoft.com/office/drawing/2014/main" id="{14FA7F1A-CB91-2357-5910-D9605B88012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16" name="Vrije vorm: vorm 2115">
                <a:extLst>
                  <a:ext uri="{FF2B5EF4-FFF2-40B4-BE49-F238E27FC236}">
                    <a16:creationId xmlns:a16="http://schemas.microsoft.com/office/drawing/2014/main" id="{62EC7288-1CA4-62D5-BC8C-62DA02901CF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98" name="Groep 1997">
              <a:extLst>
                <a:ext uri="{FF2B5EF4-FFF2-40B4-BE49-F238E27FC236}">
                  <a16:creationId xmlns:a16="http://schemas.microsoft.com/office/drawing/2014/main" id="{FE0B371C-2C20-356B-A098-6C9B091BBAB0}"/>
                </a:ext>
              </a:extLst>
            </p:cNvPr>
            <p:cNvGrpSpPr/>
            <p:nvPr/>
          </p:nvGrpSpPr>
          <p:grpSpPr>
            <a:xfrm>
              <a:off x="7139131" y="843417"/>
              <a:ext cx="289443" cy="248100"/>
              <a:chOff x="5696016" y="3086100"/>
              <a:chExt cx="800080" cy="685799"/>
            </a:xfrm>
            <a:grpFill/>
          </p:grpSpPr>
          <p:sp>
            <p:nvSpPr>
              <p:cNvPr id="2113" name="Vrije vorm: vorm 2112">
                <a:extLst>
                  <a:ext uri="{FF2B5EF4-FFF2-40B4-BE49-F238E27FC236}">
                    <a16:creationId xmlns:a16="http://schemas.microsoft.com/office/drawing/2014/main" id="{D9986AFD-37AC-C2F8-7967-5DD7F2BA1FB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14" name="Vrije vorm: vorm 2113">
                <a:extLst>
                  <a:ext uri="{FF2B5EF4-FFF2-40B4-BE49-F238E27FC236}">
                    <a16:creationId xmlns:a16="http://schemas.microsoft.com/office/drawing/2014/main" id="{6C12434C-20A6-6E57-51F5-B606D117485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1999" name="Groep 1998">
              <a:extLst>
                <a:ext uri="{FF2B5EF4-FFF2-40B4-BE49-F238E27FC236}">
                  <a16:creationId xmlns:a16="http://schemas.microsoft.com/office/drawing/2014/main" id="{3D7164CB-9C70-FD9B-4FFF-340A406B32C2}"/>
                </a:ext>
              </a:extLst>
            </p:cNvPr>
            <p:cNvGrpSpPr/>
            <p:nvPr/>
          </p:nvGrpSpPr>
          <p:grpSpPr>
            <a:xfrm>
              <a:off x="7461619" y="843417"/>
              <a:ext cx="289443" cy="248100"/>
              <a:chOff x="5696016" y="3086100"/>
              <a:chExt cx="800080" cy="685799"/>
            </a:xfrm>
            <a:grpFill/>
          </p:grpSpPr>
          <p:sp>
            <p:nvSpPr>
              <p:cNvPr id="2111" name="Vrije vorm: vorm 2110">
                <a:extLst>
                  <a:ext uri="{FF2B5EF4-FFF2-40B4-BE49-F238E27FC236}">
                    <a16:creationId xmlns:a16="http://schemas.microsoft.com/office/drawing/2014/main" id="{1B6CD897-F446-6A13-5F8E-15DAA4E73EF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12" name="Vrije vorm: vorm 2111">
                <a:extLst>
                  <a:ext uri="{FF2B5EF4-FFF2-40B4-BE49-F238E27FC236}">
                    <a16:creationId xmlns:a16="http://schemas.microsoft.com/office/drawing/2014/main" id="{F2555A28-4029-F28B-9414-1E59FE8B2A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0" name="Groep 1999">
              <a:extLst>
                <a:ext uri="{FF2B5EF4-FFF2-40B4-BE49-F238E27FC236}">
                  <a16:creationId xmlns:a16="http://schemas.microsoft.com/office/drawing/2014/main" id="{89432EDF-1A37-92CF-7698-2C48A44C0A93}"/>
                </a:ext>
              </a:extLst>
            </p:cNvPr>
            <p:cNvGrpSpPr/>
            <p:nvPr/>
          </p:nvGrpSpPr>
          <p:grpSpPr>
            <a:xfrm>
              <a:off x="7784107" y="843417"/>
              <a:ext cx="289443" cy="248100"/>
              <a:chOff x="5696016" y="3086100"/>
              <a:chExt cx="800080" cy="685799"/>
            </a:xfrm>
            <a:grpFill/>
          </p:grpSpPr>
          <p:sp>
            <p:nvSpPr>
              <p:cNvPr id="2109" name="Vrije vorm: vorm 2108">
                <a:extLst>
                  <a:ext uri="{FF2B5EF4-FFF2-40B4-BE49-F238E27FC236}">
                    <a16:creationId xmlns:a16="http://schemas.microsoft.com/office/drawing/2014/main" id="{01488369-4F41-584F-45A9-5D5050E042F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10" name="Vrije vorm: vorm 2109">
                <a:extLst>
                  <a:ext uri="{FF2B5EF4-FFF2-40B4-BE49-F238E27FC236}">
                    <a16:creationId xmlns:a16="http://schemas.microsoft.com/office/drawing/2014/main" id="{E5450026-6FBB-D489-632C-616906AFC23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1" name="Groep 2000">
              <a:extLst>
                <a:ext uri="{FF2B5EF4-FFF2-40B4-BE49-F238E27FC236}">
                  <a16:creationId xmlns:a16="http://schemas.microsoft.com/office/drawing/2014/main" id="{A1620625-959C-8224-429D-60A0E14F9B03}"/>
                </a:ext>
              </a:extLst>
            </p:cNvPr>
            <p:cNvGrpSpPr/>
            <p:nvPr/>
          </p:nvGrpSpPr>
          <p:grpSpPr>
            <a:xfrm>
              <a:off x="7139131" y="1153435"/>
              <a:ext cx="289443" cy="248100"/>
              <a:chOff x="5696016" y="3086100"/>
              <a:chExt cx="800080" cy="685799"/>
            </a:xfrm>
            <a:grpFill/>
          </p:grpSpPr>
          <p:sp>
            <p:nvSpPr>
              <p:cNvPr id="2107" name="Vrije vorm: vorm 2106">
                <a:extLst>
                  <a:ext uri="{FF2B5EF4-FFF2-40B4-BE49-F238E27FC236}">
                    <a16:creationId xmlns:a16="http://schemas.microsoft.com/office/drawing/2014/main" id="{3ADEF66E-0F69-EA35-AC06-9138DEA66D1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08" name="Vrije vorm: vorm 2107">
                <a:extLst>
                  <a:ext uri="{FF2B5EF4-FFF2-40B4-BE49-F238E27FC236}">
                    <a16:creationId xmlns:a16="http://schemas.microsoft.com/office/drawing/2014/main" id="{5DAB92DE-71BE-7F69-4FB1-5A42924EF55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2" name="Groep 2001">
              <a:extLst>
                <a:ext uri="{FF2B5EF4-FFF2-40B4-BE49-F238E27FC236}">
                  <a16:creationId xmlns:a16="http://schemas.microsoft.com/office/drawing/2014/main" id="{E969952D-5582-B799-E867-2DF98322AF24}"/>
                </a:ext>
              </a:extLst>
            </p:cNvPr>
            <p:cNvGrpSpPr/>
            <p:nvPr/>
          </p:nvGrpSpPr>
          <p:grpSpPr>
            <a:xfrm>
              <a:off x="7461619" y="1153435"/>
              <a:ext cx="289443" cy="248100"/>
              <a:chOff x="5696016" y="3086100"/>
              <a:chExt cx="800080" cy="685799"/>
            </a:xfrm>
            <a:grpFill/>
          </p:grpSpPr>
          <p:sp>
            <p:nvSpPr>
              <p:cNvPr id="2105" name="Vrije vorm: vorm 2104">
                <a:extLst>
                  <a:ext uri="{FF2B5EF4-FFF2-40B4-BE49-F238E27FC236}">
                    <a16:creationId xmlns:a16="http://schemas.microsoft.com/office/drawing/2014/main" id="{ADE27A8C-3919-275E-B465-0770300BE73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06" name="Vrije vorm: vorm 2105">
                <a:extLst>
                  <a:ext uri="{FF2B5EF4-FFF2-40B4-BE49-F238E27FC236}">
                    <a16:creationId xmlns:a16="http://schemas.microsoft.com/office/drawing/2014/main" id="{5B9F1AC2-6363-5E18-B66F-CA805D35664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3" name="Groep 2002">
              <a:extLst>
                <a:ext uri="{FF2B5EF4-FFF2-40B4-BE49-F238E27FC236}">
                  <a16:creationId xmlns:a16="http://schemas.microsoft.com/office/drawing/2014/main" id="{9CD845F0-9B42-5962-259E-DC1FE224CB7F}"/>
                </a:ext>
              </a:extLst>
            </p:cNvPr>
            <p:cNvGrpSpPr/>
            <p:nvPr/>
          </p:nvGrpSpPr>
          <p:grpSpPr>
            <a:xfrm>
              <a:off x="7784107" y="1153435"/>
              <a:ext cx="289443" cy="248100"/>
              <a:chOff x="5696016" y="3086100"/>
              <a:chExt cx="800080" cy="685799"/>
            </a:xfrm>
            <a:grpFill/>
          </p:grpSpPr>
          <p:sp>
            <p:nvSpPr>
              <p:cNvPr id="2103" name="Vrije vorm: vorm 2102">
                <a:extLst>
                  <a:ext uri="{FF2B5EF4-FFF2-40B4-BE49-F238E27FC236}">
                    <a16:creationId xmlns:a16="http://schemas.microsoft.com/office/drawing/2014/main" id="{90D09FDF-DE65-390C-A8F2-550BC9828D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04" name="Vrije vorm: vorm 2103">
                <a:extLst>
                  <a:ext uri="{FF2B5EF4-FFF2-40B4-BE49-F238E27FC236}">
                    <a16:creationId xmlns:a16="http://schemas.microsoft.com/office/drawing/2014/main" id="{B38E78E0-9161-22CE-B24C-62E414CC66A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4" name="Groep 2003">
              <a:extLst>
                <a:ext uri="{FF2B5EF4-FFF2-40B4-BE49-F238E27FC236}">
                  <a16:creationId xmlns:a16="http://schemas.microsoft.com/office/drawing/2014/main" id="{492F0909-1544-2BF6-7A6A-63C007AF7099}"/>
                </a:ext>
              </a:extLst>
            </p:cNvPr>
            <p:cNvGrpSpPr/>
            <p:nvPr/>
          </p:nvGrpSpPr>
          <p:grpSpPr>
            <a:xfrm>
              <a:off x="7139131" y="1463451"/>
              <a:ext cx="289443" cy="248100"/>
              <a:chOff x="5696016" y="3086100"/>
              <a:chExt cx="800080" cy="685799"/>
            </a:xfrm>
            <a:grpFill/>
          </p:grpSpPr>
          <p:sp>
            <p:nvSpPr>
              <p:cNvPr id="2101" name="Vrije vorm: vorm 2100">
                <a:extLst>
                  <a:ext uri="{FF2B5EF4-FFF2-40B4-BE49-F238E27FC236}">
                    <a16:creationId xmlns:a16="http://schemas.microsoft.com/office/drawing/2014/main" id="{C50AE70D-0429-37E1-2440-82B78B14416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02" name="Vrije vorm: vorm 2101">
                <a:extLst>
                  <a:ext uri="{FF2B5EF4-FFF2-40B4-BE49-F238E27FC236}">
                    <a16:creationId xmlns:a16="http://schemas.microsoft.com/office/drawing/2014/main" id="{9F894539-CDDE-039A-827C-B3B2F8D3458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5" name="Groep 2004">
              <a:extLst>
                <a:ext uri="{FF2B5EF4-FFF2-40B4-BE49-F238E27FC236}">
                  <a16:creationId xmlns:a16="http://schemas.microsoft.com/office/drawing/2014/main" id="{5AB98848-A1F0-AC40-CEEE-F2EF7900490A}"/>
                </a:ext>
              </a:extLst>
            </p:cNvPr>
            <p:cNvGrpSpPr/>
            <p:nvPr/>
          </p:nvGrpSpPr>
          <p:grpSpPr>
            <a:xfrm>
              <a:off x="7461619" y="1463451"/>
              <a:ext cx="289443" cy="248100"/>
              <a:chOff x="5696016" y="3086100"/>
              <a:chExt cx="800080" cy="685799"/>
            </a:xfrm>
            <a:grpFill/>
          </p:grpSpPr>
          <p:sp>
            <p:nvSpPr>
              <p:cNvPr id="2099" name="Vrije vorm: vorm 2098">
                <a:extLst>
                  <a:ext uri="{FF2B5EF4-FFF2-40B4-BE49-F238E27FC236}">
                    <a16:creationId xmlns:a16="http://schemas.microsoft.com/office/drawing/2014/main" id="{DC8F0428-65F3-0E32-CDB7-786548DF678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00" name="Vrije vorm: vorm 2099">
                <a:extLst>
                  <a:ext uri="{FF2B5EF4-FFF2-40B4-BE49-F238E27FC236}">
                    <a16:creationId xmlns:a16="http://schemas.microsoft.com/office/drawing/2014/main" id="{F19F014E-7DD3-D8BC-5A35-F5189F613B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6" name="Groep 2005">
              <a:extLst>
                <a:ext uri="{FF2B5EF4-FFF2-40B4-BE49-F238E27FC236}">
                  <a16:creationId xmlns:a16="http://schemas.microsoft.com/office/drawing/2014/main" id="{EFEED470-6056-7BCA-26AB-C224D84024D1}"/>
                </a:ext>
              </a:extLst>
            </p:cNvPr>
            <p:cNvGrpSpPr/>
            <p:nvPr/>
          </p:nvGrpSpPr>
          <p:grpSpPr>
            <a:xfrm>
              <a:off x="7784107" y="1463451"/>
              <a:ext cx="289443" cy="248100"/>
              <a:chOff x="5696016" y="3086100"/>
              <a:chExt cx="800080" cy="685799"/>
            </a:xfrm>
            <a:grpFill/>
          </p:grpSpPr>
          <p:sp>
            <p:nvSpPr>
              <p:cNvPr id="2097" name="Vrije vorm: vorm 2096">
                <a:extLst>
                  <a:ext uri="{FF2B5EF4-FFF2-40B4-BE49-F238E27FC236}">
                    <a16:creationId xmlns:a16="http://schemas.microsoft.com/office/drawing/2014/main" id="{35CD2509-D8EF-8097-2B48-5B9540D50DF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98" name="Vrije vorm: vorm 2097">
                <a:extLst>
                  <a:ext uri="{FF2B5EF4-FFF2-40B4-BE49-F238E27FC236}">
                    <a16:creationId xmlns:a16="http://schemas.microsoft.com/office/drawing/2014/main" id="{9E91F42C-B88F-58EF-1360-3C260A39B1B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7" name="Groep 2006">
              <a:extLst>
                <a:ext uri="{FF2B5EF4-FFF2-40B4-BE49-F238E27FC236}">
                  <a16:creationId xmlns:a16="http://schemas.microsoft.com/office/drawing/2014/main" id="{D4024848-D661-4876-BBE9-70B73D31A0C1}"/>
                </a:ext>
              </a:extLst>
            </p:cNvPr>
            <p:cNvGrpSpPr/>
            <p:nvPr/>
          </p:nvGrpSpPr>
          <p:grpSpPr>
            <a:xfrm>
              <a:off x="7139131" y="1773467"/>
              <a:ext cx="289443" cy="248100"/>
              <a:chOff x="5696016" y="3086100"/>
              <a:chExt cx="800080" cy="685799"/>
            </a:xfrm>
            <a:grpFill/>
          </p:grpSpPr>
          <p:sp>
            <p:nvSpPr>
              <p:cNvPr id="2095" name="Vrije vorm: vorm 2094">
                <a:extLst>
                  <a:ext uri="{FF2B5EF4-FFF2-40B4-BE49-F238E27FC236}">
                    <a16:creationId xmlns:a16="http://schemas.microsoft.com/office/drawing/2014/main" id="{A78B4037-D8BF-33E3-2BA1-9F21068A4F3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96" name="Vrije vorm: vorm 2095">
                <a:extLst>
                  <a:ext uri="{FF2B5EF4-FFF2-40B4-BE49-F238E27FC236}">
                    <a16:creationId xmlns:a16="http://schemas.microsoft.com/office/drawing/2014/main" id="{5F90B89A-A5A8-C4B4-1323-30B76FFAC7C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8" name="Groep 2007">
              <a:extLst>
                <a:ext uri="{FF2B5EF4-FFF2-40B4-BE49-F238E27FC236}">
                  <a16:creationId xmlns:a16="http://schemas.microsoft.com/office/drawing/2014/main" id="{70DCEC26-7632-D5A5-D504-C8EA0BE8566A}"/>
                </a:ext>
              </a:extLst>
            </p:cNvPr>
            <p:cNvGrpSpPr/>
            <p:nvPr/>
          </p:nvGrpSpPr>
          <p:grpSpPr>
            <a:xfrm>
              <a:off x="7461619" y="1773467"/>
              <a:ext cx="289443" cy="248100"/>
              <a:chOff x="5696016" y="3086100"/>
              <a:chExt cx="800080" cy="685799"/>
            </a:xfrm>
            <a:grpFill/>
          </p:grpSpPr>
          <p:sp>
            <p:nvSpPr>
              <p:cNvPr id="2093" name="Vrije vorm: vorm 2092">
                <a:extLst>
                  <a:ext uri="{FF2B5EF4-FFF2-40B4-BE49-F238E27FC236}">
                    <a16:creationId xmlns:a16="http://schemas.microsoft.com/office/drawing/2014/main" id="{F0585A65-BEE6-6264-DF02-60CC054F3B9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94" name="Vrije vorm: vorm 2093">
                <a:extLst>
                  <a:ext uri="{FF2B5EF4-FFF2-40B4-BE49-F238E27FC236}">
                    <a16:creationId xmlns:a16="http://schemas.microsoft.com/office/drawing/2014/main" id="{F9DE618F-EAD7-4BBF-610E-95551679A9A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09" name="Groep 2008">
              <a:extLst>
                <a:ext uri="{FF2B5EF4-FFF2-40B4-BE49-F238E27FC236}">
                  <a16:creationId xmlns:a16="http://schemas.microsoft.com/office/drawing/2014/main" id="{19B004D8-4020-AA77-E274-B2E9A0831AED}"/>
                </a:ext>
              </a:extLst>
            </p:cNvPr>
            <p:cNvGrpSpPr/>
            <p:nvPr/>
          </p:nvGrpSpPr>
          <p:grpSpPr>
            <a:xfrm>
              <a:off x="7784107" y="1773467"/>
              <a:ext cx="289443" cy="248100"/>
              <a:chOff x="5696016" y="3086100"/>
              <a:chExt cx="800080" cy="685799"/>
            </a:xfrm>
            <a:grpFill/>
          </p:grpSpPr>
          <p:sp>
            <p:nvSpPr>
              <p:cNvPr id="2091" name="Vrije vorm: vorm 2090">
                <a:extLst>
                  <a:ext uri="{FF2B5EF4-FFF2-40B4-BE49-F238E27FC236}">
                    <a16:creationId xmlns:a16="http://schemas.microsoft.com/office/drawing/2014/main" id="{697CCE3D-C8BF-073D-46E1-80F541BC8C0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92" name="Vrije vorm: vorm 2091">
                <a:extLst>
                  <a:ext uri="{FF2B5EF4-FFF2-40B4-BE49-F238E27FC236}">
                    <a16:creationId xmlns:a16="http://schemas.microsoft.com/office/drawing/2014/main" id="{86F400D6-F229-0296-952E-30BBA42182F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0" name="Groep 2009">
              <a:extLst>
                <a:ext uri="{FF2B5EF4-FFF2-40B4-BE49-F238E27FC236}">
                  <a16:creationId xmlns:a16="http://schemas.microsoft.com/office/drawing/2014/main" id="{FD4FA871-A1C0-7C1F-BC2E-35574D35E932}"/>
                </a:ext>
              </a:extLst>
            </p:cNvPr>
            <p:cNvGrpSpPr/>
            <p:nvPr/>
          </p:nvGrpSpPr>
          <p:grpSpPr>
            <a:xfrm>
              <a:off x="7139131" y="2083483"/>
              <a:ext cx="289443" cy="248100"/>
              <a:chOff x="5696016" y="3086100"/>
              <a:chExt cx="800080" cy="685799"/>
            </a:xfrm>
            <a:grpFill/>
          </p:grpSpPr>
          <p:sp>
            <p:nvSpPr>
              <p:cNvPr id="2089" name="Vrije vorm: vorm 2088">
                <a:extLst>
                  <a:ext uri="{FF2B5EF4-FFF2-40B4-BE49-F238E27FC236}">
                    <a16:creationId xmlns:a16="http://schemas.microsoft.com/office/drawing/2014/main" id="{24A6F8B8-F7B5-78DD-A82C-50BBA536A56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90" name="Vrije vorm: vorm 2089">
                <a:extLst>
                  <a:ext uri="{FF2B5EF4-FFF2-40B4-BE49-F238E27FC236}">
                    <a16:creationId xmlns:a16="http://schemas.microsoft.com/office/drawing/2014/main" id="{C841E5DA-0888-1B6C-D14B-3D5952C949D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1" name="Groep 2010">
              <a:extLst>
                <a:ext uri="{FF2B5EF4-FFF2-40B4-BE49-F238E27FC236}">
                  <a16:creationId xmlns:a16="http://schemas.microsoft.com/office/drawing/2014/main" id="{765EBA19-28A1-612E-530F-4CED7D562B6F}"/>
                </a:ext>
              </a:extLst>
            </p:cNvPr>
            <p:cNvGrpSpPr/>
            <p:nvPr/>
          </p:nvGrpSpPr>
          <p:grpSpPr>
            <a:xfrm>
              <a:off x="7461619" y="2083483"/>
              <a:ext cx="289443" cy="248100"/>
              <a:chOff x="5696016" y="3086100"/>
              <a:chExt cx="800080" cy="685799"/>
            </a:xfrm>
            <a:grpFill/>
          </p:grpSpPr>
          <p:sp>
            <p:nvSpPr>
              <p:cNvPr id="2087" name="Vrije vorm: vorm 2086">
                <a:extLst>
                  <a:ext uri="{FF2B5EF4-FFF2-40B4-BE49-F238E27FC236}">
                    <a16:creationId xmlns:a16="http://schemas.microsoft.com/office/drawing/2014/main" id="{45651D81-9DB7-0FED-4B4B-80700A15FDA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88" name="Vrije vorm: vorm 2087">
                <a:extLst>
                  <a:ext uri="{FF2B5EF4-FFF2-40B4-BE49-F238E27FC236}">
                    <a16:creationId xmlns:a16="http://schemas.microsoft.com/office/drawing/2014/main" id="{1AA8D44A-75C7-A3A9-F9BA-35F9A095126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2" name="Groep 2011">
              <a:extLst>
                <a:ext uri="{FF2B5EF4-FFF2-40B4-BE49-F238E27FC236}">
                  <a16:creationId xmlns:a16="http://schemas.microsoft.com/office/drawing/2014/main" id="{66954F93-5480-B192-BADB-30985829B9D1}"/>
                </a:ext>
              </a:extLst>
            </p:cNvPr>
            <p:cNvGrpSpPr/>
            <p:nvPr/>
          </p:nvGrpSpPr>
          <p:grpSpPr>
            <a:xfrm>
              <a:off x="7784107" y="2083483"/>
              <a:ext cx="289443" cy="248100"/>
              <a:chOff x="5696016" y="3086100"/>
              <a:chExt cx="800080" cy="685799"/>
            </a:xfrm>
            <a:grpFill/>
          </p:grpSpPr>
          <p:sp>
            <p:nvSpPr>
              <p:cNvPr id="2085" name="Vrije vorm: vorm 2084">
                <a:extLst>
                  <a:ext uri="{FF2B5EF4-FFF2-40B4-BE49-F238E27FC236}">
                    <a16:creationId xmlns:a16="http://schemas.microsoft.com/office/drawing/2014/main" id="{24280624-A9C3-5FD8-CE6D-52E4B384511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86" name="Vrije vorm: vorm 2085">
                <a:extLst>
                  <a:ext uri="{FF2B5EF4-FFF2-40B4-BE49-F238E27FC236}">
                    <a16:creationId xmlns:a16="http://schemas.microsoft.com/office/drawing/2014/main" id="{2FB5A4D9-C4B2-C751-A1FE-6EA4796C995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3" name="Groep 2012">
              <a:extLst>
                <a:ext uri="{FF2B5EF4-FFF2-40B4-BE49-F238E27FC236}">
                  <a16:creationId xmlns:a16="http://schemas.microsoft.com/office/drawing/2014/main" id="{9CF5DD48-F97F-94DA-D57C-BBCDF1817845}"/>
                </a:ext>
              </a:extLst>
            </p:cNvPr>
            <p:cNvGrpSpPr/>
            <p:nvPr/>
          </p:nvGrpSpPr>
          <p:grpSpPr>
            <a:xfrm>
              <a:off x="7139131" y="2393500"/>
              <a:ext cx="289443" cy="248100"/>
              <a:chOff x="5696016" y="3086100"/>
              <a:chExt cx="800080" cy="685799"/>
            </a:xfrm>
            <a:grpFill/>
          </p:grpSpPr>
          <p:sp>
            <p:nvSpPr>
              <p:cNvPr id="2083" name="Vrije vorm: vorm 2082">
                <a:extLst>
                  <a:ext uri="{FF2B5EF4-FFF2-40B4-BE49-F238E27FC236}">
                    <a16:creationId xmlns:a16="http://schemas.microsoft.com/office/drawing/2014/main" id="{266A8825-0DE4-C02F-6860-6E37F43E6EB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84" name="Vrije vorm: vorm 2083">
                <a:extLst>
                  <a:ext uri="{FF2B5EF4-FFF2-40B4-BE49-F238E27FC236}">
                    <a16:creationId xmlns:a16="http://schemas.microsoft.com/office/drawing/2014/main" id="{B56BB13C-0F37-4B21-D94B-6A82991EF7D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4" name="Groep 2013">
              <a:extLst>
                <a:ext uri="{FF2B5EF4-FFF2-40B4-BE49-F238E27FC236}">
                  <a16:creationId xmlns:a16="http://schemas.microsoft.com/office/drawing/2014/main" id="{F64849D4-F78E-6A11-E595-55526C939691}"/>
                </a:ext>
              </a:extLst>
            </p:cNvPr>
            <p:cNvGrpSpPr/>
            <p:nvPr/>
          </p:nvGrpSpPr>
          <p:grpSpPr>
            <a:xfrm>
              <a:off x="7461619" y="2393500"/>
              <a:ext cx="289443" cy="248100"/>
              <a:chOff x="5696016" y="3086100"/>
              <a:chExt cx="800080" cy="685799"/>
            </a:xfrm>
            <a:grpFill/>
          </p:grpSpPr>
          <p:sp>
            <p:nvSpPr>
              <p:cNvPr id="2081" name="Vrije vorm: vorm 2080">
                <a:extLst>
                  <a:ext uri="{FF2B5EF4-FFF2-40B4-BE49-F238E27FC236}">
                    <a16:creationId xmlns:a16="http://schemas.microsoft.com/office/drawing/2014/main" id="{42A0ABC9-3E9A-C1AA-3F22-0EF3AAABC9C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82" name="Vrije vorm: vorm 2081">
                <a:extLst>
                  <a:ext uri="{FF2B5EF4-FFF2-40B4-BE49-F238E27FC236}">
                    <a16:creationId xmlns:a16="http://schemas.microsoft.com/office/drawing/2014/main" id="{10ACA5A0-9E17-207B-33A3-841E346E07B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5" name="Groep 2014">
              <a:extLst>
                <a:ext uri="{FF2B5EF4-FFF2-40B4-BE49-F238E27FC236}">
                  <a16:creationId xmlns:a16="http://schemas.microsoft.com/office/drawing/2014/main" id="{45155A7A-15EB-D7A2-02F1-8495FD457C1B}"/>
                </a:ext>
              </a:extLst>
            </p:cNvPr>
            <p:cNvGrpSpPr/>
            <p:nvPr/>
          </p:nvGrpSpPr>
          <p:grpSpPr>
            <a:xfrm>
              <a:off x="7784107" y="2393500"/>
              <a:ext cx="289443" cy="248100"/>
              <a:chOff x="5696016" y="3086100"/>
              <a:chExt cx="800080" cy="685799"/>
            </a:xfrm>
            <a:grpFill/>
          </p:grpSpPr>
          <p:sp>
            <p:nvSpPr>
              <p:cNvPr id="2079" name="Vrije vorm: vorm 2078">
                <a:extLst>
                  <a:ext uri="{FF2B5EF4-FFF2-40B4-BE49-F238E27FC236}">
                    <a16:creationId xmlns:a16="http://schemas.microsoft.com/office/drawing/2014/main" id="{A3BBCEE0-164A-50C6-479D-C1ECADF8E8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80" name="Vrije vorm: vorm 2079">
                <a:extLst>
                  <a:ext uri="{FF2B5EF4-FFF2-40B4-BE49-F238E27FC236}">
                    <a16:creationId xmlns:a16="http://schemas.microsoft.com/office/drawing/2014/main" id="{1802EF1C-4C08-CBD0-7658-F43CB8B63FB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6" name="Groep 2015">
              <a:extLst>
                <a:ext uri="{FF2B5EF4-FFF2-40B4-BE49-F238E27FC236}">
                  <a16:creationId xmlns:a16="http://schemas.microsoft.com/office/drawing/2014/main" id="{98072303-AFA2-8421-EDAE-7DF1EAC9DE61}"/>
                </a:ext>
              </a:extLst>
            </p:cNvPr>
            <p:cNvGrpSpPr/>
            <p:nvPr/>
          </p:nvGrpSpPr>
          <p:grpSpPr>
            <a:xfrm>
              <a:off x="7133223" y="2705100"/>
              <a:ext cx="289443" cy="248100"/>
              <a:chOff x="5696016" y="3086100"/>
              <a:chExt cx="800080" cy="685799"/>
            </a:xfrm>
            <a:grpFill/>
          </p:grpSpPr>
          <p:sp>
            <p:nvSpPr>
              <p:cNvPr id="2077" name="Vrije vorm: vorm 2076">
                <a:extLst>
                  <a:ext uri="{FF2B5EF4-FFF2-40B4-BE49-F238E27FC236}">
                    <a16:creationId xmlns:a16="http://schemas.microsoft.com/office/drawing/2014/main" id="{0516B773-FC93-913B-15F3-C5958B5D5EC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78" name="Vrije vorm: vorm 2077">
                <a:extLst>
                  <a:ext uri="{FF2B5EF4-FFF2-40B4-BE49-F238E27FC236}">
                    <a16:creationId xmlns:a16="http://schemas.microsoft.com/office/drawing/2014/main" id="{D5592AB4-FC73-E2B2-196A-99BF491E68A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7" name="Groep 2016">
              <a:extLst>
                <a:ext uri="{FF2B5EF4-FFF2-40B4-BE49-F238E27FC236}">
                  <a16:creationId xmlns:a16="http://schemas.microsoft.com/office/drawing/2014/main" id="{0FA81C40-1B25-E780-0763-075475317AA5}"/>
                </a:ext>
              </a:extLst>
            </p:cNvPr>
            <p:cNvGrpSpPr/>
            <p:nvPr/>
          </p:nvGrpSpPr>
          <p:grpSpPr>
            <a:xfrm>
              <a:off x="7455711" y="2705100"/>
              <a:ext cx="289443" cy="248100"/>
              <a:chOff x="5696016" y="3086100"/>
              <a:chExt cx="800080" cy="685799"/>
            </a:xfrm>
            <a:grpFill/>
          </p:grpSpPr>
          <p:sp>
            <p:nvSpPr>
              <p:cNvPr id="2075" name="Vrije vorm: vorm 2074">
                <a:extLst>
                  <a:ext uri="{FF2B5EF4-FFF2-40B4-BE49-F238E27FC236}">
                    <a16:creationId xmlns:a16="http://schemas.microsoft.com/office/drawing/2014/main" id="{B8CA51D6-68AC-7816-3608-FA1C82249A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76" name="Vrije vorm: vorm 2075">
                <a:extLst>
                  <a:ext uri="{FF2B5EF4-FFF2-40B4-BE49-F238E27FC236}">
                    <a16:creationId xmlns:a16="http://schemas.microsoft.com/office/drawing/2014/main" id="{A5BBA878-2A00-657D-F0E2-BA6B4705D09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8" name="Groep 2017">
              <a:extLst>
                <a:ext uri="{FF2B5EF4-FFF2-40B4-BE49-F238E27FC236}">
                  <a16:creationId xmlns:a16="http://schemas.microsoft.com/office/drawing/2014/main" id="{EB39437E-008B-3651-BC76-6E485A1C7078}"/>
                </a:ext>
              </a:extLst>
            </p:cNvPr>
            <p:cNvGrpSpPr/>
            <p:nvPr/>
          </p:nvGrpSpPr>
          <p:grpSpPr>
            <a:xfrm>
              <a:off x="7778199" y="2705100"/>
              <a:ext cx="289443" cy="248100"/>
              <a:chOff x="5696016" y="3086100"/>
              <a:chExt cx="800080" cy="685799"/>
            </a:xfrm>
            <a:grpFill/>
          </p:grpSpPr>
          <p:sp>
            <p:nvSpPr>
              <p:cNvPr id="2073" name="Vrije vorm: vorm 2072">
                <a:extLst>
                  <a:ext uri="{FF2B5EF4-FFF2-40B4-BE49-F238E27FC236}">
                    <a16:creationId xmlns:a16="http://schemas.microsoft.com/office/drawing/2014/main" id="{E7950EFB-CA81-3150-4793-617E5558C88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74" name="Vrije vorm: vorm 2073">
                <a:extLst>
                  <a:ext uri="{FF2B5EF4-FFF2-40B4-BE49-F238E27FC236}">
                    <a16:creationId xmlns:a16="http://schemas.microsoft.com/office/drawing/2014/main" id="{E2A11858-8E7F-AF62-2DEB-794DA77D4AE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19" name="Groep 2018">
              <a:extLst>
                <a:ext uri="{FF2B5EF4-FFF2-40B4-BE49-F238E27FC236}">
                  <a16:creationId xmlns:a16="http://schemas.microsoft.com/office/drawing/2014/main" id="{D03EE704-9289-F1D8-69A8-146225556AC0}"/>
                </a:ext>
              </a:extLst>
            </p:cNvPr>
            <p:cNvGrpSpPr/>
            <p:nvPr/>
          </p:nvGrpSpPr>
          <p:grpSpPr>
            <a:xfrm>
              <a:off x="7133223" y="3015117"/>
              <a:ext cx="289443" cy="248100"/>
              <a:chOff x="5696016" y="3086100"/>
              <a:chExt cx="800080" cy="685799"/>
            </a:xfrm>
            <a:grpFill/>
          </p:grpSpPr>
          <p:sp>
            <p:nvSpPr>
              <p:cNvPr id="2071" name="Vrije vorm: vorm 2070">
                <a:extLst>
                  <a:ext uri="{FF2B5EF4-FFF2-40B4-BE49-F238E27FC236}">
                    <a16:creationId xmlns:a16="http://schemas.microsoft.com/office/drawing/2014/main" id="{F1FCD038-AA2D-ACBA-5E05-B738BD13B81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72" name="Vrije vorm: vorm 2071">
                <a:extLst>
                  <a:ext uri="{FF2B5EF4-FFF2-40B4-BE49-F238E27FC236}">
                    <a16:creationId xmlns:a16="http://schemas.microsoft.com/office/drawing/2014/main" id="{025BB683-A60B-A830-DAA1-3806FF0C2A5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0" name="Groep 2019">
              <a:extLst>
                <a:ext uri="{FF2B5EF4-FFF2-40B4-BE49-F238E27FC236}">
                  <a16:creationId xmlns:a16="http://schemas.microsoft.com/office/drawing/2014/main" id="{758126F3-258B-3FD4-0C1A-4BA7D45F4CF4}"/>
                </a:ext>
              </a:extLst>
            </p:cNvPr>
            <p:cNvGrpSpPr/>
            <p:nvPr/>
          </p:nvGrpSpPr>
          <p:grpSpPr>
            <a:xfrm>
              <a:off x="7455711" y="3015117"/>
              <a:ext cx="289443" cy="248100"/>
              <a:chOff x="5696016" y="3086100"/>
              <a:chExt cx="800080" cy="685799"/>
            </a:xfrm>
            <a:grpFill/>
          </p:grpSpPr>
          <p:sp>
            <p:nvSpPr>
              <p:cNvPr id="2069" name="Vrije vorm: vorm 2068">
                <a:extLst>
                  <a:ext uri="{FF2B5EF4-FFF2-40B4-BE49-F238E27FC236}">
                    <a16:creationId xmlns:a16="http://schemas.microsoft.com/office/drawing/2014/main" id="{CC3431BE-657B-0EC5-89DB-3FF67EC31FA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70" name="Vrije vorm: vorm 2069">
                <a:extLst>
                  <a:ext uri="{FF2B5EF4-FFF2-40B4-BE49-F238E27FC236}">
                    <a16:creationId xmlns:a16="http://schemas.microsoft.com/office/drawing/2014/main" id="{D9F26DA9-E9FB-9973-A105-527BD881449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1" name="Groep 2020">
              <a:extLst>
                <a:ext uri="{FF2B5EF4-FFF2-40B4-BE49-F238E27FC236}">
                  <a16:creationId xmlns:a16="http://schemas.microsoft.com/office/drawing/2014/main" id="{F37BE29D-7E36-02D4-86ED-9E188A5E9E04}"/>
                </a:ext>
              </a:extLst>
            </p:cNvPr>
            <p:cNvGrpSpPr/>
            <p:nvPr/>
          </p:nvGrpSpPr>
          <p:grpSpPr>
            <a:xfrm>
              <a:off x="7778199" y="3015117"/>
              <a:ext cx="289443" cy="248100"/>
              <a:chOff x="5696016" y="3086100"/>
              <a:chExt cx="800080" cy="685799"/>
            </a:xfrm>
            <a:grpFill/>
          </p:grpSpPr>
          <p:sp>
            <p:nvSpPr>
              <p:cNvPr id="2067" name="Vrije vorm: vorm 2066">
                <a:extLst>
                  <a:ext uri="{FF2B5EF4-FFF2-40B4-BE49-F238E27FC236}">
                    <a16:creationId xmlns:a16="http://schemas.microsoft.com/office/drawing/2014/main" id="{4E63DB50-1F48-ABD5-DAF8-71C4762A0FC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68" name="Vrije vorm: vorm 2067">
                <a:extLst>
                  <a:ext uri="{FF2B5EF4-FFF2-40B4-BE49-F238E27FC236}">
                    <a16:creationId xmlns:a16="http://schemas.microsoft.com/office/drawing/2014/main" id="{E0D5938D-9715-DD39-8870-082F630C14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2" name="Groep 2021">
              <a:extLst>
                <a:ext uri="{FF2B5EF4-FFF2-40B4-BE49-F238E27FC236}">
                  <a16:creationId xmlns:a16="http://schemas.microsoft.com/office/drawing/2014/main" id="{9200B112-96AF-50DE-8392-D93659275395}"/>
                </a:ext>
              </a:extLst>
            </p:cNvPr>
            <p:cNvGrpSpPr/>
            <p:nvPr/>
          </p:nvGrpSpPr>
          <p:grpSpPr>
            <a:xfrm>
              <a:off x="7133223" y="3325135"/>
              <a:ext cx="289443" cy="248100"/>
              <a:chOff x="5696016" y="3086100"/>
              <a:chExt cx="800080" cy="685799"/>
            </a:xfrm>
            <a:grpFill/>
          </p:grpSpPr>
          <p:sp>
            <p:nvSpPr>
              <p:cNvPr id="2065" name="Vrije vorm: vorm 2064">
                <a:extLst>
                  <a:ext uri="{FF2B5EF4-FFF2-40B4-BE49-F238E27FC236}">
                    <a16:creationId xmlns:a16="http://schemas.microsoft.com/office/drawing/2014/main" id="{289FCC38-0EF6-0FFA-10F3-66DA8088517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66" name="Vrije vorm: vorm 2065">
                <a:extLst>
                  <a:ext uri="{FF2B5EF4-FFF2-40B4-BE49-F238E27FC236}">
                    <a16:creationId xmlns:a16="http://schemas.microsoft.com/office/drawing/2014/main" id="{15CAB644-8749-3375-23D1-D5AA285262D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3" name="Groep 2022">
              <a:extLst>
                <a:ext uri="{FF2B5EF4-FFF2-40B4-BE49-F238E27FC236}">
                  <a16:creationId xmlns:a16="http://schemas.microsoft.com/office/drawing/2014/main" id="{AD170C35-7D61-968C-B9A3-5AD097D5072A}"/>
                </a:ext>
              </a:extLst>
            </p:cNvPr>
            <p:cNvGrpSpPr/>
            <p:nvPr/>
          </p:nvGrpSpPr>
          <p:grpSpPr>
            <a:xfrm>
              <a:off x="7455711" y="3325135"/>
              <a:ext cx="289443" cy="248100"/>
              <a:chOff x="5696016" y="3086100"/>
              <a:chExt cx="800080" cy="685799"/>
            </a:xfrm>
            <a:grpFill/>
          </p:grpSpPr>
          <p:sp>
            <p:nvSpPr>
              <p:cNvPr id="2063" name="Vrije vorm: vorm 2062">
                <a:extLst>
                  <a:ext uri="{FF2B5EF4-FFF2-40B4-BE49-F238E27FC236}">
                    <a16:creationId xmlns:a16="http://schemas.microsoft.com/office/drawing/2014/main" id="{17F8A3D8-6DCF-588E-7798-0D0A94B0C09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64" name="Vrije vorm: vorm 2063">
                <a:extLst>
                  <a:ext uri="{FF2B5EF4-FFF2-40B4-BE49-F238E27FC236}">
                    <a16:creationId xmlns:a16="http://schemas.microsoft.com/office/drawing/2014/main" id="{59BD1D88-D74B-81BD-EE3E-74FDE7A57A9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4" name="Groep 2023">
              <a:extLst>
                <a:ext uri="{FF2B5EF4-FFF2-40B4-BE49-F238E27FC236}">
                  <a16:creationId xmlns:a16="http://schemas.microsoft.com/office/drawing/2014/main" id="{C85715FE-410B-7E96-1519-0176EB3BEE34}"/>
                </a:ext>
              </a:extLst>
            </p:cNvPr>
            <p:cNvGrpSpPr/>
            <p:nvPr/>
          </p:nvGrpSpPr>
          <p:grpSpPr>
            <a:xfrm>
              <a:off x="7778199" y="3325135"/>
              <a:ext cx="289443" cy="248100"/>
              <a:chOff x="5696016" y="3086100"/>
              <a:chExt cx="800080" cy="685799"/>
            </a:xfrm>
            <a:grpFill/>
          </p:grpSpPr>
          <p:sp>
            <p:nvSpPr>
              <p:cNvPr id="2061" name="Vrije vorm: vorm 2060">
                <a:extLst>
                  <a:ext uri="{FF2B5EF4-FFF2-40B4-BE49-F238E27FC236}">
                    <a16:creationId xmlns:a16="http://schemas.microsoft.com/office/drawing/2014/main" id="{E8CE23D7-5BBA-5A1E-B798-83EFCFA92BF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62" name="Vrije vorm: vorm 2061">
                <a:extLst>
                  <a:ext uri="{FF2B5EF4-FFF2-40B4-BE49-F238E27FC236}">
                    <a16:creationId xmlns:a16="http://schemas.microsoft.com/office/drawing/2014/main" id="{95189D40-31A7-909A-50C9-A19CE1B45F5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5" name="Groep 2024">
              <a:extLst>
                <a:ext uri="{FF2B5EF4-FFF2-40B4-BE49-F238E27FC236}">
                  <a16:creationId xmlns:a16="http://schemas.microsoft.com/office/drawing/2014/main" id="{B0985723-745D-F0F0-3D15-D34D13C60390}"/>
                </a:ext>
              </a:extLst>
            </p:cNvPr>
            <p:cNvGrpSpPr/>
            <p:nvPr/>
          </p:nvGrpSpPr>
          <p:grpSpPr>
            <a:xfrm>
              <a:off x="7133223" y="3635151"/>
              <a:ext cx="289443" cy="248100"/>
              <a:chOff x="5696016" y="3086100"/>
              <a:chExt cx="800080" cy="685799"/>
            </a:xfrm>
            <a:grpFill/>
          </p:grpSpPr>
          <p:sp>
            <p:nvSpPr>
              <p:cNvPr id="2059" name="Vrije vorm: vorm 2058">
                <a:extLst>
                  <a:ext uri="{FF2B5EF4-FFF2-40B4-BE49-F238E27FC236}">
                    <a16:creationId xmlns:a16="http://schemas.microsoft.com/office/drawing/2014/main" id="{7A1588DD-A160-B7CE-C2A4-57D7BCE6DF5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60" name="Vrije vorm: vorm 2059">
                <a:extLst>
                  <a:ext uri="{FF2B5EF4-FFF2-40B4-BE49-F238E27FC236}">
                    <a16:creationId xmlns:a16="http://schemas.microsoft.com/office/drawing/2014/main" id="{442A5A73-B9EF-C9C5-370B-A4BE1CFA429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6" name="Groep 2025">
              <a:extLst>
                <a:ext uri="{FF2B5EF4-FFF2-40B4-BE49-F238E27FC236}">
                  <a16:creationId xmlns:a16="http://schemas.microsoft.com/office/drawing/2014/main" id="{D2B2ABBD-FB8E-27FE-5FC2-ED55111ADF2C}"/>
                </a:ext>
              </a:extLst>
            </p:cNvPr>
            <p:cNvGrpSpPr/>
            <p:nvPr/>
          </p:nvGrpSpPr>
          <p:grpSpPr>
            <a:xfrm>
              <a:off x="7455711" y="3635151"/>
              <a:ext cx="289443" cy="248100"/>
              <a:chOff x="5696016" y="3086100"/>
              <a:chExt cx="800080" cy="685799"/>
            </a:xfrm>
            <a:grpFill/>
          </p:grpSpPr>
          <p:sp>
            <p:nvSpPr>
              <p:cNvPr id="2057" name="Vrije vorm: vorm 2056">
                <a:extLst>
                  <a:ext uri="{FF2B5EF4-FFF2-40B4-BE49-F238E27FC236}">
                    <a16:creationId xmlns:a16="http://schemas.microsoft.com/office/drawing/2014/main" id="{CFEBDF04-A1E8-B50F-418C-BF6DE90B4E3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58" name="Vrije vorm: vorm 2057">
                <a:extLst>
                  <a:ext uri="{FF2B5EF4-FFF2-40B4-BE49-F238E27FC236}">
                    <a16:creationId xmlns:a16="http://schemas.microsoft.com/office/drawing/2014/main" id="{B0D9F68E-2FB2-3CEA-9E10-EBB51A02C82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7" name="Groep 2026">
              <a:extLst>
                <a:ext uri="{FF2B5EF4-FFF2-40B4-BE49-F238E27FC236}">
                  <a16:creationId xmlns:a16="http://schemas.microsoft.com/office/drawing/2014/main" id="{4FEAE8F3-98DB-32A1-F755-5D2E9615FB73}"/>
                </a:ext>
              </a:extLst>
            </p:cNvPr>
            <p:cNvGrpSpPr/>
            <p:nvPr/>
          </p:nvGrpSpPr>
          <p:grpSpPr>
            <a:xfrm>
              <a:off x="7778199" y="3635151"/>
              <a:ext cx="289443" cy="248100"/>
              <a:chOff x="5696016" y="3086100"/>
              <a:chExt cx="800080" cy="685799"/>
            </a:xfrm>
            <a:grpFill/>
          </p:grpSpPr>
          <p:sp>
            <p:nvSpPr>
              <p:cNvPr id="2055" name="Vrije vorm: vorm 2054">
                <a:extLst>
                  <a:ext uri="{FF2B5EF4-FFF2-40B4-BE49-F238E27FC236}">
                    <a16:creationId xmlns:a16="http://schemas.microsoft.com/office/drawing/2014/main" id="{02FB9F7D-FFB2-8622-A0D4-B1971D6BA1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56" name="Vrije vorm: vorm 2055">
                <a:extLst>
                  <a:ext uri="{FF2B5EF4-FFF2-40B4-BE49-F238E27FC236}">
                    <a16:creationId xmlns:a16="http://schemas.microsoft.com/office/drawing/2014/main" id="{62DCF592-8B33-0AD3-1623-40853A61D0A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8" name="Groep 2027">
              <a:extLst>
                <a:ext uri="{FF2B5EF4-FFF2-40B4-BE49-F238E27FC236}">
                  <a16:creationId xmlns:a16="http://schemas.microsoft.com/office/drawing/2014/main" id="{6A3A5EE1-D7E1-2525-2170-2E9FB565F890}"/>
                </a:ext>
              </a:extLst>
            </p:cNvPr>
            <p:cNvGrpSpPr/>
            <p:nvPr/>
          </p:nvGrpSpPr>
          <p:grpSpPr>
            <a:xfrm>
              <a:off x="7133223" y="3945167"/>
              <a:ext cx="289443" cy="248100"/>
              <a:chOff x="5696016" y="3086100"/>
              <a:chExt cx="800080" cy="685799"/>
            </a:xfrm>
            <a:grpFill/>
          </p:grpSpPr>
          <p:sp>
            <p:nvSpPr>
              <p:cNvPr id="2053" name="Vrije vorm: vorm 2052">
                <a:extLst>
                  <a:ext uri="{FF2B5EF4-FFF2-40B4-BE49-F238E27FC236}">
                    <a16:creationId xmlns:a16="http://schemas.microsoft.com/office/drawing/2014/main" id="{7CDE3196-0BD4-9124-B384-56826BBD7C4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54" name="Vrije vorm: vorm 2053">
                <a:extLst>
                  <a:ext uri="{FF2B5EF4-FFF2-40B4-BE49-F238E27FC236}">
                    <a16:creationId xmlns:a16="http://schemas.microsoft.com/office/drawing/2014/main" id="{D2233BA0-3AFA-D93D-8EAE-D73876C0CF3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29" name="Groep 2028">
              <a:extLst>
                <a:ext uri="{FF2B5EF4-FFF2-40B4-BE49-F238E27FC236}">
                  <a16:creationId xmlns:a16="http://schemas.microsoft.com/office/drawing/2014/main" id="{4134DDA5-19F1-F2D1-7661-36C25C48C04E}"/>
                </a:ext>
              </a:extLst>
            </p:cNvPr>
            <p:cNvGrpSpPr/>
            <p:nvPr/>
          </p:nvGrpSpPr>
          <p:grpSpPr>
            <a:xfrm>
              <a:off x="7455711" y="3945167"/>
              <a:ext cx="289443" cy="248100"/>
              <a:chOff x="5696016" y="3086100"/>
              <a:chExt cx="800080" cy="685799"/>
            </a:xfrm>
            <a:grpFill/>
          </p:grpSpPr>
          <p:sp>
            <p:nvSpPr>
              <p:cNvPr id="2051" name="Vrije vorm: vorm 2050">
                <a:extLst>
                  <a:ext uri="{FF2B5EF4-FFF2-40B4-BE49-F238E27FC236}">
                    <a16:creationId xmlns:a16="http://schemas.microsoft.com/office/drawing/2014/main" id="{EF19D27A-EF20-88A9-1AB9-8BACCB1769B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52" name="Vrije vorm: vorm 2051">
                <a:extLst>
                  <a:ext uri="{FF2B5EF4-FFF2-40B4-BE49-F238E27FC236}">
                    <a16:creationId xmlns:a16="http://schemas.microsoft.com/office/drawing/2014/main" id="{D9568989-9CE3-BE04-93E9-3F52280CA09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0" name="Groep 2029">
              <a:extLst>
                <a:ext uri="{FF2B5EF4-FFF2-40B4-BE49-F238E27FC236}">
                  <a16:creationId xmlns:a16="http://schemas.microsoft.com/office/drawing/2014/main" id="{1150F9F4-03E7-F1E8-AF0F-4162F4BE997C}"/>
                </a:ext>
              </a:extLst>
            </p:cNvPr>
            <p:cNvGrpSpPr/>
            <p:nvPr/>
          </p:nvGrpSpPr>
          <p:grpSpPr>
            <a:xfrm>
              <a:off x="7778199" y="3945167"/>
              <a:ext cx="289443" cy="248100"/>
              <a:chOff x="5696016" y="3086100"/>
              <a:chExt cx="800080" cy="685799"/>
            </a:xfrm>
            <a:grpFill/>
          </p:grpSpPr>
          <p:sp>
            <p:nvSpPr>
              <p:cNvPr id="2049" name="Vrije vorm: vorm 2048">
                <a:extLst>
                  <a:ext uri="{FF2B5EF4-FFF2-40B4-BE49-F238E27FC236}">
                    <a16:creationId xmlns:a16="http://schemas.microsoft.com/office/drawing/2014/main" id="{EF7D5941-C945-051F-4E79-52F2F917065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50" name="Vrije vorm: vorm 2049">
                <a:extLst>
                  <a:ext uri="{FF2B5EF4-FFF2-40B4-BE49-F238E27FC236}">
                    <a16:creationId xmlns:a16="http://schemas.microsoft.com/office/drawing/2014/main" id="{79CC4C00-84E2-DB26-FB23-393387A75EF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1" name="Groep 2030">
              <a:extLst>
                <a:ext uri="{FF2B5EF4-FFF2-40B4-BE49-F238E27FC236}">
                  <a16:creationId xmlns:a16="http://schemas.microsoft.com/office/drawing/2014/main" id="{9DAF3F8B-F0CB-7B1C-3763-52C27A1C3F15}"/>
                </a:ext>
              </a:extLst>
            </p:cNvPr>
            <p:cNvGrpSpPr/>
            <p:nvPr/>
          </p:nvGrpSpPr>
          <p:grpSpPr>
            <a:xfrm>
              <a:off x="7133223" y="4255183"/>
              <a:ext cx="289443" cy="248100"/>
              <a:chOff x="5696016" y="3086100"/>
              <a:chExt cx="800080" cy="685799"/>
            </a:xfrm>
            <a:grpFill/>
          </p:grpSpPr>
          <p:sp>
            <p:nvSpPr>
              <p:cNvPr id="2047" name="Vrije vorm: vorm 2046">
                <a:extLst>
                  <a:ext uri="{FF2B5EF4-FFF2-40B4-BE49-F238E27FC236}">
                    <a16:creationId xmlns:a16="http://schemas.microsoft.com/office/drawing/2014/main" id="{87CC81CA-6793-467D-FE35-6E31EAAC7D4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48" name="Vrije vorm: vorm 2047">
                <a:extLst>
                  <a:ext uri="{FF2B5EF4-FFF2-40B4-BE49-F238E27FC236}">
                    <a16:creationId xmlns:a16="http://schemas.microsoft.com/office/drawing/2014/main" id="{3FCFAA57-52C9-99D3-5A72-D8CB5D29C71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2" name="Groep 2031">
              <a:extLst>
                <a:ext uri="{FF2B5EF4-FFF2-40B4-BE49-F238E27FC236}">
                  <a16:creationId xmlns:a16="http://schemas.microsoft.com/office/drawing/2014/main" id="{484753F4-05C1-4523-A60D-4AB57547F739}"/>
                </a:ext>
              </a:extLst>
            </p:cNvPr>
            <p:cNvGrpSpPr/>
            <p:nvPr/>
          </p:nvGrpSpPr>
          <p:grpSpPr>
            <a:xfrm>
              <a:off x="7455711" y="4255183"/>
              <a:ext cx="289443" cy="248100"/>
              <a:chOff x="5696016" y="3086100"/>
              <a:chExt cx="800080" cy="685799"/>
            </a:xfrm>
            <a:grpFill/>
          </p:grpSpPr>
          <p:sp>
            <p:nvSpPr>
              <p:cNvPr id="2045" name="Vrije vorm: vorm 2044">
                <a:extLst>
                  <a:ext uri="{FF2B5EF4-FFF2-40B4-BE49-F238E27FC236}">
                    <a16:creationId xmlns:a16="http://schemas.microsoft.com/office/drawing/2014/main" id="{B54AD1D1-5782-9464-8CA7-54B2BB8E6BC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46" name="Vrije vorm: vorm 2045">
                <a:extLst>
                  <a:ext uri="{FF2B5EF4-FFF2-40B4-BE49-F238E27FC236}">
                    <a16:creationId xmlns:a16="http://schemas.microsoft.com/office/drawing/2014/main" id="{FD27E952-3C51-FC34-FE93-08D5B30989C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3" name="Groep 2032">
              <a:extLst>
                <a:ext uri="{FF2B5EF4-FFF2-40B4-BE49-F238E27FC236}">
                  <a16:creationId xmlns:a16="http://schemas.microsoft.com/office/drawing/2014/main" id="{47A6F2D3-59E3-A0FD-DC47-24F70E5A58A7}"/>
                </a:ext>
              </a:extLst>
            </p:cNvPr>
            <p:cNvGrpSpPr/>
            <p:nvPr/>
          </p:nvGrpSpPr>
          <p:grpSpPr>
            <a:xfrm>
              <a:off x="7778199" y="4255183"/>
              <a:ext cx="289443" cy="248100"/>
              <a:chOff x="5696016" y="3086100"/>
              <a:chExt cx="800080" cy="685799"/>
            </a:xfrm>
            <a:grpFill/>
          </p:grpSpPr>
          <p:sp>
            <p:nvSpPr>
              <p:cNvPr id="2043" name="Vrije vorm: vorm 2042">
                <a:extLst>
                  <a:ext uri="{FF2B5EF4-FFF2-40B4-BE49-F238E27FC236}">
                    <a16:creationId xmlns:a16="http://schemas.microsoft.com/office/drawing/2014/main" id="{C6BFE1E2-30F3-B1C3-783D-3DA6C48122E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44" name="Vrije vorm: vorm 2043">
                <a:extLst>
                  <a:ext uri="{FF2B5EF4-FFF2-40B4-BE49-F238E27FC236}">
                    <a16:creationId xmlns:a16="http://schemas.microsoft.com/office/drawing/2014/main" id="{5BDB82BF-FFBE-5C51-9FF3-9FECE5DB080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4" name="Groep 2033">
              <a:extLst>
                <a:ext uri="{FF2B5EF4-FFF2-40B4-BE49-F238E27FC236}">
                  <a16:creationId xmlns:a16="http://schemas.microsoft.com/office/drawing/2014/main" id="{F2D4A2AB-86C3-9906-2968-80475B47844C}"/>
                </a:ext>
              </a:extLst>
            </p:cNvPr>
            <p:cNvGrpSpPr/>
            <p:nvPr/>
          </p:nvGrpSpPr>
          <p:grpSpPr>
            <a:xfrm>
              <a:off x="7133223" y="4565200"/>
              <a:ext cx="289443" cy="248100"/>
              <a:chOff x="5696016" y="3086100"/>
              <a:chExt cx="800080" cy="685799"/>
            </a:xfrm>
            <a:grpFill/>
          </p:grpSpPr>
          <p:sp>
            <p:nvSpPr>
              <p:cNvPr id="2041" name="Vrije vorm: vorm 2040">
                <a:extLst>
                  <a:ext uri="{FF2B5EF4-FFF2-40B4-BE49-F238E27FC236}">
                    <a16:creationId xmlns:a16="http://schemas.microsoft.com/office/drawing/2014/main" id="{498464CA-2B65-8FBC-C35D-4739C2DB956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42" name="Vrije vorm: vorm 2041">
                <a:extLst>
                  <a:ext uri="{FF2B5EF4-FFF2-40B4-BE49-F238E27FC236}">
                    <a16:creationId xmlns:a16="http://schemas.microsoft.com/office/drawing/2014/main" id="{BB511C0A-27CA-2A17-3805-6EB38A96E07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5" name="Groep 2034">
              <a:extLst>
                <a:ext uri="{FF2B5EF4-FFF2-40B4-BE49-F238E27FC236}">
                  <a16:creationId xmlns:a16="http://schemas.microsoft.com/office/drawing/2014/main" id="{7CD9430B-4FAF-24F6-80EA-7C6C22DC76BC}"/>
                </a:ext>
              </a:extLst>
            </p:cNvPr>
            <p:cNvGrpSpPr/>
            <p:nvPr/>
          </p:nvGrpSpPr>
          <p:grpSpPr>
            <a:xfrm>
              <a:off x="7455711" y="4565200"/>
              <a:ext cx="289443" cy="248100"/>
              <a:chOff x="5696016" y="3086100"/>
              <a:chExt cx="800080" cy="685799"/>
            </a:xfrm>
            <a:grpFill/>
          </p:grpSpPr>
          <p:sp>
            <p:nvSpPr>
              <p:cNvPr id="2039" name="Vrije vorm: vorm 2038">
                <a:extLst>
                  <a:ext uri="{FF2B5EF4-FFF2-40B4-BE49-F238E27FC236}">
                    <a16:creationId xmlns:a16="http://schemas.microsoft.com/office/drawing/2014/main" id="{D33A5935-288D-0F2D-1681-E2FA841CABD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40" name="Vrije vorm: vorm 2039">
                <a:extLst>
                  <a:ext uri="{FF2B5EF4-FFF2-40B4-BE49-F238E27FC236}">
                    <a16:creationId xmlns:a16="http://schemas.microsoft.com/office/drawing/2014/main" id="{79790408-0421-EB73-E108-BC0112EF70F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036" name="Groep 2035">
              <a:extLst>
                <a:ext uri="{FF2B5EF4-FFF2-40B4-BE49-F238E27FC236}">
                  <a16:creationId xmlns:a16="http://schemas.microsoft.com/office/drawing/2014/main" id="{B2F7EDAD-F7B7-E272-3D20-1D9B51BD9113}"/>
                </a:ext>
              </a:extLst>
            </p:cNvPr>
            <p:cNvGrpSpPr/>
            <p:nvPr/>
          </p:nvGrpSpPr>
          <p:grpSpPr>
            <a:xfrm>
              <a:off x="7778199" y="4565200"/>
              <a:ext cx="289443" cy="248100"/>
              <a:chOff x="5696016" y="3086100"/>
              <a:chExt cx="800080" cy="685799"/>
            </a:xfrm>
            <a:grpFill/>
          </p:grpSpPr>
          <p:sp>
            <p:nvSpPr>
              <p:cNvPr id="2037" name="Vrije vorm: vorm 2036">
                <a:extLst>
                  <a:ext uri="{FF2B5EF4-FFF2-40B4-BE49-F238E27FC236}">
                    <a16:creationId xmlns:a16="http://schemas.microsoft.com/office/drawing/2014/main" id="{873ADAEE-1895-C9BD-41D7-BD953FE5169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038" name="Vrije vorm: vorm 2037">
                <a:extLst>
                  <a:ext uri="{FF2B5EF4-FFF2-40B4-BE49-F238E27FC236}">
                    <a16:creationId xmlns:a16="http://schemas.microsoft.com/office/drawing/2014/main" id="{38482AF9-CC50-8424-283E-47F23D22573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121" name="Groep 2120">
            <a:extLst>
              <a:ext uri="{FF2B5EF4-FFF2-40B4-BE49-F238E27FC236}">
                <a16:creationId xmlns:a16="http://schemas.microsoft.com/office/drawing/2014/main" id="{9F503F17-98D4-4BBA-257D-53F8F532FD8D}"/>
              </a:ext>
            </a:extLst>
          </p:cNvPr>
          <p:cNvGrpSpPr/>
          <p:nvPr/>
        </p:nvGrpSpPr>
        <p:grpSpPr>
          <a:xfrm>
            <a:off x="887454" y="2044547"/>
            <a:ext cx="763072" cy="3473127"/>
            <a:chOff x="7133223" y="533400"/>
            <a:chExt cx="940327" cy="4279900"/>
          </a:xfrm>
          <a:solidFill>
            <a:schemeClr val="accent2"/>
          </a:solidFill>
        </p:grpSpPr>
        <p:grpSp>
          <p:nvGrpSpPr>
            <p:cNvPr id="2122" name="Groep 2121">
              <a:extLst>
                <a:ext uri="{FF2B5EF4-FFF2-40B4-BE49-F238E27FC236}">
                  <a16:creationId xmlns:a16="http://schemas.microsoft.com/office/drawing/2014/main" id="{9186F085-203C-5EDB-AB0F-84FBCE8918DF}"/>
                </a:ext>
              </a:extLst>
            </p:cNvPr>
            <p:cNvGrpSpPr/>
            <p:nvPr/>
          </p:nvGrpSpPr>
          <p:grpSpPr>
            <a:xfrm>
              <a:off x="7139131" y="533400"/>
              <a:ext cx="289443" cy="248100"/>
              <a:chOff x="5696016" y="3086100"/>
              <a:chExt cx="800080" cy="685799"/>
            </a:xfrm>
            <a:grpFill/>
          </p:grpSpPr>
          <p:sp>
            <p:nvSpPr>
              <p:cNvPr id="2246" name="Vrije vorm: vorm 2245">
                <a:extLst>
                  <a:ext uri="{FF2B5EF4-FFF2-40B4-BE49-F238E27FC236}">
                    <a16:creationId xmlns:a16="http://schemas.microsoft.com/office/drawing/2014/main" id="{06517F45-2F5B-9097-A0D3-ED2AC094B2D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47" name="Vrije vorm: vorm 2246">
                <a:extLst>
                  <a:ext uri="{FF2B5EF4-FFF2-40B4-BE49-F238E27FC236}">
                    <a16:creationId xmlns:a16="http://schemas.microsoft.com/office/drawing/2014/main" id="{69AA9912-12AC-BA69-B979-7CB5FFDDCFC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3" name="Groep 2122">
              <a:extLst>
                <a:ext uri="{FF2B5EF4-FFF2-40B4-BE49-F238E27FC236}">
                  <a16:creationId xmlns:a16="http://schemas.microsoft.com/office/drawing/2014/main" id="{3E3484B2-19B7-C7F1-CA8C-FEA0ED299F27}"/>
                </a:ext>
              </a:extLst>
            </p:cNvPr>
            <p:cNvGrpSpPr/>
            <p:nvPr/>
          </p:nvGrpSpPr>
          <p:grpSpPr>
            <a:xfrm>
              <a:off x="7461619" y="533400"/>
              <a:ext cx="289443" cy="248100"/>
              <a:chOff x="5696016" y="3086100"/>
              <a:chExt cx="800080" cy="685799"/>
            </a:xfrm>
            <a:grpFill/>
          </p:grpSpPr>
          <p:sp>
            <p:nvSpPr>
              <p:cNvPr id="2244" name="Vrije vorm: vorm 2243">
                <a:extLst>
                  <a:ext uri="{FF2B5EF4-FFF2-40B4-BE49-F238E27FC236}">
                    <a16:creationId xmlns:a16="http://schemas.microsoft.com/office/drawing/2014/main" id="{8D8F430D-28D3-203B-BA8E-BC4F9A66C91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45" name="Vrije vorm: vorm 2244">
                <a:extLst>
                  <a:ext uri="{FF2B5EF4-FFF2-40B4-BE49-F238E27FC236}">
                    <a16:creationId xmlns:a16="http://schemas.microsoft.com/office/drawing/2014/main" id="{AE5647B8-3637-D430-6BED-92376A10FED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4" name="Groep 2123">
              <a:extLst>
                <a:ext uri="{FF2B5EF4-FFF2-40B4-BE49-F238E27FC236}">
                  <a16:creationId xmlns:a16="http://schemas.microsoft.com/office/drawing/2014/main" id="{2A26FDE9-FB68-CC4C-E9BB-B0DEF986F5BD}"/>
                </a:ext>
              </a:extLst>
            </p:cNvPr>
            <p:cNvGrpSpPr/>
            <p:nvPr/>
          </p:nvGrpSpPr>
          <p:grpSpPr>
            <a:xfrm>
              <a:off x="7784107" y="533400"/>
              <a:ext cx="289443" cy="248100"/>
              <a:chOff x="5696016" y="3086100"/>
              <a:chExt cx="800080" cy="685799"/>
            </a:xfrm>
            <a:grpFill/>
          </p:grpSpPr>
          <p:sp>
            <p:nvSpPr>
              <p:cNvPr id="2242" name="Vrije vorm: vorm 2241">
                <a:extLst>
                  <a:ext uri="{FF2B5EF4-FFF2-40B4-BE49-F238E27FC236}">
                    <a16:creationId xmlns:a16="http://schemas.microsoft.com/office/drawing/2014/main" id="{75EDA30A-4663-ECAD-A63E-AAA2CE7C7F5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43" name="Vrije vorm: vorm 2242">
                <a:extLst>
                  <a:ext uri="{FF2B5EF4-FFF2-40B4-BE49-F238E27FC236}">
                    <a16:creationId xmlns:a16="http://schemas.microsoft.com/office/drawing/2014/main" id="{94805894-4A39-342C-8B8B-D3F24BECA03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5" name="Groep 2124">
              <a:extLst>
                <a:ext uri="{FF2B5EF4-FFF2-40B4-BE49-F238E27FC236}">
                  <a16:creationId xmlns:a16="http://schemas.microsoft.com/office/drawing/2014/main" id="{4BDCDBAB-14B7-36E2-9719-857FC1400F39}"/>
                </a:ext>
              </a:extLst>
            </p:cNvPr>
            <p:cNvGrpSpPr/>
            <p:nvPr/>
          </p:nvGrpSpPr>
          <p:grpSpPr>
            <a:xfrm>
              <a:off x="7139131" y="843417"/>
              <a:ext cx="289443" cy="248100"/>
              <a:chOff x="5696016" y="3086100"/>
              <a:chExt cx="800080" cy="685799"/>
            </a:xfrm>
            <a:grpFill/>
          </p:grpSpPr>
          <p:sp>
            <p:nvSpPr>
              <p:cNvPr id="2240" name="Vrije vorm: vorm 2239">
                <a:extLst>
                  <a:ext uri="{FF2B5EF4-FFF2-40B4-BE49-F238E27FC236}">
                    <a16:creationId xmlns:a16="http://schemas.microsoft.com/office/drawing/2014/main" id="{EB1CB43E-5759-60CF-54DA-311B8E092E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41" name="Vrije vorm: vorm 2240">
                <a:extLst>
                  <a:ext uri="{FF2B5EF4-FFF2-40B4-BE49-F238E27FC236}">
                    <a16:creationId xmlns:a16="http://schemas.microsoft.com/office/drawing/2014/main" id="{F0BD9CEF-3896-2029-729D-27EC9CE5F8B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6" name="Groep 2125">
              <a:extLst>
                <a:ext uri="{FF2B5EF4-FFF2-40B4-BE49-F238E27FC236}">
                  <a16:creationId xmlns:a16="http://schemas.microsoft.com/office/drawing/2014/main" id="{848EE86B-245E-828E-F87F-F7A9A796D734}"/>
                </a:ext>
              </a:extLst>
            </p:cNvPr>
            <p:cNvGrpSpPr/>
            <p:nvPr/>
          </p:nvGrpSpPr>
          <p:grpSpPr>
            <a:xfrm>
              <a:off x="7461619" y="843417"/>
              <a:ext cx="289443" cy="248100"/>
              <a:chOff x="5696016" y="3086100"/>
              <a:chExt cx="800080" cy="685799"/>
            </a:xfrm>
            <a:grpFill/>
          </p:grpSpPr>
          <p:sp>
            <p:nvSpPr>
              <p:cNvPr id="2238" name="Vrije vorm: vorm 2237">
                <a:extLst>
                  <a:ext uri="{FF2B5EF4-FFF2-40B4-BE49-F238E27FC236}">
                    <a16:creationId xmlns:a16="http://schemas.microsoft.com/office/drawing/2014/main" id="{2DF32AB4-04F5-2316-20CA-BE8E817F3B6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39" name="Vrije vorm: vorm 2238">
                <a:extLst>
                  <a:ext uri="{FF2B5EF4-FFF2-40B4-BE49-F238E27FC236}">
                    <a16:creationId xmlns:a16="http://schemas.microsoft.com/office/drawing/2014/main" id="{FC64E3D3-273D-7332-383E-64A4ACBD97D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7" name="Groep 2126">
              <a:extLst>
                <a:ext uri="{FF2B5EF4-FFF2-40B4-BE49-F238E27FC236}">
                  <a16:creationId xmlns:a16="http://schemas.microsoft.com/office/drawing/2014/main" id="{AD43EE0D-46FF-8B95-2681-96AEC1F54FC4}"/>
                </a:ext>
              </a:extLst>
            </p:cNvPr>
            <p:cNvGrpSpPr/>
            <p:nvPr/>
          </p:nvGrpSpPr>
          <p:grpSpPr>
            <a:xfrm>
              <a:off x="7784107" y="843417"/>
              <a:ext cx="289443" cy="248100"/>
              <a:chOff x="5696016" y="3086100"/>
              <a:chExt cx="800080" cy="685799"/>
            </a:xfrm>
            <a:grpFill/>
          </p:grpSpPr>
          <p:sp>
            <p:nvSpPr>
              <p:cNvPr id="2236" name="Vrije vorm: vorm 2235">
                <a:extLst>
                  <a:ext uri="{FF2B5EF4-FFF2-40B4-BE49-F238E27FC236}">
                    <a16:creationId xmlns:a16="http://schemas.microsoft.com/office/drawing/2014/main" id="{F444D525-0F49-C73F-0024-6EAB7CF1E50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37" name="Vrije vorm: vorm 2236">
                <a:extLst>
                  <a:ext uri="{FF2B5EF4-FFF2-40B4-BE49-F238E27FC236}">
                    <a16:creationId xmlns:a16="http://schemas.microsoft.com/office/drawing/2014/main" id="{1A77CF24-1FF8-54E7-555A-C87A176B04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8" name="Groep 2127">
              <a:extLst>
                <a:ext uri="{FF2B5EF4-FFF2-40B4-BE49-F238E27FC236}">
                  <a16:creationId xmlns:a16="http://schemas.microsoft.com/office/drawing/2014/main" id="{94A82BBD-F487-A79C-49E9-683FE276157E}"/>
                </a:ext>
              </a:extLst>
            </p:cNvPr>
            <p:cNvGrpSpPr/>
            <p:nvPr/>
          </p:nvGrpSpPr>
          <p:grpSpPr>
            <a:xfrm>
              <a:off x="7139131" y="1153435"/>
              <a:ext cx="289443" cy="248100"/>
              <a:chOff x="5696016" y="3086100"/>
              <a:chExt cx="800080" cy="685799"/>
            </a:xfrm>
            <a:grpFill/>
          </p:grpSpPr>
          <p:sp>
            <p:nvSpPr>
              <p:cNvPr id="2234" name="Vrije vorm: vorm 2233">
                <a:extLst>
                  <a:ext uri="{FF2B5EF4-FFF2-40B4-BE49-F238E27FC236}">
                    <a16:creationId xmlns:a16="http://schemas.microsoft.com/office/drawing/2014/main" id="{5C3EC716-5221-92BA-E86B-BFE006A61EC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35" name="Vrije vorm: vorm 2234">
                <a:extLst>
                  <a:ext uri="{FF2B5EF4-FFF2-40B4-BE49-F238E27FC236}">
                    <a16:creationId xmlns:a16="http://schemas.microsoft.com/office/drawing/2014/main" id="{B6932F8A-15E2-0533-E5C9-7585DD49E19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29" name="Groep 2128">
              <a:extLst>
                <a:ext uri="{FF2B5EF4-FFF2-40B4-BE49-F238E27FC236}">
                  <a16:creationId xmlns:a16="http://schemas.microsoft.com/office/drawing/2014/main" id="{EE80EBB3-17C4-46A9-74B9-4EDFFC02BC95}"/>
                </a:ext>
              </a:extLst>
            </p:cNvPr>
            <p:cNvGrpSpPr/>
            <p:nvPr/>
          </p:nvGrpSpPr>
          <p:grpSpPr>
            <a:xfrm>
              <a:off x="7461619" y="1153435"/>
              <a:ext cx="289443" cy="248100"/>
              <a:chOff x="5696016" y="3086100"/>
              <a:chExt cx="800080" cy="685799"/>
            </a:xfrm>
            <a:grpFill/>
          </p:grpSpPr>
          <p:sp>
            <p:nvSpPr>
              <p:cNvPr id="2232" name="Vrije vorm: vorm 2231">
                <a:extLst>
                  <a:ext uri="{FF2B5EF4-FFF2-40B4-BE49-F238E27FC236}">
                    <a16:creationId xmlns:a16="http://schemas.microsoft.com/office/drawing/2014/main" id="{0CFE9124-C28E-CD23-22D1-64FC6866D32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33" name="Vrije vorm: vorm 2232">
                <a:extLst>
                  <a:ext uri="{FF2B5EF4-FFF2-40B4-BE49-F238E27FC236}">
                    <a16:creationId xmlns:a16="http://schemas.microsoft.com/office/drawing/2014/main" id="{61982F81-A384-61A7-3577-1C0907EA9EA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0" name="Groep 2129">
              <a:extLst>
                <a:ext uri="{FF2B5EF4-FFF2-40B4-BE49-F238E27FC236}">
                  <a16:creationId xmlns:a16="http://schemas.microsoft.com/office/drawing/2014/main" id="{2333E630-8D58-7ED6-8926-80A45F28D691}"/>
                </a:ext>
              </a:extLst>
            </p:cNvPr>
            <p:cNvGrpSpPr/>
            <p:nvPr/>
          </p:nvGrpSpPr>
          <p:grpSpPr>
            <a:xfrm>
              <a:off x="7784107" y="1153435"/>
              <a:ext cx="289443" cy="248100"/>
              <a:chOff x="5696016" y="3086100"/>
              <a:chExt cx="800080" cy="685799"/>
            </a:xfrm>
            <a:grpFill/>
          </p:grpSpPr>
          <p:sp>
            <p:nvSpPr>
              <p:cNvPr id="2230" name="Vrije vorm: vorm 2229">
                <a:extLst>
                  <a:ext uri="{FF2B5EF4-FFF2-40B4-BE49-F238E27FC236}">
                    <a16:creationId xmlns:a16="http://schemas.microsoft.com/office/drawing/2014/main" id="{CB96A9B8-BF8D-20E4-DCFC-9A29B52FE73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31" name="Vrije vorm: vorm 2230">
                <a:extLst>
                  <a:ext uri="{FF2B5EF4-FFF2-40B4-BE49-F238E27FC236}">
                    <a16:creationId xmlns:a16="http://schemas.microsoft.com/office/drawing/2014/main" id="{5617697F-7AB1-09C6-7706-E1DE1B3B4F1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1" name="Groep 2130">
              <a:extLst>
                <a:ext uri="{FF2B5EF4-FFF2-40B4-BE49-F238E27FC236}">
                  <a16:creationId xmlns:a16="http://schemas.microsoft.com/office/drawing/2014/main" id="{76DBD863-AEA1-A278-926A-9BC8F94B268B}"/>
                </a:ext>
              </a:extLst>
            </p:cNvPr>
            <p:cNvGrpSpPr/>
            <p:nvPr/>
          </p:nvGrpSpPr>
          <p:grpSpPr>
            <a:xfrm>
              <a:off x="7139131" y="1463451"/>
              <a:ext cx="289443" cy="248100"/>
              <a:chOff x="5696016" y="3086100"/>
              <a:chExt cx="800080" cy="685799"/>
            </a:xfrm>
            <a:grpFill/>
          </p:grpSpPr>
          <p:sp>
            <p:nvSpPr>
              <p:cNvPr id="2228" name="Vrije vorm: vorm 2227">
                <a:extLst>
                  <a:ext uri="{FF2B5EF4-FFF2-40B4-BE49-F238E27FC236}">
                    <a16:creationId xmlns:a16="http://schemas.microsoft.com/office/drawing/2014/main" id="{1555DD1F-16F2-503A-3DE9-8F808BCE6B5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29" name="Vrije vorm: vorm 2228">
                <a:extLst>
                  <a:ext uri="{FF2B5EF4-FFF2-40B4-BE49-F238E27FC236}">
                    <a16:creationId xmlns:a16="http://schemas.microsoft.com/office/drawing/2014/main" id="{BAF0AF7C-5944-330B-EA7C-6C99527905E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2" name="Groep 2131">
              <a:extLst>
                <a:ext uri="{FF2B5EF4-FFF2-40B4-BE49-F238E27FC236}">
                  <a16:creationId xmlns:a16="http://schemas.microsoft.com/office/drawing/2014/main" id="{FAA3F40C-BE82-4239-3BA4-A2F47D40FCEB}"/>
                </a:ext>
              </a:extLst>
            </p:cNvPr>
            <p:cNvGrpSpPr/>
            <p:nvPr/>
          </p:nvGrpSpPr>
          <p:grpSpPr>
            <a:xfrm>
              <a:off x="7461619" y="1463451"/>
              <a:ext cx="289443" cy="248100"/>
              <a:chOff x="5696016" y="3086100"/>
              <a:chExt cx="800080" cy="685799"/>
            </a:xfrm>
            <a:grpFill/>
          </p:grpSpPr>
          <p:sp>
            <p:nvSpPr>
              <p:cNvPr id="2226" name="Vrije vorm: vorm 2225">
                <a:extLst>
                  <a:ext uri="{FF2B5EF4-FFF2-40B4-BE49-F238E27FC236}">
                    <a16:creationId xmlns:a16="http://schemas.microsoft.com/office/drawing/2014/main" id="{AB95602C-B62F-18CF-E446-0919031BC75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27" name="Vrije vorm: vorm 2226">
                <a:extLst>
                  <a:ext uri="{FF2B5EF4-FFF2-40B4-BE49-F238E27FC236}">
                    <a16:creationId xmlns:a16="http://schemas.microsoft.com/office/drawing/2014/main" id="{63A5966F-2B37-B07A-8772-A5D281BC325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3" name="Groep 2132">
              <a:extLst>
                <a:ext uri="{FF2B5EF4-FFF2-40B4-BE49-F238E27FC236}">
                  <a16:creationId xmlns:a16="http://schemas.microsoft.com/office/drawing/2014/main" id="{5F2BA268-0484-F41F-3293-A693F1619A10}"/>
                </a:ext>
              </a:extLst>
            </p:cNvPr>
            <p:cNvGrpSpPr/>
            <p:nvPr/>
          </p:nvGrpSpPr>
          <p:grpSpPr>
            <a:xfrm>
              <a:off x="7784107" y="1463451"/>
              <a:ext cx="289443" cy="248100"/>
              <a:chOff x="5696016" y="3086100"/>
              <a:chExt cx="800080" cy="685799"/>
            </a:xfrm>
            <a:grpFill/>
          </p:grpSpPr>
          <p:sp>
            <p:nvSpPr>
              <p:cNvPr id="2224" name="Vrije vorm: vorm 2223">
                <a:extLst>
                  <a:ext uri="{FF2B5EF4-FFF2-40B4-BE49-F238E27FC236}">
                    <a16:creationId xmlns:a16="http://schemas.microsoft.com/office/drawing/2014/main" id="{53A7CDB7-5C90-6DE0-AE0E-762C22AF628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25" name="Vrije vorm: vorm 2224">
                <a:extLst>
                  <a:ext uri="{FF2B5EF4-FFF2-40B4-BE49-F238E27FC236}">
                    <a16:creationId xmlns:a16="http://schemas.microsoft.com/office/drawing/2014/main" id="{66ACEA27-D84F-8514-A854-FA3FF4864F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4" name="Groep 2133">
              <a:extLst>
                <a:ext uri="{FF2B5EF4-FFF2-40B4-BE49-F238E27FC236}">
                  <a16:creationId xmlns:a16="http://schemas.microsoft.com/office/drawing/2014/main" id="{5A4BF0BA-7711-BE7E-484E-BDDB449122C7}"/>
                </a:ext>
              </a:extLst>
            </p:cNvPr>
            <p:cNvGrpSpPr/>
            <p:nvPr/>
          </p:nvGrpSpPr>
          <p:grpSpPr>
            <a:xfrm>
              <a:off x="7139131" y="1773467"/>
              <a:ext cx="289443" cy="248100"/>
              <a:chOff x="5696016" y="3086100"/>
              <a:chExt cx="800080" cy="685799"/>
            </a:xfrm>
            <a:grpFill/>
          </p:grpSpPr>
          <p:sp>
            <p:nvSpPr>
              <p:cNvPr id="2222" name="Vrije vorm: vorm 2221">
                <a:extLst>
                  <a:ext uri="{FF2B5EF4-FFF2-40B4-BE49-F238E27FC236}">
                    <a16:creationId xmlns:a16="http://schemas.microsoft.com/office/drawing/2014/main" id="{3C8D1175-7C86-455B-CA5B-89B658C64C6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23" name="Vrije vorm: vorm 2222">
                <a:extLst>
                  <a:ext uri="{FF2B5EF4-FFF2-40B4-BE49-F238E27FC236}">
                    <a16:creationId xmlns:a16="http://schemas.microsoft.com/office/drawing/2014/main" id="{A9CC89BA-E7DB-B2F1-40BB-1B02BF7469C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5" name="Groep 2134">
              <a:extLst>
                <a:ext uri="{FF2B5EF4-FFF2-40B4-BE49-F238E27FC236}">
                  <a16:creationId xmlns:a16="http://schemas.microsoft.com/office/drawing/2014/main" id="{E0CB6B38-9701-A03C-C6AF-A98E2A1C91C5}"/>
                </a:ext>
              </a:extLst>
            </p:cNvPr>
            <p:cNvGrpSpPr/>
            <p:nvPr/>
          </p:nvGrpSpPr>
          <p:grpSpPr>
            <a:xfrm>
              <a:off x="7461619" y="1773467"/>
              <a:ext cx="289443" cy="248100"/>
              <a:chOff x="5696016" y="3086100"/>
              <a:chExt cx="800080" cy="685799"/>
            </a:xfrm>
            <a:grpFill/>
          </p:grpSpPr>
          <p:sp>
            <p:nvSpPr>
              <p:cNvPr id="2220" name="Vrije vorm: vorm 2219">
                <a:extLst>
                  <a:ext uri="{FF2B5EF4-FFF2-40B4-BE49-F238E27FC236}">
                    <a16:creationId xmlns:a16="http://schemas.microsoft.com/office/drawing/2014/main" id="{CF76E6CE-BFED-6C52-DE3E-3E7D529888E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21" name="Vrije vorm: vorm 2220">
                <a:extLst>
                  <a:ext uri="{FF2B5EF4-FFF2-40B4-BE49-F238E27FC236}">
                    <a16:creationId xmlns:a16="http://schemas.microsoft.com/office/drawing/2014/main" id="{1C4DD17C-52B6-937A-4B21-2DD32EB915B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6" name="Groep 2135">
              <a:extLst>
                <a:ext uri="{FF2B5EF4-FFF2-40B4-BE49-F238E27FC236}">
                  <a16:creationId xmlns:a16="http://schemas.microsoft.com/office/drawing/2014/main" id="{88D1A667-1576-62F8-3A2B-E769D631F7EF}"/>
                </a:ext>
              </a:extLst>
            </p:cNvPr>
            <p:cNvGrpSpPr/>
            <p:nvPr/>
          </p:nvGrpSpPr>
          <p:grpSpPr>
            <a:xfrm>
              <a:off x="7784107" y="1773467"/>
              <a:ext cx="289443" cy="248100"/>
              <a:chOff x="5696016" y="3086100"/>
              <a:chExt cx="800080" cy="685799"/>
            </a:xfrm>
            <a:grpFill/>
          </p:grpSpPr>
          <p:sp>
            <p:nvSpPr>
              <p:cNvPr id="2218" name="Vrije vorm: vorm 2217">
                <a:extLst>
                  <a:ext uri="{FF2B5EF4-FFF2-40B4-BE49-F238E27FC236}">
                    <a16:creationId xmlns:a16="http://schemas.microsoft.com/office/drawing/2014/main" id="{2A01181A-B9E2-4F1B-09AF-C0B6DCB4142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19" name="Vrije vorm: vorm 2218">
                <a:extLst>
                  <a:ext uri="{FF2B5EF4-FFF2-40B4-BE49-F238E27FC236}">
                    <a16:creationId xmlns:a16="http://schemas.microsoft.com/office/drawing/2014/main" id="{86A70DEA-B835-90E8-AB6A-7E34B79FA06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7" name="Groep 2136">
              <a:extLst>
                <a:ext uri="{FF2B5EF4-FFF2-40B4-BE49-F238E27FC236}">
                  <a16:creationId xmlns:a16="http://schemas.microsoft.com/office/drawing/2014/main" id="{F606E37E-FF75-2B46-198A-CFA88144105A}"/>
                </a:ext>
              </a:extLst>
            </p:cNvPr>
            <p:cNvGrpSpPr/>
            <p:nvPr/>
          </p:nvGrpSpPr>
          <p:grpSpPr>
            <a:xfrm>
              <a:off x="7139131" y="2083483"/>
              <a:ext cx="289443" cy="248100"/>
              <a:chOff x="5696016" y="3086100"/>
              <a:chExt cx="800080" cy="685799"/>
            </a:xfrm>
            <a:grpFill/>
          </p:grpSpPr>
          <p:sp>
            <p:nvSpPr>
              <p:cNvPr id="2216" name="Vrije vorm: vorm 2215">
                <a:extLst>
                  <a:ext uri="{FF2B5EF4-FFF2-40B4-BE49-F238E27FC236}">
                    <a16:creationId xmlns:a16="http://schemas.microsoft.com/office/drawing/2014/main" id="{F07F547B-36D2-91A2-C9C9-52239FA5C34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17" name="Vrije vorm: vorm 2216">
                <a:extLst>
                  <a:ext uri="{FF2B5EF4-FFF2-40B4-BE49-F238E27FC236}">
                    <a16:creationId xmlns:a16="http://schemas.microsoft.com/office/drawing/2014/main" id="{47D24BDB-E833-0A1C-3A0A-3FE40EBBF3E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8" name="Groep 2137">
              <a:extLst>
                <a:ext uri="{FF2B5EF4-FFF2-40B4-BE49-F238E27FC236}">
                  <a16:creationId xmlns:a16="http://schemas.microsoft.com/office/drawing/2014/main" id="{A6EBCB19-8F14-08E3-7CBB-799BBEBF2D9F}"/>
                </a:ext>
              </a:extLst>
            </p:cNvPr>
            <p:cNvGrpSpPr/>
            <p:nvPr/>
          </p:nvGrpSpPr>
          <p:grpSpPr>
            <a:xfrm>
              <a:off x="7461619" y="2083483"/>
              <a:ext cx="289443" cy="248100"/>
              <a:chOff x="5696016" y="3086100"/>
              <a:chExt cx="800080" cy="685799"/>
            </a:xfrm>
            <a:grpFill/>
          </p:grpSpPr>
          <p:sp>
            <p:nvSpPr>
              <p:cNvPr id="2214" name="Vrije vorm: vorm 2213">
                <a:extLst>
                  <a:ext uri="{FF2B5EF4-FFF2-40B4-BE49-F238E27FC236}">
                    <a16:creationId xmlns:a16="http://schemas.microsoft.com/office/drawing/2014/main" id="{E79A104D-A9AD-6CA5-3D6A-4B6A7E1D906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15" name="Vrije vorm: vorm 2214">
                <a:extLst>
                  <a:ext uri="{FF2B5EF4-FFF2-40B4-BE49-F238E27FC236}">
                    <a16:creationId xmlns:a16="http://schemas.microsoft.com/office/drawing/2014/main" id="{2BBA96E1-425B-E30F-453C-ADD29AA7CBC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39" name="Groep 2138">
              <a:extLst>
                <a:ext uri="{FF2B5EF4-FFF2-40B4-BE49-F238E27FC236}">
                  <a16:creationId xmlns:a16="http://schemas.microsoft.com/office/drawing/2014/main" id="{C0928A60-5027-C1F4-D8EB-15B7802A64C0}"/>
                </a:ext>
              </a:extLst>
            </p:cNvPr>
            <p:cNvGrpSpPr/>
            <p:nvPr/>
          </p:nvGrpSpPr>
          <p:grpSpPr>
            <a:xfrm>
              <a:off x="7784107" y="2083483"/>
              <a:ext cx="289443" cy="248100"/>
              <a:chOff x="5696016" y="3086100"/>
              <a:chExt cx="800080" cy="685799"/>
            </a:xfrm>
            <a:grpFill/>
          </p:grpSpPr>
          <p:sp>
            <p:nvSpPr>
              <p:cNvPr id="2212" name="Vrije vorm: vorm 2211">
                <a:extLst>
                  <a:ext uri="{FF2B5EF4-FFF2-40B4-BE49-F238E27FC236}">
                    <a16:creationId xmlns:a16="http://schemas.microsoft.com/office/drawing/2014/main" id="{2E0C345E-5A58-D6F0-DA0F-A1C4599148A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13" name="Vrije vorm: vorm 2212">
                <a:extLst>
                  <a:ext uri="{FF2B5EF4-FFF2-40B4-BE49-F238E27FC236}">
                    <a16:creationId xmlns:a16="http://schemas.microsoft.com/office/drawing/2014/main" id="{0EDD370D-0FB6-F53A-8CCD-BC9CBCEC98E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0" name="Groep 2139">
              <a:extLst>
                <a:ext uri="{FF2B5EF4-FFF2-40B4-BE49-F238E27FC236}">
                  <a16:creationId xmlns:a16="http://schemas.microsoft.com/office/drawing/2014/main" id="{E48406E7-0001-B871-CD51-1CB51A41D96A}"/>
                </a:ext>
              </a:extLst>
            </p:cNvPr>
            <p:cNvGrpSpPr/>
            <p:nvPr/>
          </p:nvGrpSpPr>
          <p:grpSpPr>
            <a:xfrm>
              <a:off x="7139131" y="2393500"/>
              <a:ext cx="289443" cy="248100"/>
              <a:chOff x="5696016" y="3086100"/>
              <a:chExt cx="800080" cy="685799"/>
            </a:xfrm>
            <a:grpFill/>
          </p:grpSpPr>
          <p:sp>
            <p:nvSpPr>
              <p:cNvPr id="2210" name="Vrije vorm: vorm 2209">
                <a:extLst>
                  <a:ext uri="{FF2B5EF4-FFF2-40B4-BE49-F238E27FC236}">
                    <a16:creationId xmlns:a16="http://schemas.microsoft.com/office/drawing/2014/main" id="{D6EE61A1-E495-BF31-A47E-F38B3DCDBA5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11" name="Vrije vorm: vorm 2210">
                <a:extLst>
                  <a:ext uri="{FF2B5EF4-FFF2-40B4-BE49-F238E27FC236}">
                    <a16:creationId xmlns:a16="http://schemas.microsoft.com/office/drawing/2014/main" id="{DAEF5CA6-9CA0-79A3-01B9-7AB05CAEB9C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1" name="Groep 2140">
              <a:extLst>
                <a:ext uri="{FF2B5EF4-FFF2-40B4-BE49-F238E27FC236}">
                  <a16:creationId xmlns:a16="http://schemas.microsoft.com/office/drawing/2014/main" id="{2B76A08D-3345-1C64-CF08-61E0CD57CE89}"/>
                </a:ext>
              </a:extLst>
            </p:cNvPr>
            <p:cNvGrpSpPr/>
            <p:nvPr/>
          </p:nvGrpSpPr>
          <p:grpSpPr>
            <a:xfrm>
              <a:off x="7461619" y="2393500"/>
              <a:ext cx="289443" cy="248100"/>
              <a:chOff x="5696016" y="3086100"/>
              <a:chExt cx="800080" cy="685799"/>
            </a:xfrm>
            <a:grpFill/>
          </p:grpSpPr>
          <p:sp>
            <p:nvSpPr>
              <p:cNvPr id="2208" name="Vrije vorm: vorm 2207">
                <a:extLst>
                  <a:ext uri="{FF2B5EF4-FFF2-40B4-BE49-F238E27FC236}">
                    <a16:creationId xmlns:a16="http://schemas.microsoft.com/office/drawing/2014/main" id="{1AC3177F-CE35-F905-C3B2-3B411D93E92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09" name="Vrije vorm: vorm 2208">
                <a:extLst>
                  <a:ext uri="{FF2B5EF4-FFF2-40B4-BE49-F238E27FC236}">
                    <a16:creationId xmlns:a16="http://schemas.microsoft.com/office/drawing/2014/main" id="{D89117AE-C67C-72E0-CFBB-0BE8837013A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2" name="Groep 2141">
              <a:extLst>
                <a:ext uri="{FF2B5EF4-FFF2-40B4-BE49-F238E27FC236}">
                  <a16:creationId xmlns:a16="http://schemas.microsoft.com/office/drawing/2014/main" id="{F667E6E0-81B9-B3D4-84DA-3324618611E3}"/>
                </a:ext>
              </a:extLst>
            </p:cNvPr>
            <p:cNvGrpSpPr/>
            <p:nvPr/>
          </p:nvGrpSpPr>
          <p:grpSpPr>
            <a:xfrm>
              <a:off x="7784107" y="2393500"/>
              <a:ext cx="289443" cy="248100"/>
              <a:chOff x="5696016" y="3086100"/>
              <a:chExt cx="800080" cy="685799"/>
            </a:xfrm>
            <a:grpFill/>
          </p:grpSpPr>
          <p:sp>
            <p:nvSpPr>
              <p:cNvPr id="2206" name="Vrije vorm: vorm 2205">
                <a:extLst>
                  <a:ext uri="{FF2B5EF4-FFF2-40B4-BE49-F238E27FC236}">
                    <a16:creationId xmlns:a16="http://schemas.microsoft.com/office/drawing/2014/main" id="{DFAE230B-E497-0BF1-2DAA-14563C83895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07" name="Vrije vorm: vorm 2206">
                <a:extLst>
                  <a:ext uri="{FF2B5EF4-FFF2-40B4-BE49-F238E27FC236}">
                    <a16:creationId xmlns:a16="http://schemas.microsoft.com/office/drawing/2014/main" id="{CBCF1282-A1C3-53BA-A9AF-904BC5D7119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3" name="Groep 2142">
              <a:extLst>
                <a:ext uri="{FF2B5EF4-FFF2-40B4-BE49-F238E27FC236}">
                  <a16:creationId xmlns:a16="http://schemas.microsoft.com/office/drawing/2014/main" id="{5DA486E6-907E-BD9A-F7FF-EF535EADBFDE}"/>
                </a:ext>
              </a:extLst>
            </p:cNvPr>
            <p:cNvGrpSpPr/>
            <p:nvPr/>
          </p:nvGrpSpPr>
          <p:grpSpPr>
            <a:xfrm>
              <a:off x="7133223" y="2705100"/>
              <a:ext cx="289443" cy="248100"/>
              <a:chOff x="5696016" y="3086100"/>
              <a:chExt cx="800080" cy="685799"/>
            </a:xfrm>
            <a:grpFill/>
          </p:grpSpPr>
          <p:sp>
            <p:nvSpPr>
              <p:cNvPr id="2204" name="Vrije vorm: vorm 2203">
                <a:extLst>
                  <a:ext uri="{FF2B5EF4-FFF2-40B4-BE49-F238E27FC236}">
                    <a16:creationId xmlns:a16="http://schemas.microsoft.com/office/drawing/2014/main" id="{E8AC27CE-4A67-4E44-1F2A-26C1F9E5A3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05" name="Vrije vorm: vorm 2204">
                <a:extLst>
                  <a:ext uri="{FF2B5EF4-FFF2-40B4-BE49-F238E27FC236}">
                    <a16:creationId xmlns:a16="http://schemas.microsoft.com/office/drawing/2014/main" id="{44C79E01-8F25-2ADF-42DA-79B93AFE3FD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4" name="Groep 2143">
              <a:extLst>
                <a:ext uri="{FF2B5EF4-FFF2-40B4-BE49-F238E27FC236}">
                  <a16:creationId xmlns:a16="http://schemas.microsoft.com/office/drawing/2014/main" id="{F8FB9237-FD64-1C3F-0803-D61498CD16C5}"/>
                </a:ext>
              </a:extLst>
            </p:cNvPr>
            <p:cNvGrpSpPr/>
            <p:nvPr/>
          </p:nvGrpSpPr>
          <p:grpSpPr>
            <a:xfrm>
              <a:off x="7455711" y="2705100"/>
              <a:ext cx="289443" cy="248100"/>
              <a:chOff x="5696016" y="3086100"/>
              <a:chExt cx="800080" cy="685799"/>
            </a:xfrm>
            <a:grpFill/>
          </p:grpSpPr>
          <p:sp>
            <p:nvSpPr>
              <p:cNvPr id="2202" name="Vrije vorm: vorm 2201">
                <a:extLst>
                  <a:ext uri="{FF2B5EF4-FFF2-40B4-BE49-F238E27FC236}">
                    <a16:creationId xmlns:a16="http://schemas.microsoft.com/office/drawing/2014/main" id="{6A337D4B-2CBD-19BF-0957-BBF12D14521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03" name="Vrije vorm: vorm 2202">
                <a:extLst>
                  <a:ext uri="{FF2B5EF4-FFF2-40B4-BE49-F238E27FC236}">
                    <a16:creationId xmlns:a16="http://schemas.microsoft.com/office/drawing/2014/main" id="{F754E55D-9AB7-AE45-A3D5-39B2B97A112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5" name="Groep 2144">
              <a:extLst>
                <a:ext uri="{FF2B5EF4-FFF2-40B4-BE49-F238E27FC236}">
                  <a16:creationId xmlns:a16="http://schemas.microsoft.com/office/drawing/2014/main" id="{73F2CF09-844C-C99A-7AC7-CBD2AA5CE445}"/>
                </a:ext>
              </a:extLst>
            </p:cNvPr>
            <p:cNvGrpSpPr/>
            <p:nvPr/>
          </p:nvGrpSpPr>
          <p:grpSpPr>
            <a:xfrm>
              <a:off x="7778199" y="2705100"/>
              <a:ext cx="289443" cy="248100"/>
              <a:chOff x="5696016" y="3086100"/>
              <a:chExt cx="800080" cy="685799"/>
            </a:xfrm>
            <a:grpFill/>
          </p:grpSpPr>
          <p:sp>
            <p:nvSpPr>
              <p:cNvPr id="2200" name="Vrije vorm: vorm 2199">
                <a:extLst>
                  <a:ext uri="{FF2B5EF4-FFF2-40B4-BE49-F238E27FC236}">
                    <a16:creationId xmlns:a16="http://schemas.microsoft.com/office/drawing/2014/main" id="{102BB7EA-C73D-689C-0FD5-5513AD29D5D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01" name="Vrije vorm: vorm 2200">
                <a:extLst>
                  <a:ext uri="{FF2B5EF4-FFF2-40B4-BE49-F238E27FC236}">
                    <a16:creationId xmlns:a16="http://schemas.microsoft.com/office/drawing/2014/main" id="{78A9E4F9-66C6-DC14-A43F-33BA9D46AAD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6" name="Groep 2145">
              <a:extLst>
                <a:ext uri="{FF2B5EF4-FFF2-40B4-BE49-F238E27FC236}">
                  <a16:creationId xmlns:a16="http://schemas.microsoft.com/office/drawing/2014/main" id="{611CCA93-D218-C3B6-0165-716B210207B0}"/>
                </a:ext>
              </a:extLst>
            </p:cNvPr>
            <p:cNvGrpSpPr/>
            <p:nvPr/>
          </p:nvGrpSpPr>
          <p:grpSpPr>
            <a:xfrm>
              <a:off x="7133223" y="3015117"/>
              <a:ext cx="289443" cy="248100"/>
              <a:chOff x="5696016" y="3086100"/>
              <a:chExt cx="800080" cy="685799"/>
            </a:xfrm>
            <a:grpFill/>
          </p:grpSpPr>
          <p:sp>
            <p:nvSpPr>
              <p:cNvPr id="2198" name="Vrije vorm: vorm 2197">
                <a:extLst>
                  <a:ext uri="{FF2B5EF4-FFF2-40B4-BE49-F238E27FC236}">
                    <a16:creationId xmlns:a16="http://schemas.microsoft.com/office/drawing/2014/main" id="{3ED8FE65-8B4C-1C0B-456E-9173F966F1F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99" name="Vrije vorm: vorm 2198">
                <a:extLst>
                  <a:ext uri="{FF2B5EF4-FFF2-40B4-BE49-F238E27FC236}">
                    <a16:creationId xmlns:a16="http://schemas.microsoft.com/office/drawing/2014/main" id="{429AED82-F07F-DA12-E3AF-DD7B7C648AF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7" name="Groep 2146">
              <a:extLst>
                <a:ext uri="{FF2B5EF4-FFF2-40B4-BE49-F238E27FC236}">
                  <a16:creationId xmlns:a16="http://schemas.microsoft.com/office/drawing/2014/main" id="{7845C902-C075-6924-3096-831FD954227F}"/>
                </a:ext>
              </a:extLst>
            </p:cNvPr>
            <p:cNvGrpSpPr/>
            <p:nvPr/>
          </p:nvGrpSpPr>
          <p:grpSpPr>
            <a:xfrm>
              <a:off x="7455711" y="3015117"/>
              <a:ext cx="289443" cy="248100"/>
              <a:chOff x="5696016" y="3086100"/>
              <a:chExt cx="800080" cy="685799"/>
            </a:xfrm>
            <a:grpFill/>
          </p:grpSpPr>
          <p:sp>
            <p:nvSpPr>
              <p:cNvPr id="2196" name="Vrije vorm: vorm 2195">
                <a:extLst>
                  <a:ext uri="{FF2B5EF4-FFF2-40B4-BE49-F238E27FC236}">
                    <a16:creationId xmlns:a16="http://schemas.microsoft.com/office/drawing/2014/main" id="{3EB2CAD7-39B6-11DF-7B29-79D83179EF3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97" name="Vrije vorm: vorm 2196">
                <a:extLst>
                  <a:ext uri="{FF2B5EF4-FFF2-40B4-BE49-F238E27FC236}">
                    <a16:creationId xmlns:a16="http://schemas.microsoft.com/office/drawing/2014/main" id="{33677EF0-9E34-4376-4E94-A43DEB2DCEC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8" name="Groep 2147">
              <a:extLst>
                <a:ext uri="{FF2B5EF4-FFF2-40B4-BE49-F238E27FC236}">
                  <a16:creationId xmlns:a16="http://schemas.microsoft.com/office/drawing/2014/main" id="{BF17DA94-0524-AA71-38CF-7F921438AB6F}"/>
                </a:ext>
              </a:extLst>
            </p:cNvPr>
            <p:cNvGrpSpPr/>
            <p:nvPr/>
          </p:nvGrpSpPr>
          <p:grpSpPr>
            <a:xfrm>
              <a:off x="7778199" y="3015117"/>
              <a:ext cx="289443" cy="248100"/>
              <a:chOff x="5696016" y="3086100"/>
              <a:chExt cx="800080" cy="685799"/>
            </a:xfrm>
            <a:grpFill/>
          </p:grpSpPr>
          <p:sp>
            <p:nvSpPr>
              <p:cNvPr id="2194" name="Vrije vorm: vorm 2193">
                <a:extLst>
                  <a:ext uri="{FF2B5EF4-FFF2-40B4-BE49-F238E27FC236}">
                    <a16:creationId xmlns:a16="http://schemas.microsoft.com/office/drawing/2014/main" id="{CF73B765-40CD-D111-6D5E-593143A0EA2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95" name="Vrije vorm: vorm 2194">
                <a:extLst>
                  <a:ext uri="{FF2B5EF4-FFF2-40B4-BE49-F238E27FC236}">
                    <a16:creationId xmlns:a16="http://schemas.microsoft.com/office/drawing/2014/main" id="{8E113ABC-21A5-94C3-A0CD-FA624D82F9D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49" name="Groep 2148">
              <a:extLst>
                <a:ext uri="{FF2B5EF4-FFF2-40B4-BE49-F238E27FC236}">
                  <a16:creationId xmlns:a16="http://schemas.microsoft.com/office/drawing/2014/main" id="{FB6F643A-BC0B-F57F-F6A6-FABFBD1BC0FC}"/>
                </a:ext>
              </a:extLst>
            </p:cNvPr>
            <p:cNvGrpSpPr/>
            <p:nvPr/>
          </p:nvGrpSpPr>
          <p:grpSpPr>
            <a:xfrm>
              <a:off x="7133223" y="3325135"/>
              <a:ext cx="289443" cy="248100"/>
              <a:chOff x="5696016" y="3086100"/>
              <a:chExt cx="800080" cy="685799"/>
            </a:xfrm>
            <a:grpFill/>
          </p:grpSpPr>
          <p:sp>
            <p:nvSpPr>
              <p:cNvPr id="2192" name="Vrije vorm: vorm 2191">
                <a:extLst>
                  <a:ext uri="{FF2B5EF4-FFF2-40B4-BE49-F238E27FC236}">
                    <a16:creationId xmlns:a16="http://schemas.microsoft.com/office/drawing/2014/main" id="{27E3A491-B16F-E380-9F3A-33F953F37AA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93" name="Vrije vorm: vorm 2192">
                <a:extLst>
                  <a:ext uri="{FF2B5EF4-FFF2-40B4-BE49-F238E27FC236}">
                    <a16:creationId xmlns:a16="http://schemas.microsoft.com/office/drawing/2014/main" id="{72F3EEC3-B2DF-DEFC-ECEA-2084E2C14D6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0" name="Groep 2149">
              <a:extLst>
                <a:ext uri="{FF2B5EF4-FFF2-40B4-BE49-F238E27FC236}">
                  <a16:creationId xmlns:a16="http://schemas.microsoft.com/office/drawing/2014/main" id="{08CF6D9C-3FB0-2A8F-69A2-9A3957A46CBE}"/>
                </a:ext>
              </a:extLst>
            </p:cNvPr>
            <p:cNvGrpSpPr/>
            <p:nvPr/>
          </p:nvGrpSpPr>
          <p:grpSpPr>
            <a:xfrm>
              <a:off x="7455711" y="3325135"/>
              <a:ext cx="289443" cy="248100"/>
              <a:chOff x="5696016" y="3086100"/>
              <a:chExt cx="800080" cy="685799"/>
            </a:xfrm>
            <a:grpFill/>
          </p:grpSpPr>
          <p:sp>
            <p:nvSpPr>
              <p:cNvPr id="2190" name="Vrije vorm: vorm 2189">
                <a:extLst>
                  <a:ext uri="{FF2B5EF4-FFF2-40B4-BE49-F238E27FC236}">
                    <a16:creationId xmlns:a16="http://schemas.microsoft.com/office/drawing/2014/main" id="{4215C55A-27E8-9B9A-605C-7EF833A2265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91" name="Vrije vorm: vorm 2190">
                <a:extLst>
                  <a:ext uri="{FF2B5EF4-FFF2-40B4-BE49-F238E27FC236}">
                    <a16:creationId xmlns:a16="http://schemas.microsoft.com/office/drawing/2014/main" id="{065F8A00-402E-3776-ECCB-CE174464ED7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1" name="Groep 2150">
              <a:extLst>
                <a:ext uri="{FF2B5EF4-FFF2-40B4-BE49-F238E27FC236}">
                  <a16:creationId xmlns:a16="http://schemas.microsoft.com/office/drawing/2014/main" id="{DF981050-92A7-02AA-D283-AB0810D57055}"/>
                </a:ext>
              </a:extLst>
            </p:cNvPr>
            <p:cNvGrpSpPr/>
            <p:nvPr/>
          </p:nvGrpSpPr>
          <p:grpSpPr>
            <a:xfrm>
              <a:off x="7778199" y="3325135"/>
              <a:ext cx="289443" cy="248100"/>
              <a:chOff x="5696016" y="3086100"/>
              <a:chExt cx="800080" cy="685799"/>
            </a:xfrm>
            <a:grpFill/>
          </p:grpSpPr>
          <p:sp>
            <p:nvSpPr>
              <p:cNvPr id="2188" name="Vrije vorm: vorm 2187">
                <a:extLst>
                  <a:ext uri="{FF2B5EF4-FFF2-40B4-BE49-F238E27FC236}">
                    <a16:creationId xmlns:a16="http://schemas.microsoft.com/office/drawing/2014/main" id="{A58AB372-5E90-07E8-D4B7-50524948313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89" name="Vrije vorm: vorm 2188">
                <a:extLst>
                  <a:ext uri="{FF2B5EF4-FFF2-40B4-BE49-F238E27FC236}">
                    <a16:creationId xmlns:a16="http://schemas.microsoft.com/office/drawing/2014/main" id="{129A9755-DC75-633B-C092-A2ADC8FFA63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2" name="Groep 2151">
              <a:extLst>
                <a:ext uri="{FF2B5EF4-FFF2-40B4-BE49-F238E27FC236}">
                  <a16:creationId xmlns:a16="http://schemas.microsoft.com/office/drawing/2014/main" id="{0F5DD9BD-E077-6031-606E-85DBD26357C3}"/>
                </a:ext>
              </a:extLst>
            </p:cNvPr>
            <p:cNvGrpSpPr/>
            <p:nvPr/>
          </p:nvGrpSpPr>
          <p:grpSpPr>
            <a:xfrm>
              <a:off x="7133223" y="3635151"/>
              <a:ext cx="289443" cy="248100"/>
              <a:chOff x="5696016" y="3086100"/>
              <a:chExt cx="800080" cy="685799"/>
            </a:xfrm>
            <a:grpFill/>
          </p:grpSpPr>
          <p:sp>
            <p:nvSpPr>
              <p:cNvPr id="2186" name="Vrije vorm: vorm 2185">
                <a:extLst>
                  <a:ext uri="{FF2B5EF4-FFF2-40B4-BE49-F238E27FC236}">
                    <a16:creationId xmlns:a16="http://schemas.microsoft.com/office/drawing/2014/main" id="{EA9A356C-0200-D67E-6B6B-C8B5C235D3B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87" name="Vrije vorm: vorm 2186">
                <a:extLst>
                  <a:ext uri="{FF2B5EF4-FFF2-40B4-BE49-F238E27FC236}">
                    <a16:creationId xmlns:a16="http://schemas.microsoft.com/office/drawing/2014/main" id="{59B9A6C5-A3A3-B502-F34D-F4946394556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3" name="Groep 2152">
              <a:extLst>
                <a:ext uri="{FF2B5EF4-FFF2-40B4-BE49-F238E27FC236}">
                  <a16:creationId xmlns:a16="http://schemas.microsoft.com/office/drawing/2014/main" id="{9FDBFFCB-5579-A000-572C-88D7C46218D5}"/>
                </a:ext>
              </a:extLst>
            </p:cNvPr>
            <p:cNvGrpSpPr/>
            <p:nvPr/>
          </p:nvGrpSpPr>
          <p:grpSpPr>
            <a:xfrm>
              <a:off x="7455711" y="3635151"/>
              <a:ext cx="289443" cy="248100"/>
              <a:chOff x="5696016" y="3086100"/>
              <a:chExt cx="800080" cy="685799"/>
            </a:xfrm>
            <a:grpFill/>
          </p:grpSpPr>
          <p:sp>
            <p:nvSpPr>
              <p:cNvPr id="2184" name="Vrije vorm: vorm 2183">
                <a:extLst>
                  <a:ext uri="{FF2B5EF4-FFF2-40B4-BE49-F238E27FC236}">
                    <a16:creationId xmlns:a16="http://schemas.microsoft.com/office/drawing/2014/main" id="{B2952C1F-1915-5736-CF2C-73CF2F85F0D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85" name="Vrije vorm: vorm 2184">
                <a:extLst>
                  <a:ext uri="{FF2B5EF4-FFF2-40B4-BE49-F238E27FC236}">
                    <a16:creationId xmlns:a16="http://schemas.microsoft.com/office/drawing/2014/main" id="{D8A70535-B7B4-F2BD-D247-2BCF5FF7E63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4" name="Groep 2153">
              <a:extLst>
                <a:ext uri="{FF2B5EF4-FFF2-40B4-BE49-F238E27FC236}">
                  <a16:creationId xmlns:a16="http://schemas.microsoft.com/office/drawing/2014/main" id="{B679A91F-E502-1D87-C48A-1014C71491E5}"/>
                </a:ext>
              </a:extLst>
            </p:cNvPr>
            <p:cNvGrpSpPr/>
            <p:nvPr/>
          </p:nvGrpSpPr>
          <p:grpSpPr>
            <a:xfrm>
              <a:off x="7778199" y="3635151"/>
              <a:ext cx="289443" cy="248100"/>
              <a:chOff x="5696016" y="3086100"/>
              <a:chExt cx="800080" cy="685799"/>
            </a:xfrm>
            <a:grpFill/>
          </p:grpSpPr>
          <p:sp>
            <p:nvSpPr>
              <p:cNvPr id="2182" name="Vrije vorm: vorm 2181">
                <a:extLst>
                  <a:ext uri="{FF2B5EF4-FFF2-40B4-BE49-F238E27FC236}">
                    <a16:creationId xmlns:a16="http://schemas.microsoft.com/office/drawing/2014/main" id="{0D413CC8-0C0C-160E-4FDF-7CF875ACC77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83" name="Vrije vorm: vorm 2182">
                <a:extLst>
                  <a:ext uri="{FF2B5EF4-FFF2-40B4-BE49-F238E27FC236}">
                    <a16:creationId xmlns:a16="http://schemas.microsoft.com/office/drawing/2014/main" id="{452191AA-88DF-6347-6FE3-726D466857E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5" name="Groep 2154">
              <a:extLst>
                <a:ext uri="{FF2B5EF4-FFF2-40B4-BE49-F238E27FC236}">
                  <a16:creationId xmlns:a16="http://schemas.microsoft.com/office/drawing/2014/main" id="{E597C81E-7B07-4529-B8AA-9F5A28B386C8}"/>
                </a:ext>
              </a:extLst>
            </p:cNvPr>
            <p:cNvGrpSpPr/>
            <p:nvPr/>
          </p:nvGrpSpPr>
          <p:grpSpPr>
            <a:xfrm>
              <a:off x="7133223" y="3945167"/>
              <a:ext cx="289443" cy="248100"/>
              <a:chOff x="5696016" y="3086100"/>
              <a:chExt cx="800080" cy="685799"/>
            </a:xfrm>
            <a:grpFill/>
          </p:grpSpPr>
          <p:sp>
            <p:nvSpPr>
              <p:cNvPr id="2180" name="Vrije vorm: vorm 2179">
                <a:extLst>
                  <a:ext uri="{FF2B5EF4-FFF2-40B4-BE49-F238E27FC236}">
                    <a16:creationId xmlns:a16="http://schemas.microsoft.com/office/drawing/2014/main" id="{7FB0DB68-2719-C9F2-5A5B-94B2B2839FB0}"/>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81" name="Vrije vorm: vorm 2180">
                <a:extLst>
                  <a:ext uri="{FF2B5EF4-FFF2-40B4-BE49-F238E27FC236}">
                    <a16:creationId xmlns:a16="http://schemas.microsoft.com/office/drawing/2014/main" id="{7B20C3E6-3368-2A1B-771A-CBED46282E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6" name="Groep 2155">
              <a:extLst>
                <a:ext uri="{FF2B5EF4-FFF2-40B4-BE49-F238E27FC236}">
                  <a16:creationId xmlns:a16="http://schemas.microsoft.com/office/drawing/2014/main" id="{E1947E11-85CA-B856-C4C3-8F7BA981CDC0}"/>
                </a:ext>
              </a:extLst>
            </p:cNvPr>
            <p:cNvGrpSpPr/>
            <p:nvPr/>
          </p:nvGrpSpPr>
          <p:grpSpPr>
            <a:xfrm>
              <a:off x="7455711" y="3945167"/>
              <a:ext cx="289443" cy="248100"/>
              <a:chOff x="5696016" y="3086100"/>
              <a:chExt cx="800080" cy="685799"/>
            </a:xfrm>
            <a:grpFill/>
          </p:grpSpPr>
          <p:sp>
            <p:nvSpPr>
              <p:cNvPr id="2178" name="Vrije vorm: vorm 2177">
                <a:extLst>
                  <a:ext uri="{FF2B5EF4-FFF2-40B4-BE49-F238E27FC236}">
                    <a16:creationId xmlns:a16="http://schemas.microsoft.com/office/drawing/2014/main" id="{4A167406-FB0A-6B63-2B07-1628BAFD142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79" name="Vrije vorm: vorm 2178">
                <a:extLst>
                  <a:ext uri="{FF2B5EF4-FFF2-40B4-BE49-F238E27FC236}">
                    <a16:creationId xmlns:a16="http://schemas.microsoft.com/office/drawing/2014/main" id="{9A277B1A-E36D-0A2A-4A48-46D3C7A9E2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7" name="Groep 2156">
              <a:extLst>
                <a:ext uri="{FF2B5EF4-FFF2-40B4-BE49-F238E27FC236}">
                  <a16:creationId xmlns:a16="http://schemas.microsoft.com/office/drawing/2014/main" id="{8535B27D-D146-FF63-D748-1CE756C797C9}"/>
                </a:ext>
              </a:extLst>
            </p:cNvPr>
            <p:cNvGrpSpPr/>
            <p:nvPr/>
          </p:nvGrpSpPr>
          <p:grpSpPr>
            <a:xfrm>
              <a:off x="7778199" y="3945167"/>
              <a:ext cx="289443" cy="248100"/>
              <a:chOff x="5696016" y="3086100"/>
              <a:chExt cx="800080" cy="685799"/>
            </a:xfrm>
            <a:grpFill/>
          </p:grpSpPr>
          <p:sp>
            <p:nvSpPr>
              <p:cNvPr id="2176" name="Vrije vorm: vorm 2175">
                <a:extLst>
                  <a:ext uri="{FF2B5EF4-FFF2-40B4-BE49-F238E27FC236}">
                    <a16:creationId xmlns:a16="http://schemas.microsoft.com/office/drawing/2014/main" id="{C2FC1C88-74C8-A951-9C0F-87E771AC27C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77" name="Vrije vorm: vorm 2176">
                <a:extLst>
                  <a:ext uri="{FF2B5EF4-FFF2-40B4-BE49-F238E27FC236}">
                    <a16:creationId xmlns:a16="http://schemas.microsoft.com/office/drawing/2014/main" id="{F4BE7BF5-58E1-4C8D-7824-1862791E220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8" name="Groep 2157">
              <a:extLst>
                <a:ext uri="{FF2B5EF4-FFF2-40B4-BE49-F238E27FC236}">
                  <a16:creationId xmlns:a16="http://schemas.microsoft.com/office/drawing/2014/main" id="{97E40709-CE12-17F2-27A1-02EAD8B91F97}"/>
                </a:ext>
              </a:extLst>
            </p:cNvPr>
            <p:cNvGrpSpPr/>
            <p:nvPr/>
          </p:nvGrpSpPr>
          <p:grpSpPr>
            <a:xfrm>
              <a:off x="7133223" y="4255183"/>
              <a:ext cx="289443" cy="248100"/>
              <a:chOff x="5696016" y="3086100"/>
              <a:chExt cx="800080" cy="685799"/>
            </a:xfrm>
            <a:grpFill/>
          </p:grpSpPr>
          <p:sp>
            <p:nvSpPr>
              <p:cNvPr id="2174" name="Vrije vorm: vorm 2173">
                <a:extLst>
                  <a:ext uri="{FF2B5EF4-FFF2-40B4-BE49-F238E27FC236}">
                    <a16:creationId xmlns:a16="http://schemas.microsoft.com/office/drawing/2014/main" id="{B62F3129-533E-16A8-0824-46CC05FAE63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75" name="Vrije vorm: vorm 2174">
                <a:extLst>
                  <a:ext uri="{FF2B5EF4-FFF2-40B4-BE49-F238E27FC236}">
                    <a16:creationId xmlns:a16="http://schemas.microsoft.com/office/drawing/2014/main" id="{3A41A14D-DA44-EBBC-55F5-445BE453616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59" name="Groep 2158">
              <a:extLst>
                <a:ext uri="{FF2B5EF4-FFF2-40B4-BE49-F238E27FC236}">
                  <a16:creationId xmlns:a16="http://schemas.microsoft.com/office/drawing/2014/main" id="{54C254BE-239F-26EE-E34A-39CCE9484ABD}"/>
                </a:ext>
              </a:extLst>
            </p:cNvPr>
            <p:cNvGrpSpPr/>
            <p:nvPr/>
          </p:nvGrpSpPr>
          <p:grpSpPr>
            <a:xfrm>
              <a:off x="7455711" y="4255183"/>
              <a:ext cx="289443" cy="248100"/>
              <a:chOff x="5696016" y="3086100"/>
              <a:chExt cx="800080" cy="685799"/>
            </a:xfrm>
            <a:grpFill/>
          </p:grpSpPr>
          <p:sp>
            <p:nvSpPr>
              <p:cNvPr id="2172" name="Vrije vorm: vorm 2171">
                <a:extLst>
                  <a:ext uri="{FF2B5EF4-FFF2-40B4-BE49-F238E27FC236}">
                    <a16:creationId xmlns:a16="http://schemas.microsoft.com/office/drawing/2014/main" id="{C6A9ED2D-9A0D-3BC0-8F30-8C93D64C4C8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73" name="Vrije vorm: vorm 2172">
                <a:extLst>
                  <a:ext uri="{FF2B5EF4-FFF2-40B4-BE49-F238E27FC236}">
                    <a16:creationId xmlns:a16="http://schemas.microsoft.com/office/drawing/2014/main" id="{EF047C70-1141-3D98-CA9F-24A9BA36CD4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60" name="Groep 2159">
              <a:extLst>
                <a:ext uri="{FF2B5EF4-FFF2-40B4-BE49-F238E27FC236}">
                  <a16:creationId xmlns:a16="http://schemas.microsoft.com/office/drawing/2014/main" id="{C8711EE1-EFEF-C33F-D6FA-06D9595C5013}"/>
                </a:ext>
              </a:extLst>
            </p:cNvPr>
            <p:cNvGrpSpPr/>
            <p:nvPr/>
          </p:nvGrpSpPr>
          <p:grpSpPr>
            <a:xfrm>
              <a:off x="7778199" y="4255183"/>
              <a:ext cx="289443" cy="248100"/>
              <a:chOff x="5696016" y="3086100"/>
              <a:chExt cx="800080" cy="685799"/>
            </a:xfrm>
            <a:grpFill/>
          </p:grpSpPr>
          <p:sp>
            <p:nvSpPr>
              <p:cNvPr id="2170" name="Vrije vorm: vorm 2169">
                <a:extLst>
                  <a:ext uri="{FF2B5EF4-FFF2-40B4-BE49-F238E27FC236}">
                    <a16:creationId xmlns:a16="http://schemas.microsoft.com/office/drawing/2014/main" id="{EBD19400-7F21-4910-A01A-C381B28CAFA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71" name="Vrije vorm: vorm 2170">
                <a:extLst>
                  <a:ext uri="{FF2B5EF4-FFF2-40B4-BE49-F238E27FC236}">
                    <a16:creationId xmlns:a16="http://schemas.microsoft.com/office/drawing/2014/main" id="{B263C4CC-77D0-B23B-E379-CFA50FE6410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61" name="Groep 2160">
              <a:extLst>
                <a:ext uri="{FF2B5EF4-FFF2-40B4-BE49-F238E27FC236}">
                  <a16:creationId xmlns:a16="http://schemas.microsoft.com/office/drawing/2014/main" id="{37367E9C-600F-136D-6EC4-21EFDC1C13F0}"/>
                </a:ext>
              </a:extLst>
            </p:cNvPr>
            <p:cNvGrpSpPr/>
            <p:nvPr/>
          </p:nvGrpSpPr>
          <p:grpSpPr>
            <a:xfrm>
              <a:off x="7133223" y="4565200"/>
              <a:ext cx="289443" cy="248100"/>
              <a:chOff x="5696016" y="3086100"/>
              <a:chExt cx="800080" cy="685799"/>
            </a:xfrm>
            <a:grpFill/>
          </p:grpSpPr>
          <p:sp>
            <p:nvSpPr>
              <p:cNvPr id="2168" name="Vrije vorm: vorm 2167">
                <a:extLst>
                  <a:ext uri="{FF2B5EF4-FFF2-40B4-BE49-F238E27FC236}">
                    <a16:creationId xmlns:a16="http://schemas.microsoft.com/office/drawing/2014/main" id="{7AA10579-4CD4-E118-A191-2592C6C324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69" name="Vrije vorm: vorm 2168">
                <a:extLst>
                  <a:ext uri="{FF2B5EF4-FFF2-40B4-BE49-F238E27FC236}">
                    <a16:creationId xmlns:a16="http://schemas.microsoft.com/office/drawing/2014/main" id="{55CEEA6D-1CBE-8D17-6C8A-F1604E3DD28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62" name="Groep 2161">
              <a:extLst>
                <a:ext uri="{FF2B5EF4-FFF2-40B4-BE49-F238E27FC236}">
                  <a16:creationId xmlns:a16="http://schemas.microsoft.com/office/drawing/2014/main" id="{5AC9D0C6-7635-AE13-DBE0-2C544D0E6AE1}"/>
                </a:ext>
              </a:extLst>
            </p:cNvPr>
            <p:cNvGrpSpPr/>
            <p:nvPr/>
          </p:nvGrpSpPr>
          <p:grpSpPr>
            <a:xfrm>
              <a:off x="7455711" y="4565200"/>
              <a:ext cx="289443" cy="248100"/>
              <a:chOff x="5696016" y="3086100"/>
              <a:chExt cx="800080" cy="685799"/>
            </a:xfrm>
            <a:grpFill/>
          </p:grpSpPr>
          <p:sp>
            <p:nvSpPr>
              <p:cNvPr id="2166" name="Vrije vorm: vorm 2165">
                <a:extLst>
                  <a:ext uri="{FF2B5EF4-FFF2-40B4-BE49-F238E27FC236}">
                    <a16:creationId xmlns:a16="http://schemas.microsoft.com/office/drawing/2014/main" id="{2F43B917-44FD-9FE0-F85D-0FBD8482D12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67" name="Vrije vorm: vorm 2166">
                <a:extLst>
                  <a:ext uri="{FF2B5EF4-FFF2-40B4-BE49-F238E27FC236}">
                    <a16:creationId xmlns:a16="http://schemas.microsoft.com/office/drawing/2014/main" id="{22F4AAF5-DD8B-C1D7-EA02-6ABC10C58D2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163" name="Groep 2162">
              <a:extLst>
                <a:ext uri="{FF2B5EF4-FFF2-40B4-BE49-F238E27FC236}">
                  <a16:creationId xmlns:a16="http://schemas.microsoft.com/office/drawing/2014/main" id="{E7D1F325-A0B4-9959-8E15-75E86E0C893C}"/>
                </a:ext>
              </a:extLst>
            </p:cNvPr>
            <p:cNvGrpSpPr/>
            <p:nvPr/>
          </p:nvGrpSpPr>
          <p:grpSpPr>
            <a:xfrm>
              <a:off x="7778199" y="4565200"/>
              <a:ext cx="289443" cy="248100"/>
              <a:chOff x="5696016" y="3086100"/>
              <a:chExt cx="800080" cy="685799"/>
            </a:xfrm>
            <a:grpFill/>
          </p:grpSpPr>
          <p:sp>
            <p:nvSpPr>
              <p:cNvPr id="2164" name="Vrije vorm: vorm 2163">
                <a:extLst>
                  <a:ext uri="{FF2B5EF4-FFF2-40B4-BE49-F238E27FC236}">
                    <a16:creationId xmlns:a16="http://schemas.microsoft.com/office/drawing/2014/main" id="{EA5413AE-004E-14A5-1F95-367AAE1685C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165" name="Vrije vorm: vorm 2164">
                <a:extLst>
                  <a:ext uri="{FF2B5EF4-FFF2-40B4-BE49-F238E27FC236}">
                    <a16:creationId xmlns:a16="http://schemas.microsoft.com/office/drawing/2014/main" id="{929911B5-33D3-D609-3AED-1DB65BA6E3B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248" name="Groep 2247">
            <a:extLst>
              <a:ext uri="{FF2B5EF4-FFF2-40B4-BE49-F238E27FC236}">
                <a16:creationId xmlns:a16="http://schemas.microsoft.com/office/drawing/2014/main" id="{6CEC6659-AA34-28E1-73D5-A94CBB8613FF}"/>
              </a:ext>
            </a:extLst>
          </p:cNvPr>
          <p:cNvGrpSpPr/>
          <p:nvPr/>
        </p:nvGrpSpPr>
        <p:grpSpPr>
          <a:xfrm>
            <a:off x="1678472" y="2044547"/>
            <a:ext cx="763072" cy="3473127"/>
            <a:chOff x="7133223" y="533400"/>
            <a:chExt cx="940327" cy="4279900"/>
          </a:xfrm>
          <a:solidFill>
            <a:schemeClr val="accent2"/>
          </a:solidFill>
        </p:grpSpPr>
        <p:grpSp>
          <p:nvGrpSpPr>
            <p:cNvPr id="2249" name="Groep 2248">
              <a:extLst>
                <a:ext uri="{FF2B5EF4-FFF2-40B4-BE49-F238E27FC236}">
                  <a16:creationId xmlns:a16="http://schemas.microsoft.com/office/drawing/2014/main" id="{85959C5B-7FF8-2E0B-C6DA-395203E0C799}"/>
                </a:ext>
              </a:extLst>
            </p:cNvPr>
            <p:cNvGrpSpPr/>
            <p:nvPr/>
          </p:nvGrpSpPr>
          <p:grpSpPr>
            <a:xfrm>
              <a:off x="7139131" y="533400"/>
              <a:ext cx="289443" cy="248100"/>
              <a:chOff x="5696016" y="3086100"/>
              <a:chExt cx="800080" cy="685799"/>
            </a:xfrm>
            <a:grpFill/>
          </p:grpSpPr>
          <p:sp>
            <p:nvSpPr>
              <p:cNvPr id="2373" name="Vrije vorm: vorm 2372">
                <a:extLst>
                  <a:ext uri="{FF2B5EF4-FFF2-40B4-BE49-F238E27FC236}">
                    <a16:creationId xmlns:a16="http://schemas.microsoft.com/office/drawing/2014/main" id="{BA185EE4-78BE-8574-3864-6F1C1B45418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74" name="Vrije vorm: vorm 2373">
                <a:extLst>
                  <a:ext uri="{FF2B5EF4-FFF2-40B4-BE49-F238E27FC236}">
                    <a16:creationId xmlns:a16="http://schemas.microsoft.com/office/drawing/2014/main" id="{FF2580C9-D2D6-5A1D-ACF3-48CF9B0C2EF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0" name="Groep 2249">
              <a:extLst>
                <a:ext uri="{FF2B5EF4-FFF2-40B4-BE49-F238E27FC236}">
                  <a16:creationId xmlns:a16="http://schemas.microsoft.com/office/drawing/2014/main" id="{7DF631B1-5C0D-B62B-0FA4-0A58AFA0B4C1}"/>
                </a:ext>
              </a:extLst>
            </p:cNvPr>
            <p:cNvGrpSpPr/>
            <p:nvPr/>
          </p:nvGrpSpPr>
          <p:grpSpPr>
            <a:xfrm>
              <a:off x="7461619" y="533400"/>
              <a:ext cx="289443" cy="248100"/>
              <a:chOff x="5696016" y="3086100"/>
              <a:chExt cx="800080" cy="685799"/>
            </a:xfrm>
            <a:grpFill/>
          </p:grpSpPr>
          <p:sp>
            <p:nvSpPr>
              <p:cNvPr id="2371" name="Vrije vorm: vorm 2370">
                <a:extLst>
                  <a:ext uri="{FF2B5EF4-FFF2-40B4-BE49-F238E27FC236}">
                    <a16:creationId xmlns:a16="http://schemas.microsoft.com/office/drawing/2014/main" id="{24A01F38-0186-A2E3-8E48-9329A23CA8B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72" name="Vrije vorm: vorm 2371">
                <a:extLst>
                  <a:ext uri="{FF2B5EF4-FFF2-40B4-BE49-F238E27FC236}">
                    <a16:creationId xmlns:a16="http://schemas.microsoft.com/office/drawing/2014/main" id="{9DB6A86C-34FA-86E7-9138-C05B0BA08E3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1" name="Groep 2250">
              <a:extLst>
                <a:ext uri="{FF2B5EF4-FFF2-40B4-BE49-F238E27FC236}">
                  <a16:creationId xmlns:a16="http://schemas.microsoft.com/office/drawing/2014/main" id="{A0ADB79E-CF36-B49C-047D-3923A56CA109}"/>
                </a:ext>
              </a:extLst>
            </p:cNvPr>
            <p:cNvGrpSpPr/>
            <p:nvPr/>
          </p:nvGrpSpPr>
          <p:grpSpPr>
            <a:xfrm>
              <a:off x="7784107" y="533400"/>
              <a:ext cx="289443" cy="248100"/>
              <a:chOff x="5696016" y="3086100"/>
              <a:chExt cx="800080" cy="685799"/>
            </a:xfrm>
            <a:grpFill/>
          </p:grpSpPr>
          <p:sp>
            <p:nvSpPr>
              <p:cNvPr id="2369" name="Vrije vorm: vorm 2368">
                <a:extLst>
                  <a:ext uri="{FF2B5EF4-FFF2-40B4-BE49-F238E27FC236}">
                    <a16:creationId xmlns:a16="http://schemas.microsoft.com/office/drawing/2014/main" id="{389340B2-6EB8-FFA8-D7B1-CEC0D0CEBC7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70" name="Vrije vorm: vorm 2369">
                <a:extLst>
                  <a:ext uri="{FF2B5EF4-FFF2-40B4-BE49-F238E27FC236}">
                    <a16:creationId xmlns:a16="http://schemas.microsoft.com/office/drawing/2014/main" id="{452ACDA9-DA16-41EC-3640-BADED411A7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2" name="Groep 2251">
              <a:extLst>
                <a:ext uri="{FF2B5EF4-FFF2-40B4-BE49-F238E27FC236}">
                  <a16:creationId xmlns:a16="http://schemas.microsoft.com/office/drawing/2014/main" id="{93C66999-D282-CE45-1C3D-0D5B9EB0F969}"/>
                </a:ext>
              </a:extLst>
            </p:cNvPr>
            <p:cNvGrpSpPr/>
            <p:nvPr/>
          </p:nvGrpSpPr>
          <p:grpSpPr>
            <a:xfrm>
              <a:off x="7139131" y="843417"/>
              <a:ext cx="289443" cy="248100"/>
              <a:chOff x="5696016" y="3086100"/>
              <a:chExt cx="800080" cy="685799"/>
            </a:xfrm>
            <a:grpFill/>
          </p:grpSpPr>
          <p:sp>
            <p:nvSpPr>
              <p:cNvPr id="2367" name="Vrije vorm: vorm 2366">
                <a:extLst>
                  <a:ext uri="{FF2B5EF4-FFF2-40B4-BE49-F238E27FC236}">
                    <a16:creationId xmlns:a16="http://schemas.microsoft.com/office/drawing/2014/main" id="{0B318149-2923-0081-80A6-BAF14305894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68" name="Vrije vorm: vorm 2367">
                <a:extLst>
                  <a:ext uri="{FF2B5EF4-FFF2-40B4-BE49-F238E27FC236}">
                    <a16:creationId xmlns:a16="http://schemas.microsoft.com/office/drawing/2014/main" id="{FB38740E-AB77-0F32-1A2C-A6CB563C1AF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3" name="Groep 2252">
              <a:extLst>
                <a:ext uri="{FF2B5EF4-FFF2-40B4-BE49-F238E27FC236}">
                  <a16:creationId xmlns:a16="http://schemas.microsoft.com/office/drawing/2014/main" id="{3D62371F-4298-BBCC-ABA1-B30122C9D49F}"/>
                </a:ext>
              </a:extLst>
            </p:cNvPr>
            <p:cNvGrpSpPr/>
            <p:nvPr/>
          </p:nvGrpSpPr>
          <p:grpSpPr>
            <a:xfrm>
              <a:off x="7461619" y="843417"/>
              <a:ext cx="289443" cy="248100"/>
              <a:chOff x="5696016" y="3086100"/>
              <a:chExt cx="800080" cy="685799"/>
            </a:xfrm>
            <a:grpFill/>
          </p:grpSpPr>
          <p:sp>
            <p:nvSpPr>
              <p:cNvPr id="2365" name="Vrije vorm: vorm 2364">
                <a:extLst>
                  <a:ext uri="{FF2B5EF4-FFF2-40B4-BE49-F238E27FC236}">
                    <a16:creationId xmlns:a16="http://schemas.microsoft.com/office/drawing/2014/main" id="{86E5107F-9108-E3D9-6643-A518EEF6EA2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66" name="Vrije vorm: vorm 2365">
                <a:extLst>
                  <a:ext uri="{FF2B5EF4-FFF2-40B4-BE49-F238E27FC236}">
                    <a16:creationId xmlns:a16="http://schemas.microsoft.com/office/drawing/2014/main" id="{9B410453-F246-2BAE-558F-E6E25F0229D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4" name="Groep 2253">
              <a:extLst>
                <a:ext uri="{FF2B5EF4-FFF2-40B4-BE49-F238E27FC236}">
                  <a16:creationId xmlns:a16="http://schemas.microsoft.com/office/drawing/2014/main" id="{FE4CFDBF-A88D-417B-ED59-5DE9434BD4DF}"/>
                </a:ext>
              </a:extLst>
            </p:cNvPr>
            <p:cNvGrpSpPr/>
            <p:nvPr/>
          </p:nvGrpSpPr>
          <p:grpSpPr>
            <a:xfrm>
              <a:off x="7784107" y="843417"/>
              <a:ext cx="289443" cy="248100"/>
              <a:chOff x="5696016" y="3086100"/>
              <a:chExt cx="800080" cy="685799"/>
            </a:xfrm>
            <a:grpFill/>
          </p:grpSpPr>
          <p:sp>
            <p:nvSpPr>
              <p:cNvPr id="2363" name="Vrije vorm: vorm 2362">
                <a:extLst>
                  <a:ext uri="{FF2B5EF4-FFF2-40B4-BE49-F238E27FC236}">
                    <a16:creationId xmlns:a16="http://schemas.microsoft.com/office/drawing/2014/main" id="{475FB2B7-6D72-9207-B6D5-3F20F75E576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64" name="Vrije vorm: vorm 2363">
                <a:extLst>
                  <a:ext uri="{FF2B5EF4-FFF2-40B4-BE49-F238E27FC236}">
                    <a16:creationId xmlns:a16="http://schemas.microsoft.com/office/drawing/2014/main" id="{D329C080-14DB-D2CB-E49D-03A1EC3A1A7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5" name="Groep 2254">
              <a:extLst>
                <a:ext uri="{FF2B5EF4-FFF2-40B4-BE49-F238E27FC236}">
                  <a16:creationId xmlns:a16="http://schemas.microsoft.com/office/drawing/2014/main" id="{28ABB18B-0299-7489-57E4-126E2EE91495}"/>
                </a:ext>
              </a:extLst>
            </p:cNvPr>
            <p:cNvGrpSpPr/>
            <p:nvPr/>
          </p:nvGrpSpPr>
          <p:grpSpPr>
            <a:xfrm>
              <a:off x="7139131" y="1153435"/>
              <a:ext cx="289443" cy="248100"/>
              <a:chOff x="5696016" y="3086100"/>
              <a:chExt cx="800080" cy="685799"/>
            </a:xfrm>
            <a:grpFill/>
          </p:grpSpPr>
          <p:sp>
            <p:nvSpPr>
              <p:cNvPr id="2361" name="Vrije vorm: vorm 2360">
                <a:extLst>
                  <a:ext uri="{FF2B5EF4-FFF2-40B4-BE49-F238E27FC236}">
                    <a16:creationId xmlns:a16="http://schemas.microsoft.com/office/drawing/2014/main" id="{6C10D7C7-F6F9-7204-4D24-52D6356B1A0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62" name="Vrije vorm: vorm 2361">
                <a:extLst>
                  <a:ext uri="{FF2B5EF4-FFF2-40B4-BE49-F238E27FC236}">
                    <a16:creationId xmlns:a16="http://schemas.microsoft.com/office/drawing/2014/main" id="{C576588F-2BBF-83AF-0A3E-29104829BDD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6" name="Groep 2255">
              <a:extLst>
                <a:ext uri="{FF2B5EF4-FFF2-40B4-BE49-F238E27FC236}">
                  <a16:creationId xmlns:a16="http://schemas.microsoft.com/office/drawing/2014/main" id="{FA1467EB-F291-5929-1B9A-A805A1F0B324}"/>
                </a:ext>
              </a:extLst>
            </p:cNvPr>
            <p:cNvGrpSpPr/>
            <p:nvPr/>
          </p:nvGrpSpPr>
          <p:grpSpPr>
            <a:xfrm>
              <a:off x="7461619" y="1153435"/>
              <a:ext cx="289443" cy="248100"/>
              <a:chOff x="5696016" y="3086100"/>
              <a:chExt cx="800080" cy="685799"/>
            </a:xfrm>
            <a:grpFill/>
          </p:grpSpPr>
          <p:sp>
            <p:nvSpPr>
              <p:cNvPr id="2359" name="Vrije vorm: vorm 2358">
                <a:extLst>
                  <a:ext uri="{FF2B5EF4-FFF2-40B4-BE49-F238E27FC236}">
                    <a16:creationId xmlns:a16="http://schemas.microsoft.com/office/drawing/2014/main" id="{51EE7BFD-8533-82D7-BE8C-6FFB3ABD348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60" name="Vrije vorm: vorm 2359">
                <a:extLst>
                  <a:ext uri="{FF2B5EF4-FFF2-40B4-BE49-F238E27FC236}">
                    <a16:creationId xmlns:a16="http://schemas.microsoft.com/office/drawing/2014/main" id="{45F9386C-6BE9-DDD4-C068-F357CF75E48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7" name="Groep 2256">
              <a:extLst>
                <a:ext uri="{FF2B5EF4-FFF2-40B4-BE49-F238E27FC236}">
                  <a16:creationId xmlns:a16="http://schemas.microsoft.com/office/drawing/2014/main" id="{A338B193-14B2-19D4-314E-20C012A6F873}"/>
                </a:ext>
              </a:extLst>
            </p:cNvPr>
            <p:cNvGrpSpPr/>
            <p:nvPr/>
          </p:nvGrpSpPr>
          <p:grpSpPr>
            <a:xfrm>
              <a:off x="7784107" y="1153435"/>
              <a:ext cx="289443" cy="248100"/>
              <a:chOff x="5696016" y="3086100"/>
              <a:chExt cx="800080" cy="685799"/>
            </a:xfrm>
            <a:grpFill/>
          </p:grpSpPr>
          <p:sp>
            <p:nvSpPr>
              <p:cNvPr id="2357" name="Vrije vorm: vorm 2356">
                <a:extLst>
                  <a:ext uri="{FF2B5EF4-FFF2-40B4-BE49-F238E27FC236}">
                    <a16:creationId xmlns:a16="http://schemas.microsoft.com/office/drawing/2014/main" id="{8E1969C5-F6DB-1C48-23A4-F916BF660CF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58" name="Vrije vorm: vorm 2357">
                <a:extLst>
                  <a:ext uri="{FF2B5EF4-FFF2-40B4-BE49-F238E27FC236}">
                    <a16:creationId xmlns:a16="http://schemas.microsoft.com/office/drawing/2014/main" id="{F7A67740-9FD1-CADF-A1CE-4352E446284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8" name="Groep 2257">
              <a:extLst>
                <a:ext uri="{FF2B5EF4-FFF2-40B4-BE49-F238E27FC236}">
                  <a16:creationId xmlns:a16="http://schemas.microsoft.com/office/drawing/2014/main" id="{3AB0307D-9F70-69BA-E06E-42CE5A668B6D}"/>
                </a:ext>
              </a:extLst>
            </p:cNvPr>
            <p:cNvGrpSpPr/>
            <p:nvPr/>
          </p:nvGrpSpPr>
          <p:grpSpPr>
            <a:xfrm>
              <a:off x="7139131" y="1463451"/>
              <a:ext cx="289443" cy="248100"/>
              <a:chOff x="5696016" y="3086100"/>
              <a:chExt cx="800080" cy="685799"/>
            </a:xfrm>
            <a:grpFill/>
          </p:grpSpPr>
          <p:sp>
            <p:nvSpPr>
              <p:cNvPr id="2355" name="Vrije vorm: vorm 2354">
                <a:extLst>
                  <a:ext uri="{FF2B5EF4-FFF2-40B4-BE49-F238E27FC236}">
                    <a16:creationId xmlns:a16="http://schemas.microsoft.com/office/drawing/2014/main" id="{48814007-9819-73CA-3E0C-B201CCD109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56" name="Vrije vorm: vorm 2355">
                <a:extLst>
                  <a:ext uri="{FF2B5EF4-FFF2-40B4-BE49-F238E27FC236}">
                    <a16:creationId xmlns:a16="http://schemas.microsoft.com/office/drawing/2014/main" id="{45316970-2E1E-ADFF-CED1-9D257CAB9F6A}"/>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59" name="Groep 2258">
              <a:extLst>
                <a:ext uri="{FF2B5EF4-FFF2-40B4-BE49-F238E27FC236}">
                  <a16:creationId xmlns:a16="http://schemas.microsoft.com/office/drawing/2014/main" id="{67605D27-78AD-7DDC-7F11-52C22081219B}"/>
                </a:ext>
              </a:extLst>
            </p:cNvPr>
            <p:cNvGrpSpPr/>
            <p:nvPr/>
          </p:nvGrpSpPr>
          <p:grpSpPr>
            <a:xfrm>
              <a:off x="7461619" y="1463451"/>
              <a:ext cx="289443" cy="248100"/>
              <a:chOff x="5696016" y="3086100"/>
              <a:chExt cx="800080" cy="685799"/>
            </a:xfrm>
            <a:grpFill/>
          </p:grpSpPr>
          <p:sp>
            <p:nvSpPr>
              <p:cNvPr id="2353" name="Vrije vorm: vorm 2352">
                <a:extLst>
                  <a:ext uri="{FF2B5EF4-FFF2-40B4-BE49-F238E27FC236}">
                    <a16:creationId xmlns:a16="http://schemas.microsoft.com/office/drawing/2014/main" id="{E7F81136-0725-EBCB-15E5-80AB32A171E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54" name="Vrije vorm: vorm 2353">
                <a:extLst>
                  <a:ext uri="{FF2B5EF4-FFF2-40B4-BE49-F238E27FC236}">
                    <a16:creationId xmlns:a16="http://schemas.microsoft.com/office/drawing/2014/main" id="{AE58F726-8F07-9BBF-09E3-9B8E2E9726F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0" name="Groep 2259">
              <a:extLst>
                <a:ext uri="{FF2B5EF4-FFF2-40B4-BE49-F238E27FC236}">
                  <a16:creationId xmlns:a16="http://schemas.microsoft.com/office/drawing/2014/main" id="{18AA9C6E-BEC0-896C-E25D-171CCD3C840A}"/>
                </a:ext>
              </a:extLst>
            </p:cNvPr>
            <p:cNvGrpSpPr/>
            <p:nvPr/>
          </p:nvGrpSpPr>
          <p:grpSpPr>
            <a:xfrm>
              <a:off x="7784107" y="1463451"/>
              <a:ext cx="289443" cy="248100"/>
              <a:chOff x="5696016" y="3086100"/>
              <a:chExt cx="800080" cy="685799"/>
            </a:xfrm>
            <a:grpFill/>
          </p:grpSpPr>
          <p:sp>
            <p:nvSpPr>
              <p:cNvPr id="2351" name="Vrije vorm: vorm 2350">
                <a:extLst>
                  <a:ext uri="{FF2B5EF4-FFF2-40B4-BE49-F238E27FC236}">
                    <a16:creationId xmlns:a16="http://schemas.microsoft.com/office/drawing/2014/main" id="{7624B4B3-F099-474F-6284-F35484D6A20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52" name="Vrije vorm: vorm 2351">
                <a:extLst>
                  <a:ext uri="{FF2B5EF4-FFF2-40B4-BE49-F238E27FC236}">
                    <a16:creationId xmlns:a16="http://schemas.microsoft.com/office/drawing/2014/main" id="{7482A6F0-B997-452C-4CBD-FE83555C3C7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1" name="Groep 2260">
              <a:extLst>
                <a:ext uri="{FF2B5EF4-FFF2-40B4-BE49-F238E27FC236}">
                  <a16:creationId xmlns:a16="http://schemas.microsoft.com/office/drawing/2014/main" id="{8C04517A-8790-600B-2A57-79A177494B32}"/>
                </a:ext>
              </a:extLst>
            </p:cNvPr>
            <p:cNvGrpSpPr/>
            <p:nvPr/>
          </p:nvGrpSpPr>
          <p:grpSpPr>
            <a:xfrm>
              <a:off x="7139131" y="1773467"/>
              <a:ext cx="289443" cy="248100"/>
              <a:chOff x="5696016" y="3086100"/>
              <a:chExt cx="800080" cy="685799"/>
            </a:xfrm>
            <a:grpFill/>
          </p:grpSpPr>
          <p:sp>
            <p:nvSpPr>
              <p:cNvPr id="2349" name="Vrije vorm: vorm 2348">
                <a:extLst>
                  <a:ext uri="{FF2B5EF4-FFF2-40B4-BE49-F238E27FC236}">
                    <a16:creationId xmlns:a16="http://schemas.microsoft.com/office/drawing/2014/main" id="{512D449A-2FB4-34E4-3372-52FF7CB608D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50" name="Vrije vorm: vorm 2349">
                <a:extLst>
                  <a:ext uri="{FF2B5EF4-FFF2-40B4-BE49-F238E27FC236}">
                    <a16:creationId xmlns:a16="http://schemas.microsoft.com/office/drawing/2014/main" id="{5579A639-99EA-3B3E-3339-E1906AE4FC8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2" name="Groep 2261">
              <a:extLst>
                <a:ext uri="{FF2B5EF4-FFF2-40B4-BE49-F238E27FC236}">
                  <a16:creationId xmlns:a16="http://schemas.microsoft.com/office/drawing/2014/main" id="{C7DC60F7-22E0-2271-40E6-4F0A9DAC964A}"/>
                </a:ext>
              </a:extLst>
            </p:cNvPr>
            <p:cNvGrpSpPr/>
            <p:nvPr/>
          </p:nvGrpSpPr>
          <p:grpSpPr>
            <a:xfrm>
              <a:off x="7461619" y="1773467"/>
              <a:ext cx="289443" cy="248100"/>
              <a:chOff x="5696016" y="3086100"/>
              <a:chExt cx="800080" cy="685799"/>
            </a:xfrm>
            <a:grpFill/>
          </p:grpSpPr>
          <p:sp>
            <p:nvSpPr>
              <p:cNvPr id="2347" name="Vrije vorm: vorm 2346">
                <a:extLst>
                  <a:ext uri="{FF2B5EF4-FFF2-40B4-BE49-F238E27FC236}">
                    <a16:creationId xmlns:a16="http://schemas.microsoft.com/office/drawing/2014/main" id="{0D1A194B-18E1-0864-D02F-D7CF16E0CD8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48" name="Vrije vorm: vorm 2347">
                <a:extLst>
                  <a:ext uri="{FF2B5EF4-FFF2-40B4-BE49-F238E27FC236}">
                    <a16:creationId xmlns:a16="http://schemas.microsoft.com/office/drawing/2014/main" id="{239296B4-8856-FBD0-D9CC-1D272637A94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3" name="Groep 2262">
              <a:extLst>
                <a:ext uri="{FF2B5EF4-FFF2-40B4-BE49-F238E27FC236}">
                  <a16:creationId xmlns:a16="http://schemas.microsoft.com/office/drawing/2014/main" id="{699DF27C-E215-DECC-8DA7-34DE25CAEECD}"/>
                </a:ext>
              </a:extLst>
            </p:cNvPr>
            <p:cNvGrpSpPr/>
            <p:nvPr/>
          </p:nvGrpSpPr>
          <p:grpSpPr>
            <a:xfrm>
              <a:off x="7784107" y="1773467"/>
              <a:ext cx="289443" cy="248100"/>
              <a:chOff x="5696016" y="3086100"/>
              <a:chExt cx="800080" cy="685799"/>
            </a:xfrm>
            <a:grpFill/>
          </p:grpSpPr>
          <p:sp>
            <p:nvSpPr>
              <p:cNvPr id="2345" name="Vrije vorm: vorm 2344">
                <a:extLst>
                  <a:ext uri="{FF2B5EF4-FFF2-40B4-BE49-F238E27FC236}">
                    <a16:creationId xmlns:a16="http://schemas.microsoft.com/office/drawing/2014/main" id="{70E757E6-0613-01D7-B0CB-4B28C73591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46" name="Vrije vorm: vorm 2345">
                <a:extLst>
                  <a:ext uri="{FF2B5EF4-FFF2-40B4-BE49-F238E27FC236}">
                    <a16:creationId xmlns:a16="http://schemas.microsoft.com/office/drawing/2014/main" id="{1A1D01DE-55E4-A0D8-24AC-413203C6E0F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4" name="Groep 2263">
              <a:extLst>
                <a:ext uri="{FF2B5EF4-FFF2-40B4-BE49-F238E27FC236}">
                  <a16:creationId xmlns:a16="http://schemas.microsoft.com/office/drawing/2014/main" id="{10823DC3-06CF-9A5D-9F3F-A12CA7241A3B}"/>
                </a:ext>
              </a:extLst>
            </p:cNvPr>
            <p:cNvGrpSpPr/>
            <p:nvPr/>
          </p:nvGrpSpPr>
          <p:grpSpPr>
            <a:xfrm>
              <a:off x="7139131" y="2083483"/>
              <a:ext cx="289443" cy="248100"/>
              <a:chOff x="5696016" y="3086100"/>
              <a:chExt cx="800080" cy="685799"/>
            </a:xfrm>
            <a:grpFill/>
          </p:grpSpPr>
          <p:sp>
            <p:nvSpPr>
              <p:cNvPr id="2343" name="Vrije vorm: vorm 2342">
                <a:extLst>
                  <a:ext uri="{FF2B5EF4-FFF2-40B4-BE49-F238E27FC236}">
                    <a16:creationId xmlns:a16="http://schemas.microsoft.com/office/drawing/2014/main" id="{3F55B0F3-35EC-7482-3DB3-25C094FC72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44" name="Vrije vorm: vorm 2343">
                <a:extLst>
                  <a:ext uri="{FF2B5EF4-FFF2-40B4-BE49-F238E27FC236}">
                    <a16:creationId xmlns:a16="http://schemas.microsoft.com/office/drawing/2014/main" id="{9497DE08-E3E6-BFA6-7BF6-C27CD997095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5" name="Groep 2264">
              <a:extLst>
                <a:ext uri="{FF2B5EF4-FFF2-40B4-BE49-F238E27FC236}">
                  <a16:creationId xmlns:a16="http://schemas.microsoft.com/office/drawing/2014/main" id="{A4E4B89F-5103-D68D-1FAD-DAEF1E9BBC0D}"/>
                </a:ext>
              </a:extLst>
            </p:cNvPr>
            <p:cNvGrpSpPr/>
            <p:nvPr/>
          </p:nvGrpSpPr>
          <p:grpSpPr>
            <a:xfrm>
              <a:off x="7461619" y="2083483"/>
              <a:ext cx="289443" cy="248100"/>
              <a:chOff x="5696016" y="3086100"/>
              <a:chExt cx="800080" cy="685799"/>
            </a:xfrm>
            <a:grpFill/>
          </p:grpSpPr>
          <p:sp>
            <p:nvSpPr>
              <p:cNvPr id="2341" name="Vrije vorm: vorm 2340">
                <a:extLst>
                  <a:ext uri="{FF2B5EF4-FFF2-40B4-BE49-F238E27FC236}">
                    <a16:creationId xmlns:a16="http://schemas.microsoft.com/office/drawing/2014/main" id="{063DE04B-BC5C-C45E-81AA-59E914EF25C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42" name="Vrije vorm: vorm 2341">
                <a:extLst>
                  <a:ext uri="{FF2B5EF4-FFF2-40B4-BE49-F238E27FC236}">
                    <a16:creationId xmlns:a16="http://schemas.microsoft.com/office/drawing/2014/main" id="{17C021BF-775E-3C0E-F543-48BA1EFB344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6" name="Groep 2265">
              <a:extLst>
                <a:ext uri="{FF2B5EF4-FFF2-40B4-BE49-F238E27FC236}">
                  <a16:creationId xmlns:a16="http://schemas.microsoft.com/office/drawing/2014/main" id="{9ECD5842-7164-405A-2C66-96C660CD9E6E}"/>
                </a:ext>
              </a:extLst>
            </p:cNvPr>
            <p:cNvGrpSpPr/>
            <p:nvPr/>
          </p:nvGrpSpPr>
          <p:grpSpPr>
            <a:xfrm>
              <a:off x="7784107" y="2083483"/>
              <a:ext cx="289443" cy="248100"/>
              <a:chOff x="5696016" y="3086100"/>
              <a:chExt cx="800080" cy="685799"/>
            </a:xfrm>
            <a:grpFill/>
          </p:grpSpPr>
          <p:sp>
            <p:nvSpPr>
              <p:cNvPr id="2339" name="Vrije vorm: vorm 2338">
                <a:extLst>
                  <a:ext uri="{FF2B5EF4-FFF2-40B4-BE49-F238E27FC236}">
                    <a16:creationId xmlns:a16="http://schemas.microsoft.com/office/drawing/2014/main" id="{4DD60400-4689-CC5F-FC9C-C89B7D362C5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40" name="Vrije vorm: vorm 2339">
                <a:extLst>
                  <a:ext uri="{FF2B5EF4-FFF2-40B4-BE49-F238E27FC236}">
                    <a16:creationId xmlns:a16="http://schemas.microsoft.com/office/drawing/2014/main" id="{CBCFED9C-0496-024D-6ABD-3EE8DE466B3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7" name="Groep 2266">
              <a:extLst>
                <a:ext uri="{FF2B5EF4-FFF2-40B4-BE49-F238E27FC236}">
                  <a16:creationId xmlns:a16="http://schemas.microsoft.com/office/drawing/2014/main" id="{6A3D7345-13F9-4CEE-514A-DB0B2B80D677}"/>
                </a:ext>
              </a:extLst>
            </p:cNvPr>
            <p:cNvGrpSpPr/>
            <p:nvPr/>
          </p:nvGrpSpPr>
          <p:grpSpPr>
            <a:xfrm>
              <a:off x="7139131" y="2393500"/>
              <a:ext cx="289443" cy="248100"/>
              <a:chOff x="5696016" y="3086100"/>
              <a:chExt cx="800080" cy="685799"/>
            </a:xfrm>
            <a:grpFill/>
          </p:grpSpPr>
          <p:sp>
            <p:nvSpPr>
              <p:cNvPr id="2337" name="Vrije vorm: vorm 2336">
                <a:extLst>
                  <a:ext uri="{FF2B5EF4-FFF2-40B4-BE49-F238E27FC236}">
                    <a16:creationId xmlns:a16="http://schemas.microsoft.com/office/drawing/2014/main" id="{9AC07C51-4CBA-15D7-79D1-549B1221E9A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38" name="Vrije vorm: vorm 2337">
                <a:extLst>
                  <a:ext uri="{FF2B5EF4-FFF2-40B4-BE49-F238E27FC236}">
                    <a16:creationId xmlns:a16="http://schemas.microsoft.com/office/drawing/2014/main" id="{362DCD09-3C55-B6EC-8774-F99B4B3D7BA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8" name="Groep 2267">
              <a:extLst>
                <a:ext uri="{FF2B5EF4-FFF2-40B4-BE49-F238E27FC236}">
                  <a16:creationId xmlns:a16="http://schemas.microsoft.com/office/drawing/2014/main" id="{F38535A5-9183-AB0B-5483-8D41D82597B8}"/>
                </a:ext>
              </a:extLst>
            </p:cNvPr>
            <p:cNvGrpSpPr/>
            <p:nvPr/>
          </p:nvGrpSpPr>
          <p:grpSpPr>
            <a:xfrm>
              <a:off x="7461619" y="2393500"/>
              <a:ext cx="289443" cy="248100"/>
              <a:chOff x="5696016" y="3086100"/>
              <a:chExt cx="800080" cy="685799"/>
            </a:xfrm>
            <a:grpFill/>
          </p:grpSpPr>
          <p:sp>
            <p:nvSpPr>
              <p:cNvPr id="2335" name="Vrije vorm: vorm 2334">
                <a:extLst>
                  <a:ext uri="{FF2B5EF4-FFF2-40B4-BE49-F238E27FC236}">
                    <a16:creationId xmlns:a16="http://schemas.microsoft.com/office/drawing/2014/main" id="{B9268776-09B7-F4FA-3388-913F4B77CA5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36" name="Vrije vorm: vorm 2335">
                <a:extLst>
                  <a:ext uri="{FF2B5EF4-FFF2-40B4-BE49-F238E27FC236}">
                    <a16:creationId xmlns:a16="http://schemas.microsoft.com/office/drawing/2014/main" id="{0C5BF457-3345-B439-CAD5-143479DEB80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69" name="Groep 2268">
              <a:extLst>
                <a:ext uri="{FF2B5EF4-FFF2-40B4-BE49-F238E27FC236}">
                  <a16:creationId xmlns:a16="http://schemas.microsoft.com/office/drawing/2014/main" id="{9695AB46-C891-033D-9A99-55B2465D3F75}"/>
                </a:ext>
              </a:extLst>
            </p:cNvPr>
            <p:cNvGrpSpPr/>
            <p:nvPr/>
          </p:nvGrpSpPr>
          <p:grpSpPr>
            <a:xfrm>
              <a:off x="7784107" y="2393500"/>
              <a:ext cx="289443" cy="248100"/>
              <a:chOff x="5696016" y="3086100"/>
              <a:chExt cx="800080" cy="685799"/>
            </a:xfrm>
            <a:grpFill/>
          </p:grpSpPr>
          <p:sp>
            <p:nvSpPr>
              <p:cNvPr id="2333" name="Vrije vorm: vorm 2332">
                <a:extLst>
                  <a:ext uri="{FF2B5EF4-FFF2-40B4-BE49-F238E27FC236}">
                    <a16:creationId xmlns:a16="http://schemas.microsoft.com/office/drawing/2014/main" id="{3A24F252-BFEF-B98F-FC49-A295B7DCC68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34" name="Vrije vorm: vorm 2333">
                <a:extLst>
                  <a:ext uri="{FF2B5EF4-FFF2-40B4-BE49-F238E27FC236}">
                    <a16:creationId xmlns:a16="http://schemas.microsoft.com/office/drawing/2014/main" id="{1473C7E1-2258-B06B-9CAC-4F61621B3EB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0" name="Groep 2269">
              <a:extLst>
                <a:ext uri="{FF2B5EF4-FFF2-40B4-BE49-F238E27FC236}">
                  <a16:creationId xmlns:a16="http://schemas.microsoft.com/office/drawing/2014/main" id="{951930B5-D4BE-E60C-C836-678166CD1A11}"/>
                </a:ext>
              </a:extLst>
            </p:cNvPr>
            <p:cNvGrpSpPr/>
            <p:nvPr/>
          </p:nvGrpSpPr>
          <p:grpSpPr>
            <a:xfrm>
              <a:off x="7133223" y="2705100"/>
              <a:ext cx="289443" cy="248100"/>
              <a:chOff x="5696016" y="3086100"/>
              <a:chExt cx="800080" cy="685799"/>
            </a:xfrm>
            <a:grpFill/>
          </p:grpSpPr>
          <p:sp>
            <p:nvSpPr>
              <p:cNvPr id="2331" name="Vrije vorm: vorm 2330">
                <a:extLst>
                  <a:ext uri="{FF2B5EF4-FFF2-40B4-BE49-F238E27FC236}">
                    <a16:creationId xmlns:a16="http://schemas.microsoft.com/office/drawing/2014/main" id="{40A12576-8894-CEB9-C029-2E2792D46F1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32" name="Vrije vorm: vorm 2331">
                <a:extLst>
                  <a:ext uri="{FF2B5EF4-FFF2-40B4-BE49-F238E27FC236}">
                    <a16:creationId xmlns:a16="http://schemas.microsoft.com/office/drawing/2014/main" id="{7247BADB-316A-2B22-46E8-F43AE6632A1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1" name="Groep 2270">
              <a:extLst>
                <a:ext uri="{FF2B5EF4-FFF2-40B4-BE49-F238E27FC236}">
                  <a16:creationId xmlns:a16="http://schemas.microsoft.com/office/drawing/2014/main" id="{B4C8835D-0DB9-18DF-69D4-2234E662A36E}"/>
                </a:ext>
              </a:extLst>
            </p:cNvPr>
            <p:cNvGrpSpPr/>
            <p:nvPr/>
          </p:nvGrpSpPr>
          <p:grpSpPr>
            <a:xfrm>
              <a:off x="7455711" y="2705100"/>
              <a:ext cx="289443" cy="248100"/>
              <a:chOff x="5696016" y="3086100"/>
              <a:chExt cx="800080" cy="685799"/>
            </a:xfrm>
            <a:grpFill/>
          </p:grpSpPr>
          <p:sp>
            <p:nvSpPr>
              <p:cNvPr id="2329" name="Vrije vorm: vorm 2328">
                <a:extLst>
                  <a:ext uri="{FF2B5EF4-FFF2-40B4-BE49-F238E27FC236}">
                    <a16:creationId xmlns:a16="http://schemas.microsoft.com/office/drawing/2014/main" id="{5F1699A4-0C31-502F-72FD-7F953635242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30" name="Vrije vorm: vorm 2329">
                <a:extLst>
                  <a:ext uri="{FF2B5EF4-FFF2-40B4-BE49-F238E27FC236}">
                    <a16:creationId xmlns:a16="http://schemas.microsoft.com/office/drawing/2014/main" id="{F7AB9FD8-D2A9-417B-6F83-BB32A7151A2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2" name="Groep 2271">
              <a:extLst>
                <a:ext uri="{FF2B5EF4-FFF2-40B4-BE49-F238E27FC236}">
                  <a16:creationId xmlns:a16="http://schemas.microsoft.com/office/drawing/2014/main" id="{FA6C1B51-D8EC-24C5-A704-F8ACB32FFC9F}"/>
                </a:ext>
              </a:extLst>
            </p:cNvPr>
            <p:cNvGrpSpPr/>
            <p:nvPr/>
          </p:nvGrpSpPr>
          <p:grpSpPr>
            <a:xfrm>
              <a:off x="7778199" y="2705100"/>
              <a:ext cx="289443" cy="248100"/>
              <a:chOff x="5696016" y="3086100"/>
              <a:chExt cx="800080" cy="685799"/>
            </a:xfrm>
            <a:grpFill/>
          </p:grpSpPr>
          <p:sp>
            <p:nvSpPr>
              <p:cNvPr id="2327" name="Vrije vorm: vorm 2326">
                <a:extLst>
                  <a:ext uri="{FF2B5EF4-FFF2-40B4-BE49-F238E27FC236}">
                    <a16:creationId xmlns:a16="http://schemas.microsoft.com/office/drawing/2014/main" id="{5F451EA9-65F7-B60A-6C67-27F1FBBF042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28" name="Vrije vorm: vorm 2327">
                <a:extLst>
                  <a:ext uri="{FF2B5EF4-FFF2-40B4-BE49-F238E27FC236}">
                    <a16:creationId xmlns:a16="http://schemas.microsoft.com/office/drawing/2014/main" id="{CE662320-4BCA-75BE-494C-3276507459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3" name="Groep 2272">
              <a:extLst>
                <a:ext uri="{FF2B5EF4-FFF2-40B4-BE49-F238E27FC236}">
                  <a16:creationId xmlns:a16="http://schemas.microsoft.com/office/drawing/2014/main" id="{EA74DB22-79F9-1131-4E2F-C3C9AF4361D7}"/>
                </a:ext>
              </a:extLst>
            </p:cNvPr>
            <p:cNvGrpSpPr/>
            <p:nvPr/>
          </p:nvGrpSpPr>
          <p:grpSpPr>
            <a:xfrm>
              <a:off x="7133223" y="3015117"/>
              <a:ext cx="289443" cy="248100"/>
              <a:chOff x="5696016" y="3086100"/>
              <a:chExt cx="800080" cy="685799"/>
            </a:xfrm>
            <a:grpFill/>
          </p:grpSpPr>
          <p:sp>
            <p:nvSpPr>
              <p:cNvPr id="2325" name="Vrije vorm: vorm 2324">
                <a:extLst>
                  <a:ext uri="{FF2B5EF4-FFF2-40B4-BE49-F238E27FC236}">
                    <a16:creationId xmlns:a16="http://schemas.microsoft.com/office/drawing/2014/main" id="{883E73B3-2054-C816-FEDC-E679AC77D61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26" name="Vrije vorm: vorm 2325">
                <a:extLst>
                  <a:ext uri="{FF2B5EF4-FFF2-40B4-BE49-F238E27FC236}">
                    <a16:creationId xmlns:a16="http://schemas.microsoft.com/office/drawing/2014/main" id="{58C9253C-C23A-1C1C-4F71-CF064ABFFD7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4" name="Groep 2273">
              <a:extLst>
                <a:ext uri="{FF2B5EF4-FFF2-40B4-BE49-F238E27FC236}">
                  <a16:creationId xmlns:a16="http://schemas.microsoft.com/office/drawing/2014/main" id="{94F59762-01D1-7530-AC25-F26531AE4E10}"/>
                </a:ext>
              </a:extLst>
            </p:cNvPr>
            <p:cNvGrpSpPr/>
            <p:nvPr/>
          </p:nvGrpSpPr>
          <p:grpSpPr>
            <a:xfrm>
              <a:off x="7455711" y="3015117"/>
              <a:ext cx="289443" cy="248100"/>
              <a:chOff x="5696016" y="3086100"/>
              <a:chExt cx="800080" cy="685799"/>
            </a:xfrm>
            <a:grpFill/>
          </p:grpSpPr>
          <p:sp>
            <p:nvSpPr>
              <p:cNvPr id="2323" name="Vrije vorm: vorm 2322">
                <a:extLst>
                  <a:ext uri="{FF2B5EF4-FFF2-40B4-BE49-F238E27FC236}">
                    <a16:creationId xmlns:a16="http://schemas.microsoft.com/office/drawing/2014/main" id="{EBCE08B0-61D2-0D6C-76A7-3A583F1530F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24" name="Vrije vorm: vorm 2323">
                <a:extLst>
                  <a:ext uri="{FF2B5EF4-FFF2-40B4-BE49-F238E27FC236}">
                    <a16:creationId xmlns:a16="http://schemas.microsoft.com/office/drawing/2014/main" id="{19535B58-55A2-3D82-6DC5-0F4DFB85A5B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5" name="Groep 2274">
              <a:extLst>
                <a:ext uri="{FF2B5EF4-FFF2-40B4-BE49-F238E27FC236}">
                  <a16:creationId xmlns:a16="http://schemas.microsoft.com/office/drawing/2014/main" id="{9DE2B62C-F095-0568-3C73-4BF83ED96721}"/>
                </a:ext>
              </a:extLst>
            </p:cNvPr>
            <p:cNvGrpSpPr/>
            <p:nvPr/>
          </p:nvGrpSpPr>
          <p:grpSpPr>
            <a:xfrm>
              <a:off x="7778199" y="3015117"/>
              <a:ext cx="289443" cy="248100"/>
              <a:chOff x="5696016" y="3086100"/>
              <a:chExt cx="800080" cy="685799"/>
            </a:xfrm>
            <a:grpFill/>
          </p:grpSpPr>
          <p:sp>
            <p:nvSpPr>
              <p:cNvPr id="2321" name="Vrije vorm: vorm 2320">
                <a:extLst>
                  <a:ext uri="{FF2B5EF4-FFF2-40B4-BE49-F238E27FC236}">
                    <a16:creationId xmlns:a16="http://schemas.microsoft.com/office/drawing/2014/main" id="{870E67C9-9A8F-95FE-2C47-D527B39F55E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22" name="Vrije vorm: vorm 2321">
                <a:extLst>
                  <a:ext uri="{FF2B5EF4-FFF2-40B4-BE49-F238E27FC236}">
                    <a16:creationId xmlns:a16="http://schemas.microsoft.com/office/drawing/2014/main" id="{54DB6F62-5301-2153-981B-DB6C085DD9B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6" name="Groep 2275">
              <a:extLst>
                <a:ext uri="{FF2B5EF4-FFF2-40B4-BE49-F238E27FC236}">
                  <a16:creationId xmlns:a16="http://schemas.microsoft.com/office/drawing/2014/main" id="{66D8BDFB-E80F-A4B5-6268-AE1E5C2586C1}"/>
                </a:ext>
              </a:extLst>
            </p:cNvPr>
            <p:cNvGrpSpPr/>
            <p:nvPr/>
          </p:nvGrpSpPr>
          <p:grpSpPr>
            <a:xfrm>
              <a:off x="7133223" y="3325135"/>
              <a:ext cx="289443" cy="248100"/>
              <a:chOff x="5696016" y="3086100"/>
              <a:chExt cx="800080" cy="685799"/>
            </a:xfrm>
            <a:grpFill/>
          </p:grpSpPr>
          <p:sp>
            <p:nvSpPr>
              <p:cNvPr id="2319" name="Vrije vorm: vorm 2318">
                <a:extLst>
                  <a:ext uri="{FF2B5EF4-FFF2-40B4-BE49-F238E27FC236}">
                    <a16:creationId xmlns:a16="http://schemas.microsoft.com/office/drawing/2014/main" id="{9313E72D-3040-525E-5F48-B581A1D6A82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20" name="Vrije vorm: vorm 2319">
                <a:extLst>
                  <a:ext uri="{FF2B5EF4-FFF2-40B4-BE49-F238E27FC236}">
                    <a16:creationId xmlns:a16="http://schemas.microsoft.com/office/drawing/2014/main" id="{1F5B9955-BA80-5275-A0EE-86046725CE9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7" name="Groep 2276">
              <a:extLst>
                <a:ext uri="{FF2B5EF4-FFF2-40B4-BE49-F238E27FC236}">
                  <a16:creationId xmlns:a16="http://schemas.microsoft.com/office/drawing/2014/main" id="{44463A42-C5DE-0E81-FC32-8341F7EBB25B}"/>
                </a:ext>
              </a:extLst>
            </p:cNvPr>
            <p:cNvGrpSpPr/>
            <p:nvPr/>
          </p:nvGrpSpPr>
          <p:grpSpPr>
            <a:xfrm>
              <a:off x="7455711" y="3325135"/>
              <a:ext cx="289443" cy="248100"/>
              <a:chOff x="5696016" y="3086100"/>
              <a:chExt cx="800080" cy="685799"/>
            </a:xfrm>
            <a:grpFill/>
          </p:grpSpPr>
          <p:sp>
            <p:nvSpPr>
              <p:cNvPr id="2317" name="Vrije vorm: vorm 2316">
                <a:extLst>
                  <a:ext uri="{FF2B5EF4-FFF2-40B4-BE49-F238E27FC236}">
                    <a16:creationId xmlns:a16="http://schemas.microsoft.com/office/drawing/2014/main" id="{A7FA5637-553A-B8DE-C67E-CBC3EE3B70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18" name="Vrije vorm: vorm 2317">
                <a:extLst>
                  <a:ext uri="{FF2B5EF4-FFF2-40B4-BE49-F238E27FC236}">
                    <a16:creationId xmlns:a16="http://schemas.microsoft.com/office/drawing/2014/main" id="{3B4A121E-F7A2-9923-CA81-B30A1555FBE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8" name="Groep 2277">
              <a:extLst>
                <a:ext uri="{FF2B5EF4-FFF2-40B4-BE49-F238E27FC236}">
                  <a16:creationId xmlns:a16="http://schemas.microsoft.com/office/drawing/2014/main" id="{C1F57CD0-77E1-903F-C3E2-B5D119B61041}"/>
                </a:ext>
              </a:extLst>
            </p:cNvPr>
            <p:cNvGrpSpPr/>
            <p:nvPr/>
          </p:nvGrpSpPr>
          <p:grpSpPr>
            <a:xfrm>
              <a:off x="7778199" y="3325135"/>
              <a:ext cx="289443" cy="248100"/>
              <a:chOff x="5696016" y="3086100"/>
              <a:chExt cx="800080" cy="685799"/>
            </a:xfrm>
            <a:grpFill/>
          </p:grpSpPr>
          <p:sp>
            <p:nvSpPr>
              <p:cNvPr id="2315" name="Vrije vorm: vorm 2314">
                <a:extLst>
                  <a:ext uri="{FF2B5EF4-FFF2-40B4-BE49-F238E27FC236}">
                    <a16:creationId xmlns:a16="http://schemas.microsoft.com/office/drawing/2014/main" id="{05BAFFE0-3790-D15B-93BF-A742678DEE5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16" name="Vrije vorm: vorm 2315">
                <a:extLst>
                  <a:ext uri="{FF2B5EF4-FFF2-40B4-BE49-F238E27FC236}">
                    <a16:creationId xmlns:a16="http://schemas.microsoft.com/office/drawing/2014/main" id="{B517462E-BB59-02E6-B4FC-0716CBF7AC5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79" name="Groep 2278">
              <a:extLst>
                <a:ext uri="{FF2B5EF4-FFF2-40B4-BE49-F238E27FC236}">
                  <a16:creationId xmlns:a16="http://schemas.microsoft.com/office/drawing/2014/main" id="{7BF6A98E-750D-3A83-482F-4996988F2BD7}"/>
                </a:ext>
              </a:extLst>
            </p:cNvPr>
            <p:cNvGrpSpPr/>
            <p:nvPr/>
          </p:nvGrpSpPr>
          <p:grpSpPr>
            <a:xfrm>
              <a:off x="7133223" y="3635151"/>
              <a:ext cx="289443" cy="248100"/>
              <a:chOff x="5696016" y="3086100"/>
              <a:chExt cx="800080" cy="685799"/>
            </a:xfrm>
            <a:grpFill/>
          </p:grpSpPr>
          <p:sp>
            <p:nvSpPr>
              <p:cNvPr id="2313" name="Vrije vorm: vorm 2312">
                <a:extLst>
                  <a:ext uri="{FF2B5EF4-FFF2-40B4-BE49-F238E27FC236}">
                    <a16:creationId xmlns:a16="http://schemas.microsoft.com/office/drawing/2014/main" id="{7C2D0D89-FCFB-0DC8-B2F1-F9D6A823829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14" name="Vrije vorm: vorm 2313">
                <a:extLst>
                  <a:ext uri="{FF2B5EF4-FFF2-40B4-BE49-F238E27FC236}">
                    <a16:creationId xmlns:a16="http://schemas.microsoft.com/office/drawing/2014/main" id="{9A8837ED-1C10-2521-ED7A-5C2AB1166F9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0" name="Groep 2279">
              <a:extLst>
                <a:ext uri="{FF2B5EF4-FFF2-40B4-BE49-F238E27FC236}">
                  <a16:creationId xmlns:a16="http://schemas.microsoft.com/office/drawing/2014/main" id="{43762AD5-DE30-8AAE-13B6-C577CE78EE8B}"/>
                </a:ext>
              </a:extLst>
            </p:cNvPr>
            <p:cNvGrpSpPr/>
            <p:nvPr/>
          </p:nvGrpSpPr>
          <p:grpSpPr>
            <a:xfrm>
              <a:off x="7455711" y="3635151"/>
              <a:ext cx="289443" cy="248100"/>
              <a:chOff x="5696016" y="3086100"/>
              <a:chExt cx="800080" cy="685799"/>
            </a:xfrm>
            <a:grpFill/>
          </p:grpSpPr>
          <p:sp>
            <p:nvSpPr>
              <p:cNvPr id="2311" name="Vrije vorm: vorm 2310">
                <a:extLst>
                  <a:ext uri="{FF2B5EF4-FFF2-40B4-BE49-F238E27FC236}">
                    <a16:creationId xmlns:a16="http://schemas.microsoft.com/office/drawing/2014/main" id="{0A24548F-36D9-598E-5D4E-0E942F0D850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12" name="Vrije vorm: vorm 2311">
                <a:extLst>
                  <a:ext uri="{FF2B5EF4-FFF2-40B4-BE49-F238E27FC236}">
                    <a16:creationId xmlns:a16="http://schemas.microsoft.com/office/drawing/2014/main" id="{7EFF0031-3EE1-907B-7106-EC8745C4007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1" name="Groep 2280">
              <a:extLst>
                <a:ext uri="{FF2B5EF4-FFF2-40B4-BE49-F238E27FC236}">
                  <a16:creationId xmlns:a16="http://schemas.microsoft.com/office/drawing/2014/main" id="{C1A18118-AE23-3F91-ED9F-3F8BEB9C48F6}"/>
                </a:ext>
              </a:extLst>
            </p:cNvPr>
            <p:cNvGrpSpPr/>
            <p:nvPr/>
          </p:nvGrpSpPr>
          <p:grpSpPr>
            <a:xfrm>
              <a:off x="7778199" y="3635151"/>
              <a:ext cx="289443" cy="248100"/>
              <a:chOff x="5696016" y="3086100"/>
              <a:chExt cx="800080" cy="685799"/>
            </a:xfrm>
            <a:grpFill/>
          </p:grpSpPr>
          <p:sp>
            <p:nvSpPr>
              <p:cNvPr id="2309" name="Vrije vorm: vorm 2308">
                <a:extLst>
                  <a:ext uri="{FF2B5EF4-FFF2-40B4-BE49-F238E27FC236}">
                    <a16:creationId xmlns:a16="http://schemas.microsoft.com/office/drawing/2014/main" id="{853C4408-B37C-20F8-4A75-E0112B156BFD}"/>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10" name="Vrije vorm: vorm 2309">
                <a:extLst>
                  <a:ext uri="{FF2B5EF4-FFF2-40B4-BE49-F238E27FC236}">
                    <a16:creationId xmlns:a16="http://schemas.microsoft.com/office/drawing/2014/main" id="{29FADE7A-3C54-DB65-16D1-297FDACB3B7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2" name="Groep 2281">
              <a:extLst>
                <a:ext uri="{FF2B5EF4-FFF2-40B4-BE49-F238E27FC236}">
                  <a16:creationId xmlns:a16="http://schemas.microsoft.com/office/drawing/2014/main" id="{C3345C8C-58E5-F58F-AE7E-45055C6E15B7}"/>
                </a:ext>
              </a:extLst>
            </p:cNvPr>
            <p:cNvGrpSpPr/>
            <p:nvPr/>
          </p:nvGrpSpPr>
          <p:grpSpPr>
            <a:xfrm>
              <a:off x="7133223" y="3945167"/>
              <a:ext cx="289443" cy="248100"/>
              <a:chOff x="5696016" y="3086100"/>
              <a:chExt cx="800080" cy="685799"/>
            </a:xfrm>
            <a:grpFill/>
          </p:grpSpPr>
          <p:sp>
            <p:nvSpPr>
              <p:cNvPr id="2307" name="Vrije vorm: vorm 2306">
                <a:extLst>
                  <a:ext uri="{FF2B5EF4-FFF2-40B4-BE49-F238E27FC236}">
                    <a16:creationId xmlns:a16="http://schemas.microsoft.com/office/drawing/2014/main" id="{E3F46A47-7672-4E37-9AF9-44923BC462A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08" name="Vrije vorm: vorm 2307">
                <a:extLst>
                  <a:ext uri="{FF2B5EF4-FFF2-40B4-BE49-F238E27FC236}">
                    <a16:creationId xmlns:a16="http://schemas.microsoft.com/office/drawing/2014/main" id="{7F8C790F-312F-06CD-ADBD-9FF386A4A4C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3" name="Groep 2282">
              <a:extLst>
                <a:ext uri="{FF2B5EF4-FFF2-40B4-BE49-F238E27FC236}">
                  <a16:creationId xmlns:a16="http://schemas.microsoft.com/office/drawing/2014/main" id="{9C058DA0-CDCD-138D-3C1D-0B6F8397E4CB}"/>
                </a:ext>
              </a:extLst>
            </p:cNvPr>
            <p:cNvGrpSpPr/>
            <p:nvPr/>
          </p:nvGrpSpPr>
          <p:grpSpPr>
            <a:xfrm>
              <a:off x="7455711" y="3945167"/>
              <a:ext cx="289443" cy="248100"/>
              <a:chOff x="5696016" y="3086100"/>
              <a:chExt cx="800080" cy="685799"/>
            </a:xfrm>
            <a:grpFill/>
          </p:grpSpPr>
          <p:sp>
            <p:nvSpPr>
              <p:cNvPr id="2305" name="Vrije vorm: vorm 2304">
                <a:extLst>
                  <a:ext uri="{FF2B5EF4-FFF2-40B4-BE49-F238E27FC236}">
                    <a16:creationId xmlns:a16="http://schemas.microsoft.com/office/drawing/2014/main" id="{F6423444-F562-AAA8-CB5C-39F166F0C29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06" name="Vrije vorm: vorm 2305">
                <a:extLst>
                  <a:ext uri="{FF2B5EF4-FFF2-40B4-BE49-F238E27FC236}">
                    <a16:creationId xmlns:a16="http://schemas.microsoft.com/office/drawing/2014/main" id="{EC23BB0A-97A7-E863-6D59-41F529826E8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4" name="Groep 2283">
              <a:extLst>
                <a:ext uri="{FF2B5EF4-FFF2-40B4-BE49-F238E27FC236}">
                  <a16:creationId xmlns:a16="http://schemas.microsoft.com/office/drawing/2014/main" id="{BA55ACBB-F94C-F195-B9A4-05D19BB4DB6D}"/>
                </a:ext>
              </a:extLst>
            </p:cNvPr>
            <p:cNvGrpSpPr/>
            <p:nvPr/>
          </p:nvGrpSpPr>
          <p:grpSpPr>
            <a:xfrm>
              <a:off x="7778199" y="3945167"/>
              <a:ext cx="289443" cy="248100"/>
              <a:chOff x="5696016" y="3086100"/>
              <a:chExt cx="800080" cy="685799"/>
            </a:xfrm>
            <a:grpFill/>
          </p:grpSpPr>
          <p:sp>
            <p:nvSpPr>
              <p:cNvPr id="2303" name="Vrije vorm: vorm 2302">
                <a:extLst>
                  <a:ext uri="{FF2B5EF4-FFF2-40B4-BE49-F238E27FC236}">
                    <a16:creationId xmlns:a16="http://schemas.microsoft.com/office/drawing/2014/main" id="{002E9C58-511F-AC1A-6CB8-F78774898B6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04" name="Vrije vorm: vorm 2303">
                <a:extLst>
                  <a:ext uri="{FF2B5EF4-FFF2-40B4-BE49-F238E27FC236}">
                    <a16:creationId xmlns:a16="http://schemas.microsoft.com/office/drawing/2014/main" id="{C7736A09-0DE6-83B3-0979-C5E44FC58DF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5" name="Groep 2284">
              <a:extLst>
                <a:ext uri="{FF2B5EF4-FFF2-40B4-BE49-F238E27FC236}">
                  <a16:creationId xmlns:a16="http://schemas.microsoft.com/office/drawing/2014/main" id="{80EF3273-2BF1-7565-2DD0-6A6E1C97CD5D}"/>
                </a:ext>
              </a:extLst>
            </p:cNvPr>
            <p:cNvGrpSpPr/>
            <p:nvPr/>
          </p:nvGrpSpPr>
          <p:grpSpPr>
            <a:xfrm>
              <a:off x="7133223" y="4255183"/>
              <a:ext cx="289443" cy="248100"/>
              <a:chOff x="5696016" y="3086100"/>
              <a:chExt cx="800080" cy="685799"/>
            </a:xfrm>
            <a:grpFill/>
          </p:grpSpPr>
          <p:sp>
            <p:nvSpPr>
              <p:cNvPr id="2301" name="Vrije vorm: vorm 2300">
                <a:extLst>
                  <a:ext uri="{FF2B5EF4-FFF2-40B4-BE49-F238E27FC236}">
                    <a16:creationId xmlns:a16="http://schemas.microsoft.com/office/drawing/2014/main" id="{2E648784-2F2F-8995-1AD4-E166C58EAF1A}"/>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02" name="Vrije vorm: vorm 2301">
                <a:extLst>
                  <a:ext uri="{FF2B5EF4-FFF2-40B4-BE49-F238E27FC236}">
                    <a16:creationId xmlns:a16="http://schemas.microsoft.com/office/drawing/2014/main" id="{046519F3-CD20-4E2B-501C-0C9CB91E96D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6" name="Groep 2285">
              <a:extLst>
                <a:ext uri="{FF2B5EF4-FFF2-40B4-BE49-F238E27FC236}">
                  <a16:creationId xmlns:a16="http://schemas.microsoft.com/office/drawing/2014/main" id="{364B60D3-0F25-8967-31F3-E343C93A3628}"/>
                </a:ext>
              </a:extLst>
            </p:cNvPr>
            <p:cNvGrpSpPr/>
            <p:nvPr/>
          </p:nvGrpSpPr>
          <p:grpSpPr>
            <a:xfrm>
              <a:off x="7455711" y="4255183"/>
              <a:ext cx="289443" cy="248100"/>
              <a:chOff x="5696016" y="3086100"/>
              <a:chExt cx="800080" cy="685799"/>
            </a:xfrm>
            <a:grpFill/>
          </p:grpSpPr>
          <p:sp>
            <p:nvSpPr>
              <p:cNvPr id="2299" name="Vrije vorm: vorm 2298">
                <a:extLst>
                  <a:ext uri="{FF2B5EF4-FFF2-40B4-BE49-F238E27FC236}">
                    <a16:creationId xmlns:a16="http://schemas.microsoft.com/office/drawing/2014/main" id="{DD55A6A4-A26B-B98D-F268-FEDF352E0C2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300" name="Vrije vorm: vorm 2299">
                <a:extLst>
                  <a:ext uri="{FF2B5EF4-FFF2-40B4-BE49-F238E27FC236}">
                    <a16:creationId xmlns:a16="http://schemas.microsoft.com/office/drawing/2014/main" id="{2CF25E1B-811A-EF21-00E8-FF905DA124B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7" name="Groep 2286">
              <a:extLst>
                <a:ext uri="{FF2B5EF4-FFF2-40B4-BE49-F238E27FC236}">
                  <a16:creationId xmlns:a16="http://schemas.microsoft.com/office/drawing/2014/main" id="{0B02C7ED-FA68-B3D0-203D-3B56210ED618}"/>
                </a:ext>
              </a:extLst>
            </p:cNvPr>
            <p:cNvGrpSpPr/>
            <p:nvPr/>
          </p:nvGrpSpPr>
          <p:grpSpPr>
            <a:xfrm>
              <a:off x="7778199" y="4255183"/>
              <a:ext cx="289443" cy="248100"/>
              <a:chOff x="5696016" y="3086100"/>
              <a:chExt cx="800080" cy="685799"/>
            </a:xfrm>
            <a:grpFill/>
          </p:grpSpPr>
          <p:sp>
            <p:nvSpPr>
              <p:cNvPr id="2297" name="Vrije vorm: vorm 2296">
                <a:extLst>
                  <a:ext uri="{FF2B5EF4-FFF2-40B4-BE49-F238E27FC236}">
                    <a16:creationId xmlns:a16="http://schemas.microsoft.com/office/drawing/2014/main" id="{0B6E6FA2-A34A-1535-3164-B22807D959E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98" name="Vrije vorm: vorm 2297">
                <a:extLst>
                  <a:ext uri="{FF2B5EF4-FFF2-40B4-BE49-F238E27FC236}">
                    <a16:creationId xmlns:a16="http://schemas.microsoft.com/office/drawing/2014/main" id="{9F82F825-A163-CA7A-AEB3-9C970E8BE18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8" name="Groep 2287">
              <a:extLst>
                <a:ext uri="{FF2B5EF4-FFF2-40B4-BE49-F238E27FC236}">
                  <a16:creationId xmlns:a16="http://schemas.microsoft.com/office/drawing/2014/main" id="{EF1937C8-12DE-2217-8FEA-542A310E6FB5}"/>
                </a:ext>
              </a:extLst>
            </p:cNvPr>
            <p:cNvGrpSpPr/>
            <p:nvPr/>
          </p:nvGrpSpPr>
          <p:grpSpPr>
            <a:xfrm>
              <a:off x="7133223" y="4565200"/>
              <a:ext cx="289443" cy="248100"/>
              <a:chOff x="5696016" y="3086100"/>
              <a:chExt cx="800080" cy="685799"/>
            </a:xfrm>
            <a:grpFill/>
          </p:grpSpPr>
          <p:sp>
            <p:nvSpPr>
              <p:cNvPr id="2295" name="Vrije vorm: vorm 2294">
                <a:extLst>
                  <a:ext uri="{FF2B5EF4-FFF2-40B4-BE49-F238E27FC236}">
                    <a16:creationId xmlns:a16="http://schemas.microsoft.com/office/drawing/2014/main" id="{FC80901C-9BD5-74C5-9543-DFC067295CF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96" name="Vrije vorm: vorm 2295">
                <a:extLst>
                  <a:ext uri="{FF2B5EF4-FFF2-40B4-BE49-F238E27FC236}">
                    <a16:creationId xmlns:a16="http://schemas.microsoft.com/office/drawing/2014/main" id="{C07079CF-4A6E-CD9A-C3F7-C4A83C7AB13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89" name="Groep 2288">
              <a:extLst>
                <a:ext uri="{FF2B5EF4-FFF2-40B4-BE49-F238E27FC236}">
                  <a16:creationId xmlns:a16="http://schemas.microsoft.com/office/drawing/2014/main" id="{C9CF4B81-8ADF-0084-B52D-FE69B86A33DF}"/>
                </a:ext>
              </a:extLst>
            </p:cNvPr>
            <p:cNvGrpSpPr/>
            <p:nvPr/>
          </p:nvGrpSpPr>
          <p:grpSpPr>
            <a:xfrm>
              <a:off x="7455711" y="4565200"/>
              <a:ext cx="289443" cy="248100"/>
              <a:chOff x="5696016" y="3086100"/>
              <a:chExt cx="800080" cy="685799"/>
            </a:xfrm>
            <a:grpFill/>
          </p:grpSpPr>
          <p:sp>
            <p:nvSpPr>
              <p:cNvPr id="2293" name="Vrije vorm: vorm 2292">
                <a:extLst>
                  <a:ext uri="{FF2B5EF4-FFF2-40B4-BE49-F238E27FC236}">
                    <a16:creationId xmlns:a16="http://schemas.microsoft.com/office/drawing/2014/main" id="{970EC420-A1C9-4A94-F138-1393A75CE94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94" name="Vrije vorm: vorm 2293">
                <a:extLst>
                  <a:ext uri="{FF2B5EF4-FFF2-40B4-BE49-F238E27FC236}">
                    <a16:creationId xmlns:a16="http://schemas.microsoft.com/office/drawing/2014/main" id="{156A521D-84C3-63E5-39C8-B54D9FA361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290" name="Groep 2289">
              <a:extLst>
                <a:ext uri="{FF2B5EF4-FFF2-40B4-BE49-F238E27FC236}">
                  <a16:creationId xmlns:a16="http://schemas.microsoft.com/office/drawing/2014/main" id="{DF4368E6-8A3C-C970-3570-3A35ED1C04DF}"/>
                </a:ext>
              </a:extLst>
            </p:cNvPr>
            <p:cNvGrpSpPr/>
            <p:nvPr/>
          </p:nvGrpSpPr>
          <p:grpSpPr>
            <a:xfrm>
              <a:off x="7778199" y="4565200"/>
              <a:ext cx="289443" cy="248100"/>
              <a:chOff x="5696016" y="3086100"/>
              <a:chExt cx="800080" cy="685799"/>
            </a:xfrm>
            <a:grpFill/>
          </p:grpSpPr>
          <p:sp>
            <p:nvSpPr>
              <p:cNvPr id="2291" name="Vrije vorm: vorm 2290">
                <a:extLst>
                  <a:ext uri="{FF2B5EF4-FFF2-40B4-BE49-F238E27FC236}">
                    <a16:creationId xmlns:a16="http://schemas.microsoft.com/office/drawing/2014/main" id="{EFE43E81-63A3-588A-A172-FCC78BFF926C}"/>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292" name="Vrije vorm: vorm 2291">
                <a:extLst>
                  <a:ext uri="{FF2B5EF4-FFF2-40B4-BE49-F238E27FC236}">
                    <a16:creationId xmlns:a16="http://schemas.microsoft.com/office/drawing/2014/main" id="{1F144E4C-5A52-2ACC-9A0A-6C44E34A99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grpSp>
        <p:nvGrpSpPr>
          <p:cNvPr id="2375" name="Groep 2374">
            <a:extLst>
              <a:ext uri="{FF2B5EF4-FFF2-40B4-BE49-F238E27FC236}">
                <a16:creationId xmlns:a16="http://schemas.microsoft.com/office/drawing/2014/main" id="{9FDF0374-5F79-023A-3F7F-12209BE94490}"/>
              </a:ext>
            </a:extLst>
          </p:cNvPr>
          <p:cNvGrpSpPr/>
          <p:nvPr/>
        </p:nvGrpSpPr>
        <p:grpSpPr>
          <a:xfrm>
            <a:off x="-686872" y="2044547"/>
            <a:ext cx="763072" cy="3473127"/>
            <a:chOff x="7133223" y="533400"/>
            <a:chExt cx="940327" cy="4279900"/>
          </a:xfrm>
          <a:solidFill>
            <a:schemeClr val="accent2"/>
          </a:solidFill>
        </p:grpSpPr>
        <p:grpSp>
          <p:nvGrpSpPr>
            <p:cNvPr id="2376" name="Groep 2375">
              <a:extLst>
                <a:ext uri="{FF2B5EF4-FFF2-40B4-BE49-F238E27FC236}">
                  <a16:creationId xmlns:a16="http://schemas.microsoft.com/office/drawing/2014/main" id="{08269B67-D03F-6C2E-7B5F-C6CE351DBB21}"/>
                </a:ext>
              </a:extLst>
            </p:cNvPr>
            <p:cNvGrpSpPr/>
            <p:nvPr/>
          </p:nvGrpSpPr>
          <p:grpSpPr>
            <a:xfrm>
              <a:off x="7139131" y="533400"/>
              <a:ext cx="289443" cy="248100"/>
              <a:chOff x="5696016" y="3086100"/>
              <a:chExt cx="800080" cy="685799"/>
            </a:xfrm>
            <a:grpFill/>
          </p:grpSpPr>
          <p:sp>
            <p:nvSpPr>
              <p:cNvPr id="2500" name="Vrije vorm: vorm 2499">
                <a:extLst>
                  <a:ext uri="{FF2B5EF4-FFF2-40B4-BE49-F238E27FC236}">
                    <a16:creationId xmlns:a16="http://schemas.microsoft.com/office/drawing/2014/main" id="{59B92DEB-6186-F24C-68FA-8700972C887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501" name="Vrije vorm: vorm 2500">
                <a:extLst>
                  <a:ext uri="{FF2B5EF4-FFF2-40B4-BE49-F238E27FC236}">
                    <a16:creationId xmlns:a16="http://schemas.microsoft.com/office/drawing/2014/main" id="{A1C91E4B-C8EC-6743-36D4-F812CF42C25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77" name="Groep 2376">
              <a:extLst>
                <a:ext uri="{FF2B5EF4-FFF2-40B4-BE49-F238E27FC236}">
                  <a16:creationId xmlns:a16="http://schemas.microsoft.com/office/drawing/2014/main" id="{41BD7686-6C52-C6FF-8772-017242AD9C48}"/>
                </a:ext>
              </a:extLst>
            </p:cNvPr>
            <p:cNvGrpSpPr/>
            <p:nvPr/>
          </p:nvGrpSpPr>
          <p:grpSpPr>
            <a:xfrm>
              <a:off x="7461619" y="533400"/>
              <a:ext cx="289443" cy="248100"/>
              <a:chOff x="5696016" y="3086100"/>
              <a:chExt cx="800080" cy="685799"/>
            </a:xfrm>
            <a:grpFill/>
          </p:grpSpPr>
          <p:sp>
            <p:nvSpPr>
              <p:cNvPr id="2498" name="Vrije vorm: vorm 2497">
                <a:extLst>
                  <a:ext uri="{FF2B5EF4-FFF2-40B4-BE49-F238E27FC236}">
                    <a16:creationId xmlns:a16="http://schemas.microsoft.com/office/drawing/2014/main" id="{8555C93B-22AE-B3A8-B7D0-A68ABA5FC89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9" name="Vrije vorm: vorm 2498">
                <a:extLst>
                  <a:ext uri="{FF2B5EF4-FFF2-40B4-BE49-F238E27FC236}">
                    <a16:creationId xmlns:a16="http://schemas.microsoft.com/office/drawing/2014/main" id="{99BF7DD7-52E7-EA78-A91A-C0F4FEFCB26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78" name="Groep 2377">
              <a:extLst>
                <a:ext uri="{FF2B5EF4-FFF2-40B4-BE49-F238E27FC236}">
                  <a16:creationId xmlns:a16="http://schemas.microsoft.com/office/drawing/2014/main" id="{0741F362-25DD-823E-0574-086E1EBE0E58}"/>
                </a:ext>
              </a:extLst>
            </p:cNvPr>
            <p:cNvGrpSpPr/>
            <p:nvPr/>
          </p:nvGrpSpPr>
          <p:grpSpPr>
            <a:xfrm>
              <a:off x="7784107" y="533400"/>
              <a:ext cx="289443" cy="248100"/>
              <a:chOff x="5696016" y="3086100"/>
              <a:chExt cx="800080" cy="685799"/>
            </a:xfrm>
            <a:grpFill/>
          </p:grpSpPr>
          <p:sp>
            <p:nvSpPr>
              <p:cNvPr id="2496" name="Vrije vorm: vorm 2495">
                <a:extLst>
                  <a:ext uri="{FF2B5EF4-FFF2-40B4-BE49-F238E27FC236}">
                    <a16:creationId xmlns:a16="http://schemas.microsoft.com/office/drawing/2014/main" id="{7D188C1D-8DFD-9B42-6C9C-BB315DEF0D0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7" name="Vrije vorm: vorm 2496">
                <a:extLst>
                  <a:ext uri="{FF2B5EF4-FFF2-40B4-BE49-F238E27FC236}">
                    <a16:creationId xmlns:a16="http://schemas.microsoft.com/office/drawing/2014/main" id="{F6EC2408-4105-C504-7F0A-633D34CF6C8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79" name="Groep 2378">
              <a:extLst>
                <a:ext uri="{FF2B5EF4-FFF2-40B4-BE49-F238E27FC236}">
                  <a16:creationId xmlns:a16="http://schemas.microsoft.com/office/drawing/2014/main" id="{2C2D7F9A-55F0-BC62-7DE5-698E8CD6EF0E}"/>
                </a:ext>
              </a:extLst>
            </p:cNvPr>
            <p:cNvGrpSpPr/>
            <p:nvPr/>
          </p:nvGrpSpPr>
          <p:grpSpPr>
            <a:xfrm>
              <a:off x="7139131" y="843417"/>
              <a:ext cx="289443" cy="248100"/>
              <a:chOff x="5696016" y="3086100"/>
              <a:chExt cx="800080" cy="685799"/>
            </a:xfrm>
            <a:grpFill/>
          </p:grpSpPr>
          <p:sp>
            <p:nvSpPr>
              <p:cNvPr id="2494" name="Vrije vorm: vorm 2493">
                <a:extLst>
                  <a:ext uri="{FF2B5EF4-FFF2-40B4-BE49-F238E27FC236}">
                    <a16:creationId xmlns:a16="http://schemas.microsoft.com/office/drawing/2014/main" id="{E4C6231A-832E-307C-9429-4FC6F11C2EF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5" name="Vrije vorm: vorm 2494">
                <a:extLst>
                  <a:ext uri="{FF2B5EF4-FFF2-40B4-BE49-F238E27FC236}">
                    <a16:creationId xmlns:a16="http://schemas.microsoft.com/office/drawing/2014/main" id="{7F972E34-2ACD-C156-172B-F814452FFC0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0" name="Groep 2379">
              <a:extLst>
                <a:ext uri="{FF2B5EF4-FFF2-40B4-BE49-F238E27FC236}">
                  <a16:creationId xmlns:a16="http://schemas.microsoft.com/office/drawing/2014/main" id="{EF6DE7FA-386C-C921-2E83-E5EC6380049F}"/>
                </a:ext>
              </a:extLst>
            </p:cNvPr>
            <p:cNvGrpSpPr/>
            <p:nvPr/>
          </p:nvGrpSpPr>
          <p:grpSpPr>
            <a:xfrm>
              <a:off x="7461619" y="843417"/>
              <a:ext cx="289443" cy="248100"/>
              <a:chOff x="5696016" y="3086100"/>
              <a:chExt cx="800080" cy="685799"/>
            </a:xfrm>
            <a:grpFill/>
          </p:grpSpPr>
          <p:sp>
            <p:nvSpPr>
              <p:cNvPr id="2492" name="Vrije vorm: vorm 2491">
                <a:extLst>
                  <a:ext uri="{FF2B5EF4-FFF2-40B4-BE49-F238E27FC236}">
                    <a16:creationId xmlns:a16="http://schemas.microsoft.com/office/drawing/2014/main" id="{F576BDBC-A944-415D-4645-AAD21B5B954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3" name="Vrije vorm: vorm 2492">
                <a:extLst>
                  <a:ext uri="{FF2B5EF4-FFF2-40B4-BE49-F238E27FC236}">
                    <a16:creationId xmlns:a16="http://schemas.microsoft.com/office/drawing/2014/main" id="{2FF79D2F-BD2B-3707-5BA0-BAE7421D9B5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1" name="Groep 2380">
              <a:extLst>
                <a:ext uri="{FF2B5EF4-FFF2-40B4-BE49-F238E27FC236}">
                  <a16:creationId xmlns:a16="http://schemas.microsoft.com/office/drawing/2014/main" id="{75AD1434-CF25-72B0-C89D-7CDA92CF8398}"/>
                </a:ext>
              </a:extLst>
            </p:cNvPr>
            <p:cNvGrpSpPr/>
            <p:nvPr/>
          </p:nvGrpSpPr>
          <p:grpSpPr>
            <a:xfrm>
              <a:off x="7784107" y="843417"/>
              <a:ext cx="289443" cy="248100"/>
              <a:chOff x="5696016" y="3086100"/>
              <a:chExt cx="800080" cy="685799"/>
            </a:xfrm>
            <a:grpFill/>
          </p:grpSpPr>
          <p:sp>
            <p:nvSpPr>
              <p:cNvPr id="2490" name="Vrije vorm: vorm 2489">
                <a:extLst>
                  <a:ext uri="{FF2B5EF4-FFF2-40B4-BE49-F238E27FC236}">
                    <a16:creationId xmlns:a16="http://schemas.microsoft.com/office/drawing/2014/main" id="{2446B852-34B3-A0D6-8561-98E35E0731B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91" name="Vrije vorm: vorm 2490">
                <a:extLst>
                  <a:ext uri="{FF2B5EF4-FFF2-40B4-BE49-F238E27FC236}">
                    <a16:creationId xmlns:a16="http://schemas.microsoft.com/office/drawing/2014/main" id="{0379606B-522A-9FAD-6DFC-D29F3E0E27C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2" name="Groep 2381">
              <a:extLst>
                <a:ext uri="{FF2B5EF4-FFF2-40B4-BE49-F238E27FC236}">
                  <a16:creationId xmlns:a16="http://schemas.microsoft.com/office/drawing/2014/main" id="{9A749D22-5278-0A8E-B1D7-F5E15381AF9C}"/>
                </a:ext>
              </a:extLst>
            </p:cNvPr>
            <p:cNvGrpSpPr/>
            <p:nvPr/>
          </p:nvGrpSpPr>
          <p:grpSpPr>
            <a:xfrm>
              <a:off x="7139131" y="1153435"/>
              <a:ext cx="289443" cy="248100"/>
              <a:chOff x="5696016" y="3086100"/>
              <a:chExt cx="800080" cy="685799"/>
            </a:xfrm>
            <a:grpFill/>
          </p:grpSpPr>
          <p:sp>
            <p:nvSpPr>
              <p:cNvPr id="2488" name="Vrije vorm: vorm 2487">
                <a:extLst>
                  <a:ext uri="{FF2B5EF4-FFF2-40B4-BE49-F238E27FC236}">
                    <a16:creationId xmlns:a16="http://schemas.microsoft.com/office/drawing/2014/main" id="{487CB770-E1D8-5DA2-4B79-F232D1D9279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89" name="Vrije vorm: vorm 2488">
                <a:extLst>
                  <a:ext uri="{FF2B5EF4-FFF2-40B4-BE49-F238E27FC236}">
                    <a16:creationId xmlns:a16="http://schemas.microsoft.com/office/drawing/2014/main" id="{B45FC1C9-ED1B-EF9B-5501-434545FA64E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3" name="Groep 2382">
              <a:extLst>
                <a:ext uri="{FF2B5EF4-FFF2-40B4-BE49-F238E27FC236}">
                  <a16:creationId xmlns:a16="http://schemas.microsoft.com/office/drawing/2014/main" id="{2ACFCE36-10D6-C2C7-23EF-DD10C4FE407E}"/>
                </a:ext>
              </a:extLst>
            </p:cNvPr>
            <p:cNvGrpSpPr/>
            <p:nvPr/>
          </p:nvGrpSpPr>
          <p:grpSpPr>
            <a:xfrm>
              <a:off x="7461619" y="1153435"/>
              <a:ext cx="289443" cy="248100"/>
              <a:chOff x="5696016" y="3086100"/>
              <a:chExt cx="800080" cy="685799"/>
            </a:xfrm>
            <a:grpFill/>
          </p:grpSpPr>
          <p:sp>
            <p:nvSpPr>
              <p:cNvPr id="2486" name="Vrije vorm: vorm 2485">
                <a:extLst>
                  <a:ext uri="{FF2B5EF4-FFF2-40B4-BE49-F238E27FC236}">
                    <a16:creationId xmlns:a16="http://schemas.microsoft.com/office/drawing/2014/main" id="{1C0CAFB7-DDA3-4AA1-D691-D8CA95641E3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87" name="Vrije vorm: vorm 2486">
                <a:extLst>
                  <a:ext uri="{FF2B5EF4-FFF2-40B4-BE49-F238E27FC236}">
                    <a16:creationId xmlns:a16="http://schemas.microsoft.com/office/drawing/2014/main" id="{5065CBEB-8A79-F354-A999-D94AB09FA22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4" name="Groep 2383">
              <a:extLst>
                <a:ext uri="{FF2B5EF4-FFF2-40B4-BE49-F238E27FC236}">
                  <a16:creationId xmlns:a16="http://schemas.microsoft.com/office/drawing/2014/main" id="{2C40EA72-4F7C-5F1A-46E7-C6BBD8E3D965}"/>
                </a:ext>
              </a:extLst>
            </p:cNvPr>
            <p:cNvGrpSpPr/>
            <p:nvPr/>
          </p:nvGrpSpPr>
          <p:grpSpPr>
            <a:xfrm>
              <a:off x="7784107" y="1153435"/>
              <a:ext cx="289443" cy="248100"/>
              <a:chOff x="5696016" y="3086100"/>
              <a:chExt cx="800080" cy="685799"/>
            </a:xfrm>
            <a:grpFill/>
          </p:grpSpPr>
          <p:sp>
            <p:nvSpPr>
              <p:cNvPr id="2484" name="Vrije vorm: vorm 2483">
                <a:extLst>
                  <a:ext uri="{FF2B5EF4-FFF2-40B4-BE49-F238E27FC236}">
                    <a16:creationId xmlns:a16="http://schemas.microsoft.com/office/drawing/2014/main" id="{248E4F3F-506C-A99B-A051-4BD64BB1DE7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85" name="Vrije vorm: vorm 2484">
                <a:extLst>
                  <a:ext uri="{FF2B5EF4-FFF2-40B4-BE49-F238E27FC236}">
                    <a16:creationId xmlns:a16="http://schemas.microsoft.com/office/drawing/2014/main" id="{E35C23DE-9180-AC1E-DDCD-0F996B4ADBB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5" name="Groep 2384">
              <a:extLst>
                <a:ext uri="{FF2B5EF4-FFF2-40B4-BE49-F238E27FC236}">
                  <a16:creationId xmlns:a16="http://schemas.microsoft.com/office/drawing/2014/main" id="{B93033F6-4C88-6C32-E712-E8A69B026699}"/>
                </a:ext>
              </a:extLst>
            </p:cNvPr>
            <p:cNvGrpSpPr/>
            <p:nvPr/>
          </p:nvGrpSpPr>
          <p:grpSpPr>
            <a:xfrm>
              <a:off x="7139131" y="1463451"/>
              <a:ext cx="289443" cy="248100"/>
              <a:chOff x="5696016" y="3086100"/>
              <a:chExt cx="800080" cy="685799"/>
            </a:xfrm>
            <a:grpFill/>
          </p:grpSpPr>
          <p:sp>
            <p:nvSpPr>
              <p:cNvPr id="2482" name="Vrije vorm: vorm 2481">
                <a:extLst>
                  <a:ext uri="{FF2B5EF4-FFF2-40B4-BE49-F238E27FC236}">
                    <a16:creationId xmlns:a16="http://schemas.microsoft.com/office/drawing/2014/main" id="{9F4DB8E0-4081-3F2D-4016-F6211525BE6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83" name="Vrije vorm: vorm 2482">
                <a:extLst>
                  <a:ext uri="{FF2B5EF4-FFF2-40B4-BE49-F238E27FC236}">
                    <a16:creationId xmlns:a16="http://schemas.microsoft.com/office/drawing/2014/main" id="{DA5B3DE3-5C32-B77F-A24F-CDA1888D0A1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6" name="Groep 2385">
              <a:extLst>
                <a:ext uri="{FF2B5EF4-FFF2-40B4-BE49-F238E27FC236}">
                  <a16:creationId xmlns:a16="http://schemas.microsoft.com/office/drawing/2014/main" id="{C6A19FDB-02FA-F87F-692A-445DEBDAD0C1}"/>
                </a:ext>
              </a:extLst>
            </p:cNvPr>
            <p:cNvGrpSpPr/>
            <p:nvPr/>
          </p:nvGrpSpPr>
          <p:grpSpPr>
            <a:xfrm>
              <a:off x="7461619" y="1463451"/>
              <a:ext cx="289443" cy="248100"/>
              <a:chOff x="5696016" y="3086100"/>
              <a:chExt cx="800080" cy="685799"/>
            </a:xfrm>
            <a:grpFill/>
          </p:grpSpPr>
          <p:sp>
            <p:nvSpPr>
              <p:cNvPr id="2480" name="Vrije vorm: vorm 2479">
                <a:extLst>
                  <a:ext uri="{FF2B5EF4-FFF2-40B4-BE49-F238E27FC236}">
                    <a16:creationId xmlns:a16="http://schemas.microsoft.com/office/drawing/2014/main" id="{2775BF69-EA4D-6A9B-194A-CA1D642E2A0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81" name="Vrije vorm: vorm 2480">
                <a:extLst>
                  <a:ext uri="{FF2B5EF4-FFF2-40B4-BE49-F238E27FC236}">
                    <a16:creationId xmlns:a16="http://schemas.microsoft.com/office/drawing/2014/main" id="{F78A3CE6-498E-3845-2699-1E4550CD081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7" name="Groep 2386">
              <a:extLst>
                <a:ext uri="{FF2B5EF4-FFF2-40B4-BE49-F238E27FC236}">
                  <a16:creationId xmlns:a16="http://schemas.microsoft.com/office/drawing/2014/main" id="{056F2D51-2705-2549-6F5B-03A56B64AA67}"/>
                </a:ext>
              </a:extLst>
            </p:cNvPr>
            <p:cNvGrpSpPr/>
            <p:nvPr/>
          </p:nvGrpSpPr>
          <p:grpSpPr>
            <a:xfrm>
              <a:off x="7784107" y="1463451"/>
              <a:ext cx="289443" cy="248100"/>
              <a:chOff x="5696016" y="3086100"/>
              <a:chExt cx="800080" cy="685799"/>
            </a:xfrm>
            <a:grpFill/>
          </p:grpSpPr>
          <p:sp>
            <p:nvSpPr>
              <p:cNvPr id="2478" name="Vrije vorm: vorm 2477">
                <a:extLst>
                  <a:ext uri="{FF2B5EF4-FFF2-40B4-BE49-F238E27FC236}">
                    <a16:creationId xmlns:a16="http://schemas.microsoft.com/office/drawing/2014/main" id="{1A93D12C-C932-C608-0546-168B2CF65A4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79" name="Vrije vorm: vorm 2478">
                <a:extLst>
                  <a:ext uri="{FF2B5EF4-FFF2-40B4-BE49-F238E27FC236}">
                    <a16:creationId xmlns:a16="http://schemas.microsoft.com/office/drawing/2014/main" id="{98FA8581-9CA2-EE48-3289-75F448F619F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8" name="Groep 2387">
              <a:extLst>
                <a:ext uri="{FF2B5EF4-FFF2-40B4-BE49-F238E27FC236}">
                  <a16:creationId xmlns:a16="http://schemas.microsoft.com/office/drawing/2014/main" id="{54DA0AA5-7004-BB2A-ABD9-C2BDF63DD17C}"/>
                </a:ext>
              </a:extLst>
            </p:cNvPr>
            <p:cNvGrpSpPr/>
            <p:nvPr/>
          </p:nvGrpSpPr>
          <p:grpSpPr>
            <a:xfrm>
              <a:off x="7139131" y="1773467"/>
              <a:ext cx="289443" cy="248100"/>
              <a:chOff x="5696016" y="3086100"/>
              <a:chExt cx="800080" cy="685799"/>
            </a:xfrm>
            <a:grpFill/>
          </p:grpSpPr>
          <p:sp>
            <p:nvSpPr>
              <p:cNvPr id="2476" name="Vrije vorm: vorm 2475">
                <a:extLst>
                  <a:ext uri="{FF2B5EF4-FFF2-40B4-BE49-F238E27FC236}">
                    <a16:creationId xmlns:a16="http://schemas.microsoft.com/office/drawing/2014/main" id="{1330E36A-6C77-F400-3677-98597C23361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77" name="Vrije vorm: vorm 2476">
                <a:extLst>
                  <a:ext uri="{FF2B5EF4-FFF2-40B4-BE49-F238E27FC236}">
                    <a16:creationId xmlns:a16="http://schemas.microsoft.com/office/drawing/2014/main" id="{081A46E8-2465-8414-D8BD-D06A2150184B}"/>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89" name="Groep 2388">
              <a:extLst>
                <a:ext uri="{FF2B5EF4-FFF2-40B4-BE49-F238E27FC236}">
                  <a16:creationId xmlns:a16="http://schemas.microsoft.com/office/drawing/2014/main" id="{DC9D3610-6046-3A24-C1D6-4FC1300AE474}"/>
                </a:ext>
              </a:extLst>
            </p:cNvPr>
            <p:cNvGrpSpPr/>
            <p:nvPr/>
          </p:nvGrpSpPr>
          <p:grpSpPr>
            <a:xfrm>
              <a:off x="7461619" y="1773467"/>
              <a:ext cx="289443" cy="248100"/>
              <a:chOff x="5696016" y="3086100"/>
              <a:chExt cx="800080" cy="685799"/>
            </a:xfrm>
            <a:grpFill/>
          </p:grpSpPr>
          <p:sp>
            <p:nvSpPr>
              <p:cNvPr id="2474" name="Vrije vorm: vorm 2473">
                <a:extLst>
                  <a:ext uri="{FF2B5EF4-FFF2-40B4-BE49-F238E27FC236}">
                    <a16:creationId xmlns:a16="http://schemas.microsoft.com/office/drawing/2014/main" id="{FEA30517-FF8F-C7E0-721D-3239C9E3324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75" name="Vrije vorm: vorm 2474">
                <a:extLst>
                  <a:ext uri="{FF2B5EF4-FFF2-40B4-BE49-F238E27FC236}">
                    <a16:creationId xmlns:a16="http://schemas.microsoft.com/office/drawing/2014/main" id="{5573DB8D-6F64-0841-37B3-7AD8009ABB2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0" name="Groep 2389">
              <a:extLst>
                <a:ext uri="{FF2B5EF4-FFF2-40B4-BE49-F238E27FC236}">
                  <a16:creationId xmlns:a16="http://schemas.microsoft.com/office/drawing/2014/main" id="{EA2BFF63-4123-7DB6-1EB4-C6F64C817EA3}"/>
                </a:ext>
              </a:extLst>
            </p:cNvPr>
            <p:cNvGrpSpPr/>
            <p:nvPr/>
          </p:nvGrpSpPr>
          <p:grpSpPr>
            <a:xfrm>
              <a:off x="7784107" y="1773467"/>
              <a:ext cx="289443" cy="248100"/>
              <a:chOff x="5696016" y="3086100"/>
              <a:chExt cx="800080" cy="685799"/>
            </a:xfrm>
            <a:grpFill/>
          </p:grpSpPr>
          <p:sp>
            <p:nvSpPr>
              <p:cNvPr id="2472" name="Vrije vorm: vorm 2471">
                <a:extLst>
                  <a:ext uri="{FF2B5EF4-FFF2-40B4-BE49-F238E27FC236}">
                    <a16:creationId xmlns:a16="http://schemas.microsoft.com/office/drawing/2014/main" id="{77986EC6-C56F-71EB-9777-19C8FA93E8D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73" name="Vrije vorm: vorm 2472">
                <a:extLst>
                  <a:ext uri="{FF2B5EF4-FFF2-40B4-BE49-F238E27FC236}">
                    <a16:creationId xmlns:a16="http://schemas.microsoft.com/office/drawing/2014/main" id="{D435B242-04E0-6BCC-9E84-8454117900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1" name="Groep 2390">
              <a:extLst>
                <a:ext uri="{FF2B5EF4-FFF2-40B4-BE49-F238E27FC236}">
                  <a16:creationId xmlns:a16="http://schemas.microsoft.com/office/drawing/2014/main" id="{1B0A1B56-D6F4-3418-6068-FAD5A98F50FB}"/>
                </a:ext>
              </a:extLst>
            </p:cNvPr>
            <p:cNvGrpSpPr/>
            <p:nvPr/>
          </p:nvGrpSpPr>
          <p:grpSpPr>
            <a:xfrm>
              <a:off x="7139131" y="2083483"/>
              <a:ext cx="289443" cy="248100"/>
              <a:chOff x="5696016" y="3086100"/>
              <a:chExt cx="800080" cy="685799"/>
            </a:xfrm>
            <a:grpFill/>
          </p:grpSpPr>
          <p:sp>
            <p:nvSpPr>
              <p:cNvPr id="2470" name="Vrije vorm: vorm 2469">
                <a:extLst>
                  <a:ext uri="{FF2B5EF4-FFF2-40B4-BE49-F238E27FC236}">
                    <a16:creationId xmlns:a16="http://schemas.microsoft.com/office/drawing/2014/main" id="{A82DE042-EBF2-67AE-3301-36E377109D5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71" name="Vrije vorm: vorm 2470">
                <a:extLst>
                  <a:ext uri="{FF2B5EF4-FFF2-40B4-BE49-F238E27FC236}">
                    <a16:creationId xmlns:a16="http://schemas.microsoft.com/office/drawing/2014/main" id="{D1D62FB0-2A06-2060-95CC-29632F3A34D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2" name="Groep 2391">
              <a:extLst>
                <a:ext uri="{FF2B5EF4-FFF2-40B4-BE49-F238E27FC236}">
                  <a16:creationId xmlns:a16="http://schemas.microsoft.com/office/drawing/2014/main" id="{C5A8739F-23C6-D674-E184-76F83D2B9FC4}"/>
                </a:ext>
              </a:extLst>
            </p:cNvPr>
            <p:cNvGrpSpPr/>
            <p:nvPr/>
          </p:nvGrpSpPr>
          <p:grpSpPr>
            <a:xfrm>
              <a:off x="7461619" y="2083483"/>
              <a:ext cx="289443" cy="248100"/>
              <a:chOff x="5696016" y="3086100"/>
              <a:chExt cx="800080" cy="685799"/>
            </a:xfrm>
            <a:grpFill/>
          </p:grpSpPr>
          <p:sp>
            <p:nvSpPr>
              <p:cNvPr id="2468" name="Vrije vorm: vorm 2467">
                <a:extLst>
                  <a:ext uri="{FF2B5EF4-FFF2-40B4-BE49-F238E27FC236}">
                    <a16:creationId xmlns:a16="http://schemas.microsoft.com/office/drawing/2014/main" id="{5DC4A648-3FB0-18B5-D4A6-CBF7B9C2894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69" name="Vrije vorm: vorm 2468">
                <a:extLst>
                  <a:ext uri="{FF2B5EF4-FFF2-40B4-BE49-F238E27FC236}">
                    <a16:creationId xmlns:a16="http://schemas.microsoft.com/office/drawing/2014/main" id="{80D7BD90-85CE-55ED-31C5-7C17B7525B3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3" name="Groep 2392">
              <a:extLst>
                <a:ext uri="{FF2B5EF4-FFF2-40B4-BE49-F238E27FC236}">
                  <a16:creationId xmlns:a16="http://schemas.microsoft.com/office/drawing/2014/main" id="{F075C29D-3B07-7A98-0506-949381B8B7BF}"/>
                </a:ext>
              </a:extLst>
            </p:cNvPr>
            <p:cNvGrpSpPr/>
            <p:nvPr/>
          </p:nvGrpSpPr>
          <p:grpSpPr>
            <a:xfrm>
              <a:off x="7784107" y="2083483"/>
              <a:ext cx="289443" cy="248100"/>
              <a:chOff x="5696016" y="3086100"/>
              <a:chExt cx="800080" cy="685799"/>
            </a:xfrm>
            <a:grpFill/>
          </p:grpSpPr>
          <p:sp>
            <p:nvSpPr>
              <p:cNvPr id="2466" name="Vrije vorm: vorm 2465">
                <a:extLst>
                  <a:ext uri="{FF2B5EF4-FFF2-40B4-BE49-F238E27FC236}">
                    <a16:creationId xmlns:a16="http://schemas.microsoft.com/office/drawing/2014/main" id="{19860C13-0A1C-F5CA-1B70-09AA8C66CDB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67" name="Vrije vorm: vorm 2466">
                <a:extLst>
                  <a:ext uri="{FF2B5EF4-FFF2-40B4-BE49-F238E27FC236}">
                    <a16:creationId xmlns:a16="http://schemas.microsoft.com/office/drawing/2014/main" id="{D7DAA5C9-A6F8-9C3D-0F62-D648D8DFD0DC}"/>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4" name="Groep 2393">
              <a:extLst>
                <a:ext uri="{FF2B5EF4-FFF2-40B4-BE49-F238E27FC236}">
                  <a16:creationId xmlns:a16="http://schemas.microsoft.com/office/drawing/2014/main" id="{411BCDA4-424F-F7CF-AB86-FA7BB779D4C0}"/>
                </a:ext>
              </a:extLst>
            </p:cNvPr>
            <p:cNvGrpSpPr/>
            <p:nvPr/>
          </p:nvGrpSpPr>
          <p:grpSpPr>
            <a:xfrm>
              <a:off x="7139131" y="2393500"/>
              <a:ext cx="289443" cy="248100"/>
              <a:chOff x="5696016" y="3086100"/>
              <a:chExt cx="800080" cy="685799"/>
            </a:xfrm>
            <a:grpFill/>
          </p:grpSpPr>
          <p:sp>
            <p:nvSpPr>
              <p:cNvPr id="2464" name="Vrije vorm: vorm 2463">
                <a:extLst>
                  <a:ext uri="{FF2B5EF4-FFF2-40B4-BE49-F238E27FC236}">
                    <a16:creationId xmlns:a16="http://schemas.microsoft.com/office/drawing/2014/main" id="{8D592549-2297-C05E-95C3-0C14E3F8E59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65" name="Vrije vorm: vorm 2464">
                <a:extLst>
                  <a:ext uri="{FF2B5EF4-FFF2-40B4-BE49-F238E27FC236}">
                    <a16:creationId xmlns:a16="http://schemas.microsoft.com/office/drawing/2014/main" id="{0EA1E5E3-7F40-7482-0F9A-AE4E55B33A62}"/>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5" name="Groep 2394">
              <a:extLst>
                <a:ext uri="{FF2B5EF4-FFF2-40B4-BE49-F238E27FC236}">
                  <a16:creationId xmlns:a16="http://schemas.microsoft.com/office/drawing/2014/main" id="{91346B25-4319-4EB4-B4F3-11B7D7EC7162}"/>
                </a:ext>
              </a:extLst>
            </p:cNvPr>
            <p:cNvGrpSpPr/>
            <p:nvPr/>
          </p:nvGrpSpPr>
          <p:grpSpPr>
            <a:xfrm>
              <a:off x="7461619" y="2393500"/>
              <a:ext cx="289443" cy="248100"/>
              <a:chOff x="5696016" y="3086100"/>
              <a:chExt cx="800080" cy="685799"/>
            </a:xfrm>
            <a:grpFill/>
          </p:grpSpPr>
          <p:sp>
            <p:nvSpPr>
              <p:cNvPr id="2462" name="Vrije vorm: vorm 2461">
                <a:extLst>
                  <a:ext uri="{FF2B5EF4-FFF2-40B4-BE49-F238E27FC236}">
                    <a16:creationId xmlns:a16="http://schemas.microsoft.com/office/drawing/2014/main" id="{9AF587CC-4967-0CB2-685A-0BFD05CFB3F2}"/>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63" name="Vrije vorm: vorm 2462">
                <a:extLst>
                  <a:ext uri="{FF2B5EF4-FFF2-40B4-BE49-F238E27FC236}">
                    <a16:creationId xmlns:a16="http://schemas.microsoft.com/office/drawing/2014/main" id="{15629F45-C5D8-6A0B-94A5-D2687FC0F8F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6" name="Groep 2395">
              <a:extLst>
                <a:ext uri="{FF2B5EF4-FFF2-40B4-BE49-F238E27FC236}">
                  <a16:creationId xmlns:a16="http://schemas.microsoft.com/office/drawing/2014/main" id="{C1D0E40A-EF21-1132-54D9-C18842EC8B96}"/>
                </a:ext>
              </a:extLst>
            </p:cNvPr>
            <p:cNvGrpSpPr/>
            <p:nvPr/>
          </p:nvGrpSpPr>
          <p:grpSpPr>
            <a:xfrm>
              <a:off x="7784107" y="2393500"/>
              <a:ext cx="289443" cy="248100"/>
              <a:chOff x="5696016" y="3086100"/>
              <a:chExt cx="800080" cy="685799"/>
            </a:xfrm>
            <a:grpFill/>
          </p:grpSpPr>
          <p:sp>
            <p:nvSpPr>
              <p:cNvPr id="2460" name="Vrije vorm: vorm 2459">
                <a:extLst>
                  <a:ext uri="{FF2B5EF4-FFF2-40B4-BE49-F238E27FC236}">
                    <a16:creationId xmlns:a16="http://schemas.microsoft.com/office/drawing/2014/main" id="{C240F189-A027-E911-27BB-14C112DAE43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61" name="Vrije vorm: vorm 2460">
                <a:extLst>
                  <a:ext uri="{FF2B5EF4-FFF2-40B4-BE49-F238E27FC236}">
                    <a16:creationId xmlns:a16="http://schemas.microsoft.com/office/drawing/2014/main" id="{C63ECDD1-4346-4C42-521E-F0A285EA7BE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7" name="Groep 2396">
              <a:extLst>
                <a:ext uri="{FF2B5EF4-FFF2-40B4-BE49-F238E27FC236}">
                  <a16:creationId xmlns:a16="http://schemas.microsoft.com/office/drawing/2014/main" id="{DFB6982D-EB9C-383F-3D3C-85C7EC18C96E}"/>
                </a:ext>
              </a:extLst>
            </p:cNvPr>
            <p:cNvGrpSpPr/>
            <p:nvPr/>
          </p:nvGrpSpPr>
          <p:grpSpPr>
            <a:xfrm>
              <a:off x="7133223" y="2705100"/>
              <a:ext cx="289443" cy="248100"/>
              <a:chOff x="5696016" y="3086100"/>
              <a:chExt cx="800080" cy="685799"/>
            </a:xfrm>
            <a:grpFill/>
          </p:grpSpPr>
          <p:sp>
            <p:nvSpPr>
              <p:cNvPr id="2458" name="Vrije vorm: vorm 2457">
                <a:extLst>
                  <a:ext uri="{FF2B5EF4-FFF2-40B4-BE49-F238E27FC236}">
                    <a16:creationId xmlns:a16="http://schemas.microsoft.com/office/drawing/2014/main" id="{6FDB4716-DED3-F7F4-4793-2538E41A89D3}"/>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59" name="Vrije vorm: vorm 2458">
                <a:extLst>
                  <a:ext uri="{FF2B5EF4-FFF2-40B4-BE49-F238E27FC236}">
                    <a16:creationId xmlns:a16="http://schemas.microsoft.com/office/drawing/2014/main" id="{AEAE2C93-FD85-DC09-0F0C-5338572B8975}"/>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8" name="Groep 2397">
              <a:extLst>
                <a:ext uri="{FF2B5EF4-FFF2-40B4-BE49-F238E27FC236}">
                  <a16:creationId xmlns:a16="http://schemas.microsoft.com/office/drawing/2014/main" id="{E309E45F-00D6-50A6-3910-E49CE4C38611}"/>
                </a:ext>
              </a:extLst>
            </p:cNvPr>
            <p:cNvGrpSpPr/>
            <p:nvPr/>
          </p:nvGrpSpPr>
          <p:grpSpPr>
            <a:xfrm>
              <a:off x="7455711" y="2705100"/>
              <a:ext cx="289443" cy="248100"/>
              <a:chOff x="5696016" y="3086100"/>
              <a:chExt cx="800080" cy="685799"/>
            </a:xfrm>
            <a:grpFill/>
          </p:grpSpPr>
          <p:sp>
            <p:nvSpPr>
              <p:cNvPr id="2456" name="Vrije vorm: vorm 2455">
                <a:extLst>
                  <a:ext uri="{FF2B5EF4-FFF2-40B4-BE49-F238E27FC236}">
                    <a16:creationId xmlns:a16="http://schemas.microsoft.com/office/drawing/2014/main" id="{600D8F62-A196-3277-0D94-747D5F578C34}"/>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57" name="Vrije vorm: vorm 2456">
                <a:extLst>
                  <a:ext uri="{FF2B5EF4-FFF2-40B4-BE49-F238E27FC236}">
                    <a16:creationId xmlns:a16="http://schemas.microsoft.com/office/drawing/2014/main" id="{B9C94DD0-DDC9-5002-CEAA-35226C05A8A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399" name="Groep 2398">
              <a:extLst>
                <a:ext uri="{FF2B5EF4-FFF2-40B4-BE49-F238E27FC236}">
                  <a16:creationId xmlns:a16="http://schemas.microsoft.com/office/drawing/2014/main" id="{B66A4F7D-7C3B-C2EF-35C5-00B25895D534}"/>
                </a:ext>
              </a:extLst>
            </p:cNvPr>
            <p:cNvGrpSpPr/>
            <p:nvPr/>
          </p:nvGrpSpPr>
          <p:grpSpPr>
            <a:xfrm>
              <a:off x="7778199" y="2705100"/>
              <a:ext cx="289443" cy="248100"/>
              <a:chOff x="5696016" y="3086100"/>
              <a:chExt cx="800080" cy="685799"/>
            </a:xfrm>
            <a:grpFill/>
          </p:grpSpPr>
          <p:sp>
            <p:nvSpPr>
              <p:cNvPr id="2454" name="Vrije vorm: vorm 2453">
                <a:extLst>
                  <a:ext uri="{FF2B5EF4-FFF2-40B4-BE49-F238E27FC236}">
                    <a16:creationId xmlns:a16="http://schemas.microsoft.com/office/drawing/2014/main" id="{7E8BE7A3-95D4-6543-DB38-E7DB2E606E9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55" name="Vrije vorm: vorm 2454">
                <a:extLst>
                  <a:ext uri="{FF2B5EF4-FFF2-40B4-BE49-F238E27FC236}">
                    <a16:creationId xmlns:a16="http://schemas.microsoft.com/office/drawing/2014/main" id="{3ED5F68B-24F6-C4D5-6294-7B9D250BB76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0" name="Groep 2399">
              <a:extLst>
                <a:ext uri="{FF2B5EF4-FFF2-40B4-BE49-F238E27FC236}">
                  <a16:creationId xmlns:a16="http://schemas.microsoft.com/office/drawing/2014/main" id="{D853B776-E974-086C-D6AF-ADC314AE615C}"/>
                </a:ext>
              </a:extLst>
            </p:cNvPr>
            <p:cNvGrpSpPr/>
            <p:nvPr/>
          </p:nvGrpSpPr>
          <p:grpSpPr>
            <a:xfrm>
              <a:off x="7133223" y="3015117"/>
              <a:ext cx="289443" cy="248100"/>
              <a:chOff x="5696016" y="3086100"/>
              <a:chExt cx="800080" cy="685799"/>
            </a:xfrm>
            <a:grpFill/>
          </p:grpSpPr>
          <p:sp>
            <p:nvSpPr>
              <p:cNvPr id="2452" name="Vrije vorm: vorm 2451">
                <a:extLst>
                  <a:ext uri="{FF2B5EF4-FFF2-40B4-BE49-F238E27FC236}">
                    <a16:creationId xmlns:a16="http://schemas.microsoft.com/office/drawing/2014/main" id="{A31AA174-99EC-424C-84C1-670C223F798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53" name="Vrije vorm: vorm 2452">
                <a:extLst>
                  <a:ext uri="{FF2B5EF4-FFF2-40B4-BE49-F238E27FC236}">
                    <a16:creationId xmlns:a16="http://schemas.microsoft.com/office/drawing/2014/main" id="{B478FBA3-F3C9-7F3D-DB79-57C6E81C935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1" name="Groep 2400">
              <a:extLst>
                <a:ext uri="{FF2B5EF4-FFF2-40B4-BE49-F238E27FC236}">
                  <a16:creationId xmlns:a16="http://schemas.microsoft.com/office/drawing/2014/main" id="{D023FBF0-0532-E61F-C9AD-B3B6856A49FA}"/>
                </a:ext>
              </a:extLst>
            </p:cNvPr>
            <p:cNvGrpSpPr/>
            <p:nvPr/>
          </p:nvGrpSpPr>
          <p:grpSpPr>
            <a:xfrm>
              <a:off x="7455711" y="3015117"/>
              <a:ext cx="289443" cy="248100"/>
              <a:chOff x="5696016" y="3086100"/>
              <a:chExt cx="800080" cy="685799"/>
            </a:xfrm>
            <a:grpFill/>
          </p:grpSpPr>
          <p:sp>
            <p:nvSpPr>
              <p:cNvPr id="2450" name="Vrije vorm: vorm 2449">
                <a:extLst>
                  <a:ext uri="{FF2B5EF4-FFF2-40B4-BE49-F238E27FC236}">
                    <a16:creationId xmlns:a16="http://schemas.microsoft.com/office/drawing/2014/main" id="{A3564CDF-7EE8-0B5A-253C-451A37DC11E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51" name="Vrije vorm: vorm 2450">
                <a:extLst>
                  <a:ext uri="{FF2B5EF4-FFF2-40B4-BE49-F238E27FC236}">
                    <a16:creationId xmlns:a16="http://schemas.microsoft.com/office/drawing/2014/main" id="{48DA261F-736F-8C26-DA1D-075476CF3C36}"/>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2" name="Groep 2401">
              <a:extLst>
                <a:ext uri="{FF2B5EF4-FFF2-40B4-BE49-F238E27FC236}">
                  <a16:creationId xmlns:a16="http://schemas.microsoft.com/office/drawing/2014/main" id="{792EB19E-FC7F-134E-990F-A01DA98D74AA}"/>
                </a:ext>
              </a:extLst>
            </p:cNvPr>
            <p:cNvGrpSpPr/>
            <p:nvPr/>
          </p:nvGrpSpPr>
          <p:grpSpPr>
            <a:xfrm>
              <a:off x="7778199" y="3015117"/>
              <a:ext cx="289443" cy="248100"/>
              <a:chOff x="5696016" y="3086100"/>
              <a:chExt cx="800080" cy="685799"/>
            </a:xfrm>
            <a:grpFill/>
          </p:grpSpPr>
          <p:sp>
            <p:nvSpPr>
              <p:cNvPr id="2448" name="Vrije vorm: vorm 2447">
                <a:extLst>
                  <a:ext uri="{FF2B5EF4-FFF2-40B4-BE49-F238E27FC236}">
                    <a16:creationId xmlns:a16="http://schemas.microsoft.com/office/drawing/2014/main" id="{FC3ABAAA-0140-8485-80B6-BD69CD20E3BF}"/>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49" name="Vrije vorm: vorm 2448">
                <a:extLst>
                  <a:ext uri="{FF2B5EF4-FFF2-40B4-BE49-F238E27FC236}">
                    <a16:creationId xmlns:a16="http://schemas.microsoft.com/office/drawing/2014/main" id="{F3F2EC62-5016-244B-689D-FEB8029F1F74}"/>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3" name="Groep 2402">
              <a:extLst>
                <a:ext uri="{FF2B5EF4-FFF2-40B4-BE49-F238E27FC236}">
                  <a16:creationId xmlns:a16="http://schemas.microsoft.com/office/drawing/2014/main" id="{69EBC29B-93F6-10B1-B3A8-6F408C744206}"/>
                </a:ext>
              </a:extLst>
            </p:cNvPr>
            <p:cNvGrpSpPr/>
            <p:nvPr/>
          </p:nvGrpSpPr>
          <p:grpSpPr>
            <a:xfrm>
              <a:off x="7133223" y="3325135"/>
              <a:ext cx="289443" cy="248100"/>
              <a:chOff x="5696016" y="3086100"/>
              <a:chExt cx="800080" cy="685799"/>
            </a:xfrm>
            <a:grpFill/>
          </p:grpSpPr>
          <p:sp>
            <p:nvSpPr>
              <p:cNvPr id="2446" name="Vrije vorm: vorm 2445">
                <a:extLst>
                  <a:ext uri="{FF2B5EF4-FFF2-40B4-BE49-F238E27FC236}">
                    <a16:creationId xmlns:a16="http://schemas.microsoft.com/office/drawing/2014/main" id="{A4121794-A46A-5F0B-F22D-62FB57F5E115}"/>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47" name="Vrije vorm: vorm 2446">
                <a:extLst>
                  <a:ext uri="{FF2B5EF4-FFF2-40B4-BE49-F238E27FC236}">
                    <a16:creationId xmlns:a16="http://schemas.microsoft.com/office/drawing/2014/main" id="{A598030A-A5BA-682F-9596-302F6ABAE2FE}"/>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4" name="Groep 2403">
              <a:extLst>
                <a:ext uri="{FF2B5EF4-FFF2-40B4-BE49-F238E27FC236}">
                  <a16:creationId xmlns:a16="http://schemas.microsoft.com/office/drawing/2014/main" id="{4BFF0A7B-91E7-2653-4EEC-3AC861CAAEED}"/>
                </a:ext>
              </a:extLst>
            </p:cNvPr>
            <p:cNvGrpSpPr/>
            <p:nvPr/>
          </p:nvGrpSpPr>
          <p:grpSpPr>
            <a:xfrm>
              <a:off x="7455711" y="3325135"/>
              <a:ext cx="289443" cy="248100"/>
              <a:chOff x="5696016" y="3086100"/>
              <a:chExt cx="800080" cy="685799"/>
            </a:xfrm>
            <a:grpFill/>
          </p:grpSpPr>
          <p:sp>
            <p:nvSpPr>
              <p:cNvPr id="2444" name="Vrije vorm: vorm 2443">
                <a:extLst>
                  <a:ext uri="{FF2B5EF4-FFF2-40B4-BE49-F238E27FC236}">
                    <a16:creationId xmlns:a16="http://schemas.microsoft.com/office/drawing/2014/main" id="{E6CC3463-DD52-4A08-77BA-373BFDB271B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45" name="Vrije vorm: vorm 2444">
                <a:extLst>
                  <a:ext uri="{FF2B5EF4-FFF2-40B4-BE49-F238E27FC236}">
                    <a16:creationId xmlns:a16="http://schemas.microsoft.com/office/drawing/2014/main" id="{FC0E8451-F123-ADDB-4705-10A00FEBC047}"/>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5" name="Groep 2404">
              <a:extLst>
                <a:ext uri="{FF2B5EF4-FFF2-40B4-BE49-F238E27FC236}">
                  <a16:creationId xmlns:a16="http://schemas.microsoft.com/office/drawing/2014/main" id="{66704BC1-2118-EE16-C917-4C7584D3B0F4}"/>
                </a:ext>
              </a:extLst>
            </p:cNvPr>
            <p:cNvGrpSpPr/>
            <p:nvPr/>
          </p:nvGrpSpPr>
          <p:grpSpPr>
            <a:xfrm>
              <a:off x="7778199" y="3325135"/>
              <a:ext cx="289443" cy="248100"/>
              <a:chOff x="5696016" y="3086100"/>
              <a:chExt cx="800080" cy="685799"/>
            </a:xfrm>
            <a:grpFill/>
          </p:grpSpPr>
          <p:sp>
            <p:nvSpPr>
              <p:cNvPr id="2442" name="Vrije vorm: vorm 2441">
                <a:extLst>
                  <a:ext uri="{FF2B5EF4-FFF2-40B4-BE49-F238E27FC236}">
                    <a16:creationId xmlns:a16="http://schemas.microsoft.com/office/drawing/2014/main" id="{4C78C6F9-D5BC-F031-A40C-D0755221F2E7}"/>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43" name="Vrije vorm: vorm 2442">
                <a:extLst>
                  <a:ext uri="{FF2B5EF4-FFF2-40B4-BE49-F238E27FC236}">
                    <a16:creationId xmlns:a16="http://schemas.microsoft.com/office/drawing/2014/main" id="{A3A6B5AD-40A3-43D3-D67D-75D0183808F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6" name="Groep 2405">
              <a:extLst>
                <a:ext uri="{FF2B5EF4-FFF2-40B4-BE49-F238E27FC236}">
                  <a16:creationId xmlns:a16="http://schemas.microsoft.com/office/drawing/2014/main" id="{FED736B1-B5B4-83DB-5174-ACD7D120DF47}"/>
                </a:ext>
              </a:extLst>
            </p:cNvPr>
            <p:cNvGrpSpPr/>
            <p:nvPr/>
          </p:nvGrpSpPr>
          <p:grpSpPr>
            <a:xfrm>
              <a:off x="7133223" y="3635151"/>
              <a:ext cx="289443" cy="248100"/>
              <a:chOff x="5696016" y="3086100"/>
              <a:chExt cx="800080" cy="685799"/>
            </a:xfrm>
            <a:grpFill/>
          </p:grpSpPr>
          <p:sp>
            <p:nvSpPr>
              <p:cNvPr id="2440" name="Vrije vorm: vorm 2439">
                <a:extLst>
                  <a:ext uri="{FF2B5EF4-FFF2-40B4-BE49-F238E27FC236}">
                    <a16:creationId xmlns:a16="http://schemas.microsoft.com/office/drawing/2014/main" id="{7E43B8A4-B0F6-3AD2-D40C-606532730ED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41" name="Vrije vorm: vorm 2440">
                <a:extLst>
                  <a:ext uri="{FF2B5EF4-FFF2-40B4-BE49-F238E27FC236}">
                    <a16:creationId xmlns:a16="http://schemas.microsoft.com/office/drawing/2014/main" id="{910717F4-2F0A-A1A0-982F-4E17386FD1F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7" name="Groep 2406">
              <a:extLst>
                <a:ext uri="{FF2B5EF4-FFF2-40B4-BE49-F238E27FC236}">
                  <a16:creationId xmlns:a16="http://schemas.microsoft.com/office/drawing/2014/main" id="{8BC770B6-0B1C-3308-60C3-2B95B4B5393B}"/>
                </a:ext>
              </a:extLst>
            </p:cNvPr>
            <p:cNvGrpSpPr/>
            <p:nvPr/>
          </p:nvGrpSpPr>
          <p:grpSpPr>
            <a:xfrm>
              <a:off x="7455711" y="3635151"/>
              <a:ext cx="289443" cy="248100"/>
              <a:chOff x="5696016" y="3086100"/>
              <a:chExt cx="800080" cy="685799"/>
            </a:xfrm>
            <a:grpFill/>
          </p:grpSpPr>
          <p:sp>
            <p:nvSpPr>
              <p:cNvPr id="2438" name="Vrije vorm: vorm 2437">
                <a:extLst>
                  <a:ext uri="{FF2B5EF4-FFF2-40B4-BE49-F238E27FC236}">
                    <a16:creationId xmlns:a16="http://schemas.microsoft.com/office/drawing/2014/main" id="{B55A34E5-7BF2-3293-FCA9-5EF7C8FB492B}"/>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39" name="Vrije vorm: vorm 2438">
                <a:extLst>
                  <a:ext uri="{FF2B5EF4-FFF2-40B4-BE49-F238E27FC236}">
                    <a16:creationId xmlns:a16="http://schemas.microsoft.com/office/drawing/2014/main" id="{9B33EB13-7CD2-A7DB-EF8F-864CC40781E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8" name="Groep 2407">
              <a:extLst>
                <a:ext uri="{FF2B5EF4-FFF2-40B4-BE49-F238E27FC236}">
                  <a16:creationId xmlns:a16="http://schemas.microsoft.com/office/drawing/2014/main" id="{5CEDB780-CACE-CFBE-033D-DA3C4F2126EA}"/>
                </a:ext>
              </a:extLst>
            </p:cNvPr>
            <p:cNvGrpSpPr/>
            <p:nvPr/>
          </p:nvGrpSpPr>
          <p:grpSpPr>
            <a:xfrm>
              <a:off x="7778199" y="3635151"/>
              <a:ext cx="289443" cy="248100"/>
              <a:chOff x="5696016" y="3086100"/>
              <a:chExt cx="800080" cy="685799"/>
            </a:xfrm>
            <a:grpFill/>
          </p:grpSpPr>
          <p:sp>
            <p:nvSpPr>
              <p:cNvPr id="2436" name="Vrije vorm: vorm 2435">
                <a:extLst>
                  <a:ext uri="{FF2B5EF4-FFF2-40B4-BE49-F238E27FC236}">
                    <a16:creationId xmlns:a16="http://schemas.microsoft.com/office/drawing/2014/main" id="{26215D9D-FD3A-23E8-EB30-759630B9529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37" name="Vrije vorm: vorm 2436">
                <a:extLst>
                  <a:ext uri="{FF2B5EF4-FFF2-40B4-BE49-F238E27FC236}">
                    <a16:creationId xmlns:a16="http://schemas.microsoft.com/office/drawing/2014/main" id="{FAA0D1EB-C3D6-A3EB-E183-DA06EB2C3468}"/>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09" name="Groep 2408">
              <a:extLst>
                <a:ext uri="{FF2B5EF4-FFF2-40B4-BE49-F238E27FC236}">
                  <a16:creationId xmlns:a16="http://schemas.microsoft.com/office/drawing/2014/main" id="{781C95A8-53F9-6A8A-70C5-5095AD791F5B}"/>
                </a:ext>
              </a:extLst>
            </p:cNvPr>
            <p:cNvGrpSpPr/>
            <p:nvPr/>
          </p:nvGrpSpPr>
          <p:grpSpPr>
            <a:xfrm>
              <a:off x="7133223" y="3945167"/>
              <a:ext cx="289443" cy="248100"/>
              <a:chOff x="5696016" y="3086100"/>
              <a:chExt cx="800080" cy="685799"/>
            </a:xfrm>
            <a:grpFill/>
          </p:grpSpPr>
          <p:sp>
            <p:nvSpPr>
              <p:cNvPr id="2434" name="Vrije vorm: vorm 2433">
                <a:extLst>
                  <a:ext uri="{FF2B5EF4-FFF2-40B4-BE49-F238E27FC236}">
                    <a16:creationId xmlns:a16="http://schemas.microsoft.com/office/drawing/2014/main" id="{3DE4D16D-A05A-7EF4-2BF8-FB8A2BDCAAE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35" name="Vrije vorm: vorm 2434">
                <a:extLst>
                  <a:ext uri="{FF2B5EF4-FFF2-40B4-BE49-F238E27FC236}">
                    <a16:creationId xmlns:a16="http://schemas.microsoft.com/office/drawing/2014/main" id="{AEEB5A8C-2973-62B0-B997-A42A1D0DE7F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0" name="Groep 2409">
              <a:extLst>
                <a:ext uri="{FF2B5EF4-FFF2-40B4-BE49-F238E27FC236}">
                  <a16:creationId xmlns:a16="http://schemas.microsoft.com/office/drawing/2014/main" id="{056338F4-8FD3-B641-6070-7887A1329D54}"/>
                </a:ext>
              </a:extLst>
            </p:cNvPr>
            <p:cNvGrpSpPr/>
            <p:nvPr/>
          </p:nvGrpSpPr>
          <p:grpSpPr>
            <a:xfrm>
              <a:off x="7455711" y="3945167"/>
              <a:ext cx="289443" cy="248100"/>
              <a:chOff x="5696016" y="3086100"/>
              <a:chExt cx="800080" cy="685799"/>
            </a:xfrm>
            <a:grpFill/>
          </p:grpSpPr>
          <p:sp>
            <p:nvSpPr>
              <p:cNvPr id="2432" name="Vrije vorm: vorm 2431">
                <a:extLst>
                  <a:ext uri="{FF2B5EF4-FFF2-40B4-BE49-F238E27FC236}">
                    <a16:creationId xmlns:a16="http://schemas.microsoft.com/office/drawing/2014/main" id="{D4CCFB45-456A-D2EE-6207-A9652D2F97A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33" name="Vrije vorm: vorm 2432">
                <a:extLst>
                  <a:ext uri="{FF2B5EF4-FFF2-40B4-BE49-F238E27FC236}">
                    <a16:creationId xmlns:a16="http://schemas.microsoft.com/office/drawing/2014/main" id="{ABAECEB8-AE78-E542-620B-1D352DE6A88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1" name="Groep 2410">
              <a:extLst>
                <a:ext uri="{FF2B5EF4-FFF2-40B4-BE49-F238E27FC236}">
                  <a16:creationId xmlns:a16="http://schemas.microsoft.com/office/drawing/2014/main" id="{9B77600F-E88B-E6B3-BE29-D29E41E46FFC}"/>
                </a:ext>
              </a:extLst>
            </p:cNvPr>
            <p:cNvGrpSpPr/>
            <p:nvPr/>
          </p:nvGrpSpPr>
          <p:grpSpPr>
            <a:xfrm>
              <a:off x="7778199" y="3945167"/>
              <a:ext cx="289443" cy="248100"/>
              <a:chOff x="5696016" y="3086100"/>
              <a:chExt cx="800080" cy="685799"/>
            </a:xfrm>
            <a:grpFill/>
          </p:grpSpPr>
          <p:sp>
            <p:nvSpPr>
              <p:cNvPr id="2430" name="Vrije vorm: vorm 2429">
                <a:extLst>
                  <a:ext uri="{FF2B5EF4-FFF2-40B4-BE49-F238E27FC236}">
                    <a16:creationId xmlns:a16="http://schemas.microsoft.com/office/drawing/2014/main" id="{5C873409-E8F0-71F6-4268-AA68C056E541}"/>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31" name="Vrije vorm: vorm 2430">
                <a:extLst>
                  <a:ext uri="{FF2B5EF4-FFF2-40B4-BE49-F238E27FC236}">
                    <a16:creationId xmlns:a16="http://schemas.microsoft.com/office/drawing/2014/main" id="{8ECD48B2-D468-3CF3-3E15-E98BB036AC4D}"/>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2" name="Groep 2411">
              <a:extLst>
                <a:ext uri="{FF2B5EF4-FFF2-40B4-BE49-F238E27FC236}">
                  <a16:creationId xmlns:a16="http://schemas.microsoft.com/office/drawing/2014/main" id="{AC72F465-47A9-F1C4-9752-B78E7A4CCC8A}"/>
                </a:ext>
              </a:extLst>
            </p:cNvPr>
            <p:cNvGrpSpPr/>
            <p:nvPr/>
          </p:nvGrpSpPr>
          <p:grpSpPr>
            <a:xfrm>
              <a:off x="7133223" y="4255183"/>
              <a:ext cx="289443" cy="248100"/>
              <a:chOff x="5696016" y="3086100"/>
              <a:chExt cx="800080" cy="685799"/>
            </a:xfrm>
            <a:grpFill/>
          </p:grpSpPr>
          <p:sp>
            <p:nvSpPr>
              <p:cNvPr id="2428" name="Vrije vorm: vorm 2427">
                <a:extLst>
                  <a:ext uri="{FF2B5EF4-FFF2-40B4-BE49-F238E27FC236}">
                    <a16:creationId xmlns:a16="http://schemas.microsoft.com/office/drawing/2014/main" id="{FAACB93A-1A1C-3C3C-B92B-8A813C6CC4C6}"/>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29" name="Vrije vorm: vorm 2428">
                <a:extLst>
                  <a:ext uri="{FF2B5EF4-FFF2-40B4-BE49-F238E27FC236}">
                    <a16:creationId xmlns:a16="http://schemas.microsoft.com/office/drawing/2014/main" id="{985820CA-2A79-95F7-D935-1BF1BDF731E9}"/>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3" name="Groep 2412">
              <a:extLst>
                <a:ext uri="{FF2B5EF4-FFF2-40B4-BE49-F238E27FC236}">
                  <a16:creationId xmlns:a16="http://schemas.microsoft.com/office/drawing/2014/main" id="{FD1BC96A-C62E-E6E8-F053-06C81D9A399D}"/>
                </a:ext>
              </a:extLst>
            </p:cNvPr>
            <p:cNvGrpSpPr/>
            <p:nvPr/>
          </p:nvGrpSpPr>
          <p:grpSpPr>
            <a:xfrm>
              <a:off x="7455711" y="4255183"/>
              <a:ext cx="289443" cy="248100"/>
              <a:chOff x="5696016" y="3086100"/>
              <a:chExt cx="800080" cy="685799"/>
            </a:xfrm>
            <a:grpFill/>
          </p:grpSpPr>
          <p:sp>
            <p:nvSpPr>
              <p:cNvPr id="2426" name="Vrije vorm: vorm 2425">
                <a:extLst>
                  <a:ext uri="{FF2B5EF4-FFF2-40B4-BE49-F238E27FC236}">
                    <a16:creationId xmlns:a16="http://schemas.microsoft.com/office/drawing/2014/main" id="{98189602-84C3-B8D3-DC5B-75DFEE080A7E}"/>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27" name="Vrije vorm: vorm 2426">
                <a:extLst>
                  <a:ext uri="{FF2B5EF4-FFF2-40B4-BE49-F238E27FC236}">
                    <a16:creationId xmlns:a16="http://schemas.microsoft.com/office/drawing/2014/main" id="{34EECE94-36BC-AE58-AE41-ED379E2A7F8F}"/>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4" name="Groep 2413">
              <a:extLst>
                <a:ext uri="{FF2B5EF4-FFF2-40B4-BE49-F238E27FC236}">
                  <a16:creationId xmlns:a16="http://schemas.microsoft.com/office/drawing/2014/main" id="{C9FCA7BE-182D-44AB-DC83-C0EBA39DA3B8}"/>
                </a:ext>
              </a:extLst>
            </p:cNvPr>
            <p:cNvGrpSpPr/>
            <p:nvPr/>
          </p:nvGrpSpPr>
          <p:grpSpPr>
            <a:xfrm>
              <a:off x="7778199" y="4255183"/>
              <a:ext cx="289443" cy="248100"/>
              <a:chOff x="5696016" y="3086100"/>
              <a:chExt cx="800080" cy="685799"/>
            </a:xfrm>
            <a:grpFill/>
          </p:grpSpPr>
          <p:sp>
            <p:nvSpPr>
              <p:cNvPr id="2424" name="Vrije vorm: vorm 2423">
                <a:extLst>
                  <a:ext uri="{FF2B5EF4-FFF2-40B4-BE49-F238E27FC236}">
                    <a16:creationId xmlns:a16="http://schemas.microsoft.com/office/drawing/2014/main" id="{3985C2A7-27D4-678B-955A-1B09ECF48AB8}"/>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25" name="Vrije vorm: vorm 2424">
                <a:extLst>
                  <a:ext uri="{FF2B5EF4-FFF2-40B4-BE49-F238E27FC236}">
                    <a16:creationId xmlns:a16="http://schemas.microsoft.com/office/drawing/2014/main" id="{81F01A07-4BAB-544E-5EC0-F5AE7B365CE1}"/>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5" name="Groep 2414">
              <a:extLst>
                <a:ext uri="{FF2B5EF4-FFF2-40B4-BE49-F238E27FC236}">
                  <a16:creationId xmlns:a16="http://schemas.microsoft.com/office/drawing/2014/main" id="{D6874EC5-2742-1E26-A6F8-FBF69F9E5127}"/>
                </a:ext>
              </a:extLst>
            </p:cNvPr>
            <p:cNvGrpSpPr/>
            <p:nvPr/>
          </p:nvGrpSpPr>
          <p:grpSpPr>
            <a:xfrm>
              <a:off x="7133223" y="4565200"/>
              <a:ext cx="289443" cy="248100"/>
              <a:chOff x="5696016" y="3086100"/>
              <a:chExt cx="800080" cy="685799"/>
            </a:xfrm>
            <a:grpFill/>
          </p:grpSpPr>
          <p:sp>
            <p:nvSpPr>
              <p:cNvPr id="2422" name="Vrije vorm: vorm 2421">
                <a:extLst>
                  <a:ext uri="{FF2B5EF4-FFF2-40B4-BE49-F238E27FC236}">
                    <a16:creationId xmlns:a16="http://schemas.microsoft.com/office/drawing/2014/main" id="{BB380E51-441E-3D57-4AE5-343ABA7F178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23" name="Vrije vorm: vorm 2422">
                <a:extLst>
                  <a:ext uri="{FF2B5EF4-FFF2-40B4-BE49-F238E27FC236}">
                    <a16:creationId xmlns:a16="http://schemas.microsoft.com/office/drawing/2014/main" id="{017D77CA-2E9A-ADEC-C3E1-9A476825852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6" name="Groep 2415">
              <a:extLst>
                <a:ext uri="{FF2B5EF4-FFF2-40B4-BE49-F238E27FC236}">
                  <a16:creationId xmlns:a16="http://schemas.microsoft.com/office/drawing/2014/main" id="{42A8AD37-EEA3-8287-8BD7-7E50534C6639}"/>
                </a:ext>
              </a:extLst>
            </p:cNvPr>
            <p:cNvGrpSpPr/>
            <p:nvPr/>
          </p:nvGrpSpPr>
          <p:grpSpPr>
            <a:xfrm>
              <a:off x="7455711" y="4565200"/>
              <a:ext cx="289443" cy="248100"/>
              <a:chOff x="5696016" y="3086100"/>
              <a:chExt cx="800080" cy="685799"/>
            </a:xfrm>
            <a:grpFill/>
          </p:grpSpPr>
          <p:sp>
            <p:nvSpPr>
              <p:cNvPr id="2420" name="Vrije vorm: vorm 2419">
                <a:extLst>
                  <a:ext uri="{FF2B5EF4-FFF2-40B4-BE49-F238E27FC236}">
                    <a16:creationId xmlns:a16="http://schemas.microsoft.com/office/drawing/2014/main" id="{320D6023-B9CD-BDF9-FEF1-0F7605942AD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21" name="Vrije vorm: vorm 2420">
                <a:extLst>
                  <a:ext uri="{FF2B5EF4-FFF2-40B4-BE49-F238E27FC236}">
                    <a16:creationId xmlns:a16="http://schemas.microsoft.com/office/drawing/2014/main" id="{C63DC03E-A5FF-5D0F-EC0E-53FE24203873}"/>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nvGrpSpPr>
            <p:cNvPr id="2417" name="Groep 2416">
              <a:extLst>
                <a:ext uri="{FF2B5EF4-FFF2-40B4-BE49-F238E27FC236}">
                  <a16:creationId xmlns:a16="http://schemas.microsoft.com/office/drawing/2014/main" id="{960B5B22-019D-D0D1-1BB3-245EAFD14EDE}"/>
                </a:ext>
              </a:extLst>
            </p:cNvPr>
            <p:cNvGrpSpPr/>
            <p:nvPr/>
          </p:nvGrpSpPr>
          <p:grpSpPr>
            <a:xfrm>
              <a:off x="7778199" y="4565200"/>
              <a:ext cx="289443" cy="248100"/>
              <a:chOff x="5696016" y="3086100"/>
              <a:chExt cx="800080" cy="685799"/>
            </a:xfrm>
            <a:grpFill/>
          </p:grpSpPr>
          <p:sp>
            <p:nvSpPr>
              <p:cNvPr id="2418" name="Vrije vorm: vorm 2417">
                <a:extLst>
                  <a:ext uri="{FF2B5EF4-FFF2-40B4-BE49-F238E27FC236}">
                    <a16:creationId xmlns:a16="http://schemas.microsoft.com/office/drawing/2014/main" id="{BF738ECC-6116-9581-3763-C005D6737FE9}"/>
                  </a:ext>
                </a:extLst>
              </p:cNvPr>
              <p:cNvSpPr/>
              <p:nvPr/>
            </p:nvSpPr>
            <p:spPr>
              <a:xfrm>
                <a:off x="5696016" y="3086100"/>
                <a:ext cx="800080" cy="417509"/>
              </a:xfrm>
              <a:custGeom>
                <a:avLst/>
                <a:gdLst>
                  <a:gd name="connsiteX0" fmla="*/ 400031 w 800080"/>
                  <a:gd name="connsiteY0" fmla="*/ 78581 h 417509"/>
                  <a:gd name="connsiteX1" fmla="*/ 400050 w 800080"/>
                  <a:gd name="connsiteY1" fmla="*/ 78581 h 417509"/>
                  <a:gd name="connsiteX2" fmla="*/ 756837 w 800080"/>
                  <a:gd name="connsiteY2" fmla="*/ 417509 h 417509"/>
                  <a:gd name="connsiteX3" fmla="*/ 800081 w 800080"/>
                  <a:gd name="connsiteY3" fmla="*/ 380552 h 417509"/>
                  <a:gd name="connsiteX4" fmla="*/ 400050 w 800080"/>
                  <a:gd name="connsiteY4" fmla="*/ 0 h 417509"/>
                  <a:gd name="connsiteX5" fmla="*/ 400031 w 800080"/>
                  <a:gd name="connsiteY5" fmla="*/ 0 h 417509"/>
                  <a:gd name="connsiteX6" fmla="*/ 0 w 800080"/>
                  <a:gd name="connsiteY6" fmla="*/ 380552 h 417509"/>
                  <a:gd name="connsiteX7" fmla="*/ 43244 w 800080"/>
                  <a:gd name="connsiteY7" fmla="*/ 417509 h 417509"/>
                  <a:gd name="connsiteX8" fmla="*/ 400031 w 800080"/>
                  <a:gd name="connsiteY8" fmla="*/ 78581 h 41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080" h="417509">
                    <a:moveTo>
                      <a:pt x="400031" y="78581"/>
                    </a:moveTo>
                    <a:lnTo>
                      <a:pt x="400050" y="78581"/>
                    </a:lnTo>
                    <a:lnTo>
                      <a:pt x="756837" y="417509"/>
                    </a:lnTo>
                    <a:lnTo>
                      <a:pt x="800081" y="380552"/>
                    </a:lnTo>
                    <a:lnTo>
                      <a:pt x="400050" y="0"/>
                    </a:lnTo>
                    <a:lnTo>
                      <a:pt x="400031" y="0"/>
                    </a:lnTo>
                    <a:lnTo>
                      <a:pt x="0" y="380552"/>
                    </a:lnTo>
                    <a:lnTo>
                      <a:pt x="43244" y="417509"/>
                    </a:lnTo>
                    <a:lnTo>
                      <a:pt x="400031" y="78581"/>
                    </a:lnTo>
                    <a:close/>
                  </a:path>
                </a:pathLst>
              </a:custGeom>
              <a:grpFill/>
              <a:ln w="9525" cap="flat">
                <a:noFill/>
                <a:prstDash val="solid"/>
                <a:miter/>
              </a:ln>
            </p:spPr>
            <p:txBody>
              <a:bodyPr rtlCol="0" anchor="ctr"/>
              <a:lstStyle/>
              <a:p>
                <a:endParaRPr lang="nl-NL"/>
              </a:p>
            </p:txBody>
          </p:sp>
          <p:sp>
            <p:nvSpPr>
              <p:cNvPr id="2419" name="Vrije vorm: vorm 2418">
                <a:extLst>
                  <a:ext uri="{FF2B5EF4-FFF2-40B4-BE49-F238E27FC236}">
                    <a16:creationId xmlns:a16="http://schemas.microsoft.com/office/drawing/2014/main" id="{5ACE72BC-4F3F-7941-27A4-40888725BDA0}"/>
                  </a:ext>
                </a:extLst>
              </p:cNvPr>
              <p:cNvSpPr/>
              <p:nvPr/>
            </p:nvSpPr>
            <p:spPr>
              <a:xfrm>
                <a:off x="5810297" y="3217221"/>
                <a:ext cx="571499" cy="554678"/>
              </a:xfrm>
              <a:custGeom>
                <a:avLst/>
                <a:gdLst>
                  <a:gd name="connsiteX0" fmla="*/ 0 w 571499"/>
                  <a:gd name="connsiteY0" fmla="*/ 271453 h 554678"/>
                  <a:gd name="connsiteX1" fmla="*/ 0 w 571499"/>
                  <a:gd name="connsiteY1" fmla="*/ 554679 h 554678"/>
                  <a:gd name="connsiteX2" fmla="*/ 228600 w 571499"/>
                  <a:gd name="connsiteY2" fmla="*/ 554679 h 554678"/>
                  <a:gd name="connsiteX3" fmla="*/ 228600 w 571499"/>
                  <a:gd name="connsiteY3" fmla="*/ 316554 h 554678"/>
                  <a:gd name="connsiteX4" fmla="*/ 342900 w 571499"/>
                  <a:gd name="connsiteY4" fmla="*/ 316554 h 554678"/>
                  <a:gd name="connsiteX5" fmla="*/ 342900 w 571499"/>
                  <a:gd name="connsiteY5" fmla="*/ 554679 h 554678"/>
                  <a:gd name="connsiteX6" fmla="*/ 571500 w 571499"/>
                  <a:gd name="connsiteY6" fmla="*/ 554679 h 554678"/>
                  <a:gd name="connsiteX7" fmla="*/ 571500 w 571499"/>
                  <a:gd name="connsiteY7" fmla="*/ 271443 h 554678"/>
                  <a:gd name="connsiteX8" fmla="*/ 285760 w 571499"/>
                  <a:gd name="connsiteY8" fmla="*/ 0 h 554678"/>
                  <a:gd name="connsiteX9" fmla="*/ 0 w 571499"/>
                  <a:gd name="connsiteY9" fmla="*/ 271453 h 55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499" h="554678">
                    <a:moveTo>
                      <a:pt x="0" y="271453"/>
                    </a:moveTo>
                    <a:lnTo>
                      <a:pt x="0" y="554679"/>
                    </a:lnTo>
                    <a:lnTo>
                      <a:pt x="228600" y="554679"/>
                    </a:lnTo>
                    <a:lnTo>
                      <a:pt x="228600" y="316554"/>
                    </a:lnTo>
                    <a:lnTo>
                      <a:pt x="342900" y="316554"/>
                    </a:lnTo>
                    <a:lnTo>
                      <a:pt x="342900" y="554679"/>
                    </a:lnTo>
                    <a:lnTo>
                      <a:pt x="571500" y="554679"/>
                    </a:lnTo>
                    <a:lnTo>
                      <a:pt x="571500" y="271443"/>
                    </a:lnTo>
                    <a:lnTo>
                      <a:pt x="285760" y="0"/>
                    </a:lnTo>
                    <a:lnTo>
                      <a:pt x="0" y="271453"/>
                    </a:lnTo>
                    <a:close/>
                  </a:path>
                </a:pathLst>
              </a:custGeom>
              <a:grpFill/>
              <a:ln w="9525" cap="flat">
                <a:noFill/>
                <a:prstDash val="solid"/>
                <a:miter/>
              </a:ln>
            </p:spPr>
            <p:txBody>
              <a:bodyPr rtlCol="0" anchor="ctr"/>
              <a:lstStyle/>
              <a:p>
                <a:endParaRPr lang="nl-NL"/>
              </a:p>
            </p:txBody>
          </p:sp>
        </p:grpSp>
      </p:grpSp>
      <p:pic>
        <p:nvPicPr>
          <p:cNvPr id="3" name="Afbeelding 14" descr="Afbeelding met tekst, cirkel, logo, Lettertype&#10;&#10;Automatisch gegenereerde beschrijving">
            <a:extLst>
              <a:ext uri="{FF2B5EF4-FFF2-40B4-BE49-F238E27FC236}">
                <a16:creationId xmlns:a16="http://schemas.microsoft.com/office/drawing/2014/main" id="{FBB6444B-D993-2047-8DBB-C0FC46744C84}"/>
              </a:ext>
            </a:extLst>
          </p:cNvPr>
          <p:cNvPicPr/>
          <p:nvPr/>
        </p:nvPicPr>
        <p:blipFill>
          <a:blip r:embed="rId3"/>
          <a:stretch>
            <a:fillRect/>
          </a:stretch>
        </p:blipFill>
        <p:spPr>
          <a:xfrm>
            <a:off x="10880745" y="200596"/>
            <a:ext cx="1097623" cy="1097623"/>
          </a:xfrm>
          <a:prstGeom prst="rect">
            <a:avLst/>
          </a:prstGeom>
        </p:spPr>
      </p:pic>
      <p:cxnSp>
        <p:nvCxnSpPr>
          <p:cNvPr id="5" name="Straight Connector 4">
            <a:extLst>
              <a:ext uri="{FF2B5EF4-FFF2-40B4-BE49-F238E27FC236}">
                <a16:creationId xmlns:a16="http://schemas.microsoft.com/office/drawing/2014/main" id="{1408721B-BD53-EDE1-FE77-97D4334FBAF4}"/>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469836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ED459432-5E47-19EE-A3BC-17F1C45B3B6C}"/>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51A841EF-C4B3-176E-6F2A-C0E42588C158}"/>
              </a:ext>
            </a:extLst>
          </p:cNvPr>
          <p:cNvSpPr>
            <a:spLocks noGrp="1"/>
          </p:cNvSpPr>
          <p:nvPr>
            <p:ph type="title"/>
          </p:nvPr>
        </p:nvSpPr>
        <p:spPr/>
        <p:txBody>
          <a:bodyPr>
            <a:normAutofit/>
          </a:bodyPr>
          <a:lstStyle/>
          <a:p>
            <a:r>
              <a:rPr lang="nl-NL" dirty="0"/>
              <a:t>Materiaalgebonden milieu-impact </a:t>
            </a:r>
          </a:p>
        </p:txBody>
      </p:sp>
      <p:sp>
        <p:nvSpPr>
          <p:cNvPr id="4" name="Tijdelijke aanduiding voor tekst 3">
            <a:extLst>
              <a:ext uri="{FF2B5EF4-FFF2-40B4-BE49-F238E27FC236}">
                <a16:creationId xmlns:a16="http://schemas.microsoft.com/office/drawing/2014/main" id="{6585A082-D112-B672-2DF2-A861DB0A222A}"/>
              </a:ext>
            </a:extLst>
          </p:cNvPr>
          <p:cNvSpPr>
            <a:spLocks noGrp="1"/>
          </p:cNvSpPr>
          <p:nvPr>
            <p:ph type="body" sz="quarter" idx="11"/>
          </p:nvPr>
        </p:nvSpPr>
        <p:spPr/>
        <p:txBody>
          <a:bodyPr/>
          <a:lstStyle/>
          <a:p>
            <a:r>
              <a:rPr lang="nl-NL" dirty="0"/>
              <a:t>Verborgen impact van de renovatieopgave</a:t>
            </a:r>
          </a:p>
        </p:txBody>
      </p:sp>
      <p:pic>
        <p:nvPicPr>
          <p:cNvPr id="8" name="Afbeelding 7">
            <a:extLst>
              <a:ext uri="{FF2B5EF4-FFF2-40B4-BE49-F238E27FC236}">
                <a16:creationId xmlns:a16="http://schemas.microsoft.com/office/drawing/2014/main" id="{8CBA3275-F245-79BA-198B-10C134579AE9}"/>
              </a:ext>
            </a:extLst>
          </p:cNvPr>
          <p:cNvPicPr>
            <a:picLocks noChangeAspect="1"/>
          </p:cNvPicPr>
          <p:nvPr/>
        </p:nvPicPr>
        <p:blipFill>
          <a:blip r:embed="rId3"/>
          <a:srcRect b="22680"/>
          <a:stretch>
            <a:fillRect/>
          </a:stretch>
        </p:blipFill>
        <p:spPr>
          <a:xfrm>
            <a:off x="6589853" y="2691683"/>
            <a:ext cx="5020106" cy="2701638"/>
          </a:xfrm>
          <a:prstGeom prst="rect">
            <a:avLst/>
          </a:prstGeom>
        </p:spPr>
      </p:pic>
      <p:grpSp>
        <p:nvGrpSpPr>
          <p:cNvPr id="9" name="Groep 8">
            <a:extLst>
              <a:ext uri="{FF2B5EF4-FFF2-40B4-BE49-F238E27FC236}">
                <a16:creationId xmlns:a16="http://schemas.microsoft.com/office/drawing/2014/main" id="{32416EAD-1E14-AF53-AED3-3C1FDBC3EBA5}"/>
              </a:ext>
            </a:extLst>
          </p:cNvPr>
          <p:cNvGrpSpPr/>
          <p:nvPr/>
        </p:nvGrpSpPr>
        <p:grpSpPr>
          <a:xfrm>
            <a:off x="1476229" y="2651866"/>
            <a:ext cx="3067341" cy="2613576"/>
            <a:chOff x="1319464" y="2094121"/>
            <a:chExt cx="1604577" cy="1367205"/>
          </a:xfrm>
        </p:grpSpPr>
        <p:pic>
          <p:nvPicPr>
            <p:cNvPr id="10" name="Graphic 9" descr="Bakstenen muur bouwen met effen opvulling">
              <a:extLst>
                <a:ext uri="{FF2B5EF4-FFF2-40B4-BE49-F238E27FC236}">
                  <a16:creationId xmlns:a16="http://schemas.microsoft.com/office/drawing/2014/main" id="{3F1A7204-D8FA-88E6-3539-5949BEBFD98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319464" y="2768437"/>
              <a:ext cx="692889" cy="692889"/>
            </a:xfrm>
            <a:prstGeom prst="rect">
              <a:avLst/>
            </a:prstGeom>
          </p:spPr>
        </p:pic>
        <p:pic>
          <p:nvPicPr>
            <p:cNvPr id="11" name="Graphic 10" descr="Grondstoffen met effen opvulling">
              <a:extLst>
                <a:ext uri="{FF2B5EF4-FFF2-40B4-BE49-F238E27FC236}">
                  <a16:creationId xmlns:a16="http://schemas.microsoft.com/office/drawing/2014/main" id="{549AE128-4792-84EB-66F1-172F32C49E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1152" y="2768437"/>
              <a:ext cx="692889" cy="692889"/>
            </a:xfrm>
            <a:prstGeom prst="rect">
              <a:avLst/>
            </a:prstGeom>
          </p:spPr>
        </p:pic>
        <p:pic>
          <p:nvPicPr>
            <p:cNvPr id="12" name="Graphic 11" descr="Boorplatform met effen opvulling">
              <a:extLst>
                <a:ext uri="{FF2B5EF4-FFF2-40B4-BE49-F238E27FC236}">
                  <a16:creationId xmlns:a16="http://schemas.microsoft.com/office/drawing/2014/main" id="{68563BC4-748F-455E-217A-BE5BDCF46C8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2231152" y="2094121"/>
              <a:ext cx="692889" cy="692889"/>
            </a:xfrm>
            <a:prstGeom prst="rect">
              <a:avLst/>
            </a:prstGeom>
          </p:spPr>
        </p:pic>
        <p:pic>
          <p:nvPicPr>
            <p:cNvPr id="13" name="Graphic 12" descr="Brandstof met effen opvulling">
              <a:extLst>
                <a:ext uri="{FF2B5EF4-FFF2-40B4-BE49-F238E27FC236}">
                  <a16:creationId xmlns:a16="http://schemas.microsoft.com/office/drawing/2014/main" id="{B48045AD-D153-84AD-2037-BDC7DB64D1F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319464" y="2094121"/>
              <a:ext cx="692889" cy="692889"/>
            </a:xfrm>
            <a:prstGeom prst="rect">
              <a:avLst/>
            </a:prstGeom>
          </p:spPr>
        </p:pic>
      </p:grpSp>
      <p:sp>
        <p:nvSpPr>
          <p:cNvPr id="5" name="Pijl: rechts 4">
            <a:extLst>
              <a:ext uri="{FF2B5EF4-FFF2-40B4-BE49-F238E27FC236}">
                <a16:creationId xmlns:a16="http://schemas.microsoft.com/office/drawing/2014/main" id="{D89D740E-1199-004C-18AA-7D24A75001B5}"/>
              </a:ext>
            </a:extLst>
          </p:cNvPr>
          <p:cNvSpPr/>
          <p:nvPr/>
        </p:nvSpPr>
        <p:spPr>
          <a:xfrm>
            <a:off x="5434517" y="3721763"/>
            <a:ext cx="717630" cy="509286"/>
          </a:xfrm>
          <a:prstGeom prst="rightArrow">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sz="1800" b="1" dirty="0">
              <a:latin typeface="Muli" panose="00000500000000000000" pitchFamily="2" charset="0"/>
            </a:endParaRPr>
          </a:p>
        </p:txBody>
      </p:sp>
      <p:pic>
        <p:nvPicPr>
          <p:cNvPr id="6" name="Afbeelding 14" descr="Afbeelding met tekst, cirkel, logo, Lettertype&#10;&#10;Automatisch gegenereerde beschrijving">
            <a:extLst>
              <a:ext uri="{FF2B5EF4-FFF2-40B4-BE49-F238E27FC236}">
                <a16:creationId xmlns:a16="http://schemas.microsoft.com/office/drawing/2014/main" id="{FC1E1771-CAD5-9153-86A1-65B9A1CEA6AB}"/>
              </a:ext>
            </a:extLst>
          </p:cNvPr>
          <p:cNvPicPr/>
          <p:nvPr/>
        </p:nvPicPr>
        <p:blipFill>
          <a:blip r:embed="rId12"/>
          <a:stretch>
            <a:fillRect/>
          </a:stretch>
        </p:blipFill>
        <p:spPr>
          <a:xfrm>
            <a:off x="10880745" y="200596"/>
            <a:ext cx="1097623" cy="1097623"/>
          </a:xfrm>
          <a:prstGeom prst="rect">
            <a:avLst/>
          </a:prstGeom>
        </p:spPr>
      </p:pic>
      <p:cxnSp>
        <p:nvCxnSpPr>
          <p:cNvPr id="7" name="Straight Connector 6">
            <a:extLst>
              <a:ext uri="{FF2B5EF4-FFF2-40B4-BE49-F238E27FC236}">
                <a16:creationId xmlns:a16="http://schemas.microsoft.com/office/drawing/2014/main" id="{8FEA6894-2C23-D905-01E7-8DBCEA2557A1}"/>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5844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895F358-9FCB-9D36-C44C-954C7DAEFB1F}"/>
              </a:ext>
            </a:extLst>
          </p:cNvPr>
          <p:cNvSpPr>
            <a:spLocks noGrp="1"/>
          </p:cNvSpPr>
          <p:nvPr>
            <p:ph type="title"/>
          </p:nvPr>
        </p:nvSpPr>
        <p:spPr/>
        <p:txBody>
          <a:bodyPr>
            <a:normAutofit/>
          </a:bodyPr>
          <a:lstStyle/>
          <a:p>
            <a:r>
              <a:rPr lang="nl-NL"/>
              <a:t>Materiaalpiek leidt tot enorme risico’s</a:t>
            </a:r>
          </a:p>
        </p:txBody>
      </p:sp>
      <p:sp>
        <p:nvSpPr>
          <p:cNvPr id="4" name="Tijdelijke aanduiding voor tekst 3">
            <a:extLst>
              <a:ext uri="{FF2B5EF4-FFF2-40B4-BE49-F238E27FC236}">
                <a16:creationId xmlns:a16="http://schemas.microsoft.com/office/drawing/2014/main" id="{B7823A04-5078-390B-4150-DE9B5961B24F}"/>
              </a:ext>
            </a:extLst>
          </p:cNvPr>
          <p:cNvSpPr>
            <a:spLocks noGrp="1"/>
          </p:cNvSpPr>
          <p:nvPr>
            <p:ph type="body" sz="quarter" idx="11"/>
          </p:nvPr>
        </p:nvSpPr>
        <p:spPr/>
        <p:txBody>
          <a:bodyPr/>
          <a:lstStyle/>
          <a:p>
            <a:r>
              <a:rPr lang="nl-NL"/>
              <a:t>Blijven deze materialen goedkoop en beschikbaar?</a:t>
            </a:r>
          </a:p>
        </p:txBody>
      </p:sp>
      <p:pic>
        <p:nvPicPr>
          <p:cNvPr id="7" name="Afbeelding 6">
            <a:extLst>
              <a:ext uri="{FF2B5EF4-FFF2-40B4-BE49-F238E27FC236}">
                <a16:creationId xmlns:a16="http://schemas.microsoft.com/office/drawing/2014/main" id="{ADC499D3-C5AD-57F0-25A9-0EA8E427C013}"/>
              </a:ext>
            </a:extLst>
          </p:cNvPr>
          <p:cNvPicPr>
            <a:picLocks noChangeAspect="1"/>
          </p:cNvPicPr>
          <p:nvPr/>
        </p:nvPicPr>
        <p:blipFill>
          <a:blip r:embed="rId3"/>
          <a:stretch>
            <a:fillRect/>
          </a:stretch>
        </p:blipFill>
        <p:spPr>
          <a:xfrm>
            <a:off x="8232580" y="1947424"/>
            <a:ext cx="3780573" cy="4065373"/>
          </a:xfrm>
          <a:prstGeom prst="rect">
            <a:avLst/>
          </a:prstGeom>
        </p:spPr>
      </p:pic>
      <p:pic>
        <p:nvPicPr>
          <p:cNvPr id="9" name="Afbeelding 8">
            <a:extLst>
              <a:ext uri="{FF2B5EF4-FFF2-40B4-BE49-F238E27FC236}">
                <a16:creationId xmlns:a16="http://schemas.microsoft.com/office/drawing/2014/main" id="{6493C8B3-4A6C-4016-BBA0-07E1C5DB3E04}"/>
              </a:ext>
            </a:extLst>
          </p:cNvPr>
          <p:cNvPicPr>
            <a:picLocks noChangeAspect="1"/>
          </p:cNvPicPr>
          <p:nvPr/>
        </p:nvPicPr>
        <p:blipFill>
          <a:blip r:embed="rId4"/>
          <a:stretch>
            <a:fillRect/>
          </a:stretch>
        </p:blipFill>
        <p:spPr>
          <a:xfrm>
            <a:off x="5973993" y="5292200"/>
            <a:ext cx="6039160" cy="971600"/>
          </a:xfrm>
          <a:prstGeom prst="rect">
            <a:avLst/>
          </a:prstGeom>
          <a:ln>
            <a:solidFill>
              <a:schemeClr val="tx1"/>
            </a:solidFill>
          </a:ln>
        </p:spPr>
      </p:pic>
      <p:pic>
        <p:nvPicPr>
          <p:cNvPr id="10" name="Afbeelding 9">
            <a:extLst>
              <a:ext uri="{FF2B5EF4-FFF2-40B4-BE49-F238E27FC236}">
                <a16:creationId xmlns:a16="http://schemas.microsoft.com/office/drawing/2014/main" id="{783C1529-FAC2-8661-CFD0-7524F48934A7}"/>
              </a:ext>
            </a:extLst>
          </p:cNvPr>
          <p:cNvPicPr>
            <a:picLocks noChangeAspect="1"/>
          </p:cNvPicPr>
          <p:nvPr/>
        </p:nvPicPr>
        <p:blipFill>
          <a:blip r:embed="rId5"/>
          <a:stretch>
            <a:fillRect/>
          </a:stretch>
        </p:blipFill>
        <p:spPr>
          <a:xfrm>
            <a:off x="178847" y="4081415"/>
            <a:ext cx="5143604" cy="1560525"/>
          </a:xfrm>
          <a:prstGeom prst="rect">
            <a:avLst/>
          </a:prstGeom>
        </p:spPr>
      </p:pic>
      <p:pic>
        <p:nvPicPr>
          <p:cNvPr id="14" name="Afbeelding 13">
            <a:extLst>
              <a:ext uri="{FF2B5EF4-FFF2-40B4-BE49-F238E27FC236}">
                <a16:creationId xmlns:a16="http://schemas.microsoft.com/office/drawing/2014/main" id="{73EB410A-5898-AB5F-52BC-B96010095801}"/>
              </a:ext>
            </a:extLst>
          </p:cNvPr>
          <p:cNvPicPr>
            <a:picLocks noChangeAspect="1"/>
          </p:cNvPicPr>
          <p:nvPr/>
        </p:nvPicPr>
        <p:blipFill>
          <a:blip r:embed="rId6"/>
          <a:srcRect t="1942" r="12020"/>
          <a:stretch>
            <a:fillRect/>
          </a:stretch>
        </p:blipFill>
        <p:spPr>
          <a:xfrm>
            <a:off x="178847" y="2248452"/>
            <a:ext cx="4304805" cy="1876574"/>
          </a:xfrm>
          <a:prstGeom prst="rect">
            <a:avLst/>
          </a:prstGeom>
        </p:spPr>
      </p:pic>
      <p:pic>
        <p:nvPicPr>
          <p:cNvPr id="15" name="Afbeelding 14">
            <a:extLst>
              <a:ext uri="{FF2B5EF4-FFF2-40B4-BE49-F238E27FC236}">
                <a16:creationId xmlns:a16="http://schemas.microsoft.com/office/drawing/2014/main" id="{0CDF5914-75C0-D54C-0233-8C578F6BB5E7}"/>
              </a:ext>
            </a:extLst>
          </p:cNvPr>
          <p:cNvPicPr>
            <a:picLocks noChangeAspect="1"/>
          </p:cNvPicPr>
          <p:nvPr/>
        </p:nvPicPr>
        <p:blipFill>
          <a:blip r:embed="rId7"/>
          <a:stretch>
            <a:fillRect/>
          </a:stretch>
        </p:blipFill>
        <p:spPr>
          <a:xfrm>
            <a:off x="5910470" y="1820617"/>
            <a:ext cx="6138565" cy="4752588"/>
          </a:xfrm>
          <a:prstGeom prst="rect">
            <a:avLst/>
          </a:prstGeom>
        </p:spPr>
      </p:pic>
      <p:pic>
        <p:nvPicPr>
          <p:cNvPr id="16" name="Afbeelding 15">
            <a:extLst>
              <a:ext uri="{FF2B5EF4-FFF2-40B4-BE49-F238E27FC236}">
                <a16:creationId xmlns:a16="http://schemas.microsoft.com/office/drawing/2014/main" id="{140D3C7E-0859-2003-860B-FF9786F1D47F}"/>
              </a:ext>
            </a:extLst>
          </p:cNvPr>
          <p:cNvPicPr>
            <a:picLocks noChangeAspect="1"/>
          </p:cNvPicPr>
          <p:nvPr/>
        </p:nvPicPr>
        <p:blipFill>
          <a:blip r:embed="rId8"/>
          <a:stretch>
            <a:fillRect/>
          </a:stretch>
        </p:blipFill>
        <p:spPr>
          <a:xfrm>
            <a:off x="6053074" y="2790607"/>
            <a:ext cx="6226172" cy="1847808"/>
          </a:xfrm>
          <a:prstGeom prst="rect">
            <a:avLst/>
          </a:prstGeom>
          <a:ln>
            <a:solidFill>
              <a:schemeClr val="tx1"/>
            </a:solidFill>
          </a:ln>
        </p:spPr>
      </p:pic>
      <p:pic>
        <p:nvPicPr>
          <p:cNvPr id="6" name="Afbeelding 5">
            <a:extLst>
              <a:ext uri="{FF2B5EF4-FFF2-40B4-BE49-F238E27FC236}">
                <a16:creationId xmlns:a16="http://schemas.microsoft.com/office/drawing/2014/main" id="{3E8DBEA0-C2BD-93F5-BB1B-964C1D99A2AB}"/>
              </a:ext>
            </a:extLst>
          </p:cNvPr>
          <p:cNvPicPr>
            <a:picLocks noChangeAspect="1"/>
          </p:cNvPicPr>
          <p:nvPr/>
        </p:nvPicPr>
        <p:blipFill>
          <a:blip r:embed="rId9"/>
          <a:stretch>
            <a:fillRect/>
          </a:stretch>
        </p:blipFill>
        <p:spPr>
          <a:xfrm>
            <a:off x="2835851" y="4364227"/>
            <a:ext cx="3066840" cy="2376294"/>
          </a:xfrm>
          <a:prstGeom prst="rect">
            <a:avLst/>
          </a:prstGeom>
        </p:spPr>
      </p:pic>
      <p:pic>
        <p:nvPicPr>
          <p:cNvPr id="2" name="Afbeelding 14" descr="Afbeelding met tekst, cirkel, logo, Lettertype&#10;&#10;Automatisch gegenereerde beschrijving">
            <a:extLst>
              <a:ext uri="{FF2B5EF4-FFF2-40B4-BE49-F238E27FC236}">
                <a16:creationId xmlns:a16="http://schemas.microsoft.com/office/drawing/2014/main" id="{DB586CA5-CABF-756C-FC93-F2D772081184}"/>
              </a:ext>
            </a:extLst>
          </p:cNvPr>
          <p:cNvPicPr/>
          <p:nvPr/>
        </p:nvPicPr>
        <p:blipFill>
          <a:blip r:embed="rId10"/>
          <a:stretch>
            <a:fillRect/>
          </a:stretch>
        </p:blipFill>
        <p:spPr>
          <a:xfrm>
            <a:off x="10880745" y="200596"/>
            <a:ext cx="1097623" cy="1097623"/>
          </a:xfrm>
          <a:prstGeom prst="rect">
            <a:avLst/>
          </a:prstGeom>
        </p:spPr>
      </p:pic>
      <p:cxnSp>
        <p:nvCxnSpPr>
          <p:cNvPr id="5" name="Straight Connector 4">
            <a:extLst>
              <a:ext uri="{FF2B5EF4-FFF2-40B4-BE49-F238E27FC236}">
                <a16:creationId xmlns:a16="http://schemas.microsoft.com/office/drawing/2014/main" id="{71199BE9-F67B-2200-ADCD-B1C12508D812}"/>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790321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3129A-987A-CF7F-E66B-7E4E2876E071}"/>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EFBF8EB6-3897-F1C7-6901-9CD720B89255}"/>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FF1B3C53-EFF9-FC93-6671-A7D99364CFE7}"/>
              </a:ext>
            </a:extLst>
          </p:cNvPr>
          <p:cNvSpPr>
            <a:spLocks noGrp="1"/>
          </p:cNvSpPr>
          <p:nvPr>
            <p:ph type="title"/>
          </p:nvPr>
        </p:nvSpPr>
        <p:spPr/>
        <p:txBody>
          <a:bodyPr/>
          <a:lstStyle/>
          <a:p>
            <a:r>
              <a:rPr lang="nl-NL" dirty="0"/>
              <a:t>Risico’s traditionele bouwmaterialen</a:t>
            </a:r>
          </a:p>
        </p:txBody>
      </p:sp>
      <p:sp>
        <p:nvSpPr>
          <p:cNvPr id="4" name="Tijdelijke aanduiding voor tekst 3">
            <a:extLst>
              <a:ext uri="{FF2B5EF4-FFF2-40B4-BE49-F238E27FC236}">
                <a16:creationId xmlns:a16="http://schemas.microsoft.com/office/drawing/2014/main" id="{214E651B-4C2E-AA7C-5125-4078F2ADD285}"/>
              </a:ext>
            </a:extLst>
          </p:cNvPr>
          <p:cNvSpPr>
            <a:spLocks noGrp="1"/>
          </p:cNvSpPr>
          <p:nvPr>
            <p:ph type="body" sz="quarter" idx="11"/>
          </p:nvPr>
        </p:nvSpPr>
        <p:spPr/>
        <p:txBody>
          <a:bodyPr/>
          <a:lstStyle/>
          <a:p>
            <a:r>
              <a:rPr lang="nl-NL" dirty="0"/>
              <a:t>En klimaatinstallaties</a:t>
            </a:r>
          </a:p>
        </p:txBody>
      </p:sp>
      <p:sp>
        <p:nvSpPr>
          <p:cNvPr id="7" name="Tijdelijke aanduiding voor tekst 6">
            <a:extLst>
              <a:ext uri="{FF2B5EF4-FFF2-40B4-BE49-F238E27FC236}">
                <a16:creationId xmlns:a16="http://schemas.microsoft.com/office/drawing/2014/main" id="{9F5D08A3-CEE7-0698-EFAA-0A9241E40194}"/>
              </a:ext>
            </a:extLst>
          </p:cNvPr>
          <p:cNvSpPr>
            <a:spLocks noGrp="1"/>
          </p:cNvSpPr>
          <p:nvPr>
            <p:ph type="body" sz="quarter" idx="16"/>
          </p:nvPr>
        </p:nvSpPr>
        <p:spPr/>
        <p:txBody>
          <a:bodyPr/>
          <a:lstStyle/>
          <a:p>
            <a:endParaRPr lang="nl-NL"/>
          </a:p>
        </p:txBody>
      </p:sp>
      <p:sp>
        <p:nvSpPr>
          <p:cNvPr id="5" name="Rechthoek: afgeronde hoeken 4">
            <a:extLst>
              <a:ext uri="{FF2B5EF4-FFF2-40B4-BE49-F238E27FC236}">
                <a16:creationId xmlns:a16="http://schemas.microsoft.com/office/drawing/2014/main" id="{A4B70C87-02C6-6FBB-5ACA-D02154D2DBF6}"/>
              </a:ext>
            </a:extLst>
          </p:cNvPr>
          <p:cNvSpPr/>
          <p:nvPr/>
        </p:nvSpPr>
        <p:spPr>
          <a:xfrm>
            <a:off x="3867881" y="2629742"/>
            <a:ext cx="1997242" cy="8301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l-NL" sz="1500" b="1">
                <a:solidFill>
                  <a:sysClr val="windowText" lastClr="000000"/>
                </a:solidFill>
              </a:rPr>
              <a:t>Leveringsrisico’s</a:t>
            </a:r>
          </a:p>
        </p:txBody>
      </p:sp>
      <p:sp>
        <p:nvSpPr>
          <p:cNvPr id="6" name="Rechthoek: afgeronde hoeken 5">
            <a:extLst>
              <a:ext uri="{FF2B5EF4-FFF2-40B4-BE49-F238E27FC236}">
                <a16:creationId xmlns:a16="http://schemas.microsoft.com/office/drawing/2014/main" id="{951F85AB-74BB-C0C9-CA36-323A3230ADFE}"/>
              </a:ext>
            </a:extLst>
          </p:cNvPr>
          <p:cNvSpPr/>
          <p:nvPr/>
        </p:nvSpPr>
        <p:spPr>
          <a:xfrm>
            <a:off x="6452199" y="2629743"/>
            <a:ext cx="1997242" cy="8301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l-NL" sz="1500" b="1">
                <a:solidFill>
                  <a:sysClr val="windowText" lastClr="000000"/>
                </a:solidFill>
              </a:rPr>
              <a:t>Prijsrisico’s</a:t>
            </a:r>
          </a:p>
        </p:txBody>
      </p:sp>
      <p:sp>
        <p:nvSpPr>
          <p:cNvPr id="8" name="Rechthoek: afgeronde hoeken 7">
            <a:extLst>
              <a:ext uri="{FF2B5EF4-FFF2-40B4-BE49-F238E27FC236}">
                <a16:creationId xmlns:a16="http://schemas.microsoft.com/office/drawing/2014/main" id="{A4B6F9F2-3326-880E-B32E-FBEDA6F66DE7}"/>
              </a:ext>
            </a:extLst>
          </p:cNvPr>
          <p:cNvSpPr/>
          <p:nvPr/>
        </p:nvSpPr>
        <p:spPr>
          <a:xfrm>
            <a:off x="1283563" y="2629742"/>
            <a:ext cx="1997242" cy="8301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l-NL" sz="1500" b="1">
                <a:solidFill>
                  <a:sysClr val="windowText" lastClr="000000"/>
                </a:solidFill>
              </a:rPr>
              <a:t>Transitierisico’s</a:t>
            </a:r>
          </a:p>
        </p:txBody>
      </p:sp>
      <p:sp>
        <p:nvSpPr>
          <p:cNvPr id="10" name="Rechthoek: afgeronde hoeken 9">
            <a:extLst>
              <a:ext uri="{FF2B5EF4-FFF2-40B4-BE49-F238E27FC236}">
                <a16:creationId xmlns:a16="http://schemas.microsoft.com/office/drawing/2014/main" id="{272BB23D-5FD2-8F1B-D633-0D0316249A99}"/>
              </a:ext>
            </a:extLst>
          </p:cNvPr>
          <p:cNvSpPr/>
          <p:nvPr/>
        </p:nvSpPr>
        <p:spPr>
          <a:xfrm>
            <a:off x="9036516" y="2629743"/>
            <a:ext cx="1997242" cy="8301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l-NL" sz="1500" b="1">
                <a:solidFill>
                  <a:sysClr val="windowText" lastClr="000000"/>
                </a:solidFill>
              </a:rPr>
              <a:t>Huisvestingrisico’s</a:t>
            </a:r>
          </a:p>
        </p:txBody>
      </p:sp>
      <p:sp>
        <p:nvSpPr>
          <p:cNvPr id="12" name="Rechthoek: afgeronde hoeken 11">
            <a:extLst>
              <a:ext uri="{FF2B5EF4-FFF2-40B4-BE49-F238E27FC236}">
                <a16:creationId xmlns:a16="http://schemas.microsoft.com/office/drawing/2014/main" id="{6F816E2B-E85A-7D9E-46B3-FD8B9EA6A9C6}"/>
              </a:ext>
            </a:extLst>
          </p:cNvPr>
          <p:cNvSpPr/>
          <p:nvPr/>
        </p:nvSpPr>
        <p:spPr>
          <a:xfrm>
            <a:off x="9036516" y="3662668"/>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dirty="0"/>
              <a:t>Dure woningen</a:t>
            </a:r>
          </a:p>
        </p:txBody>
      </p:sp>
      <p:sp>
        <p:nvSpPr>
          <p:cNvPr id="13" name="Rechthoek: afgeronde hoeken 12">
            <a:extLst>
              <a:ext uri="{FF2B5EF4-FFF2-40B4-BE49-F238E27FC236}">
                <a16:creationId xmlns:a16="http://schemas.microsoft.com/office/drawing/2014/main" id="{89F061D8-B8AC-CD61-B92C-573A690848DD}"/>
              </a:ext>
            </a:extLst>
          </p:cNvPr>
          <p:cNvSpPr/>
          <p:nvPr/>
        </p:nvSpPr>
        <p:spPr>
          <a:xfrm>
            <a:off x="6452199" y="3666150"/>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dirty="0"/>
              <a:t>ETS/CBAM CO</a:t>
            </a:r>
            <a:r>
              <a:rPr lang="nl-NL" sz="1400" b="1" baseline="-25000" dirty="0"/>
              <a:t>2</a:t>
            </a:r>
            <a:r>
              <a:rPr lang="nl-NL" sz="1400" b="1" dirty="0"/>
              <a:t>-heffing</a:t>
            </a:r>
          </a:p>
        </p:txBody>
      </p:sp>
      <p:sp>
        <p:nvSpPr>
          <p:cNvPr id="14" name="Rechthoek: afgeronde hoeken 13">
            <a:extLst>
              <a:ext uri="{FF2B5EF4-FFF2-40B4-BE49-F238E27FC236}">
                <a16:creationId xmlns:a16="http://schemas.microsoft.com/office/drawing/2014/main" id="{6CEAD1D9-DF3F-857B-05F1-A489BB56CE7B}"/>
              </a:ext>
            </a:extLst>
          </p:cNvPr>
          <p:cNvSpPr/>
          <p:nvPr/>
        </p:nvSpPr>
        <p:spPr>
          <a:xfrm>
            <a:off x="6452199" y="4560459"/>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dirty="0"/>
              <a:t>Duurdere producten (pieken/dalen)</a:t>
            </a:r>
          </a:p>
        </p:txBody>
      </p:sp>
      <p:sp>
        <p:nvSpPr>
          <p:cNvPr id="15" name="Rechthoek: afgeronde hoeken 14">
            <a:extLst>
              <a:ext uri="{FF2B5EF4-FFF2-40B4-BE49-F238E27FC236}">
                <a16:creationId xmlns:a16="http://schemas.microsoft.com/office/drawing/2014/main" id="{EBEB17CB-9C2B-704B-A80B-EC4C773C7E69}"/>
              </a:ext>
            </a:extLst>
          </p:cNvPr>
          <p:cNvSpPr/>
          <p:nvPr/>
        </p:nvSpPr>
        <p:spPr>
          <a:xfrm>
            <a:off x="3867880" y="3666150"/>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a:t>Leveringsproblemen (vertraging)</a:t>
            </a:r>
          </a:p>
        </p:txBody>
      </p:sp>
      <p:sp>
        <p:nvSpPr>
          <p:cNvPr id="16" name="Rechthoek: afgeronde hoeken 15">
            <a:extLst>
              <a:ext uri="{FF2B5EF4-FFF2-40B4-BE49-F238E27FC236}">
                <a16:creationId xmlns:a16="http://schemas.microsoft.com/office/drawing/2014/main" id="{BD847832-BEF4-F890-18C5-0F80580876CE}"/>
              </a:ext>
            </a:extLst>
          </p:cNvPr>
          <p:cNvSpPr/>
          <p:nvPr/>
        </p:nvSpPr>
        <p:spPr>
          <a:xfrm>
            <a:off x="3867880" y="4557758"/>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a:t>Kritieke metaal-afhankelijkheid</a:t>
            </a:r>
          </a:p>
        </p:txBody>
      </p:sp>
      <p:sp>
        <p:nvSpPr>
          <p:cNvPr id="17" name="Rechthoek: afgeronde hoeken 16">
            <a:extLst>
              <a:ext uri="{FF2B5EF4-FFF2-40B4-BE49-F238E27FC236}">
                <a16:creationId xmlns:a16="http://schemas.microsoft.com/office/drawing/2014/main" id="{89E51458-1433-B4C4-1399-FE280FEA3B3B}"/>
              </a:ext>
            </a:extLst>
          </p:cNvPr>
          <p:cNvSpPr/>
          <p:nvPr/>
        </p:nvSpPr>
        <p:spPr>
          <a:xfrm>
            <a:off x="1283563" y="3666150"/>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dirty="0"/>
              <a:t>Wisselend nationaal beleid</a:t>
            </a:r>
          </a:p>
        </p:txBody>
      </p:sp>
      <p:sp>
        <p:nvSpPr>
          <p:cNvPr id="18" name="Rechthoek: afgeronde hoeken 17">
            <a:extLst>
              <a:ext uri="{FF2B5EF4-FFF2-40B4-BE49-F238E27FC236}">
                <a16:creationId xmlns:a16="http://schemas.microsoft.com/office/drawing/2014/main" id="{4DA8ABAB-BB3C-A804-DE41-48D7BDDBA3A0}"/>
              </a:ext>
            </a:extLst>
          </p:cNvPr>
          <p:cNvSpPr/>
          <p:nvPr/>
        </p:nvSpPr>
        <p:spPr>
          <a:xfrm>
            <a:off x="1283563" y="4560458"/>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dirty="0"/>
              <a:t> Strenger beleid Europa</a:t>
            </a:r>
          </a:p>
        </p:txBody>
      </p:sp>
      <p:sp>
        <p:nvSpPr>
          <p:cNvPr id="19" name="Rechthoek: afgeronde hoeken 18">
            <a:extLst>
              <a:ext uri="{FF2B5EF4-FFF2-40B4-BE49-F238E27FC236}">
                <a16:creationId xmlns:a16="http://schemas.microsoft.com/office/drawing/2014/main" id="{43139C75-CDF8-9A02-6786-70219ABDA8FE}"/>
              </a:ext>
            </a:extLst>
          </p:cNvPr>
          <p:cNvSpPr/>
          <p:nvPr/>
        </p:nvSpPr>
        <p:spPr>
          <a:xfrm>
            <a:off x="9036516" y="4535249"/>
            <a:ext cx="1997242" cy="688081"/>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algn="ctr"/>
            <a:r>
              <a:rPr lang="nl-NL" sz="1400" b="1" dirty="0" err="1"/>
              <a:t>Gezondheids-problemen</a:t>
            </a:r>
            <a:endParaRPr lang="nl-NL" sz="1400" b="1" dirty="0"/>
          </a:p>
        </p:txBody>
      </p:sp>
      <p:pic>
        <p:nvPicPr>
          <p:cNvPr id="9" name="Afbeelding 14" descr="Afbeelding met tekst, cirkel, logo, Lettertype&#10;&#10;Automatisch gegenereerde beschrijving">
            <a:extLst>
              <a:ext uri="{FF2B5EF4-FFF2-40B4-BE49-F238E27FC236}">
                <a16:creationId xmlns:a16="http://schemas.microsoft.com/office/drawing/2014/main" id="{DA3E6FBA-8B4A-D5AD-80B0-B2C2CFE6787F}"/>
              </a:ext>
            </a:extLst>
          </p:cNvPr>
          <p:cNvPicPr/>
          <p:nvPr/>
        </p:nvPicPr>
        <p:blipFill>
          <a:blip r:embed="rId3"/>
          <a:stretch>
            <a:fillRect/>
          </a:stretch>
        </p:blipFill>
        <p:spPr>
          <a:xfrm>
            <a:off x="10880745" y="200596"/>
            <a:ext cx="1097623" cy="1097623"/>
          </a:xfrm>
          <a:prstGeom prst="rect">
            <a:avLst/>
          </a:prstGeom>
        </p:spPr>
      </p:pic>
      <p:cxnSp>
        <p:nvCxnSpPr>
          <p:cNvPr id="11" name="Straight Connector 10">
            <a:extLst>
              <a:ext uri="{FF2B5EF4-FFF2-40B4-BE49-F238E27FC236}">
                <a16:creationId xmlns:a16="http://schemas.microsoft.com/office/drawing/2014/main" id="{4D19CDC7-31A1-85BC-6758-9BB38619498F}"/>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756419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F366A-E4E7-AEED-0258-E4D6872E3918}"/>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0B1BF75-13CC-88E8-031D-EAB2249C11E2}"/>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B445F077-74D9-5269-1900-D3C898D655FD}"/>
              </a:ext>
            </a:extLst>
          </p:cNvPr>
          <p:cNvSpPr>
            <a:spLocks noGrp="1"/>
          </p:cNvSpPr>
          <p:nvPr>
            <p:ph type="title"/>
          </p:nvPr>
        </p:nvSpPr>
        <p:spPr/>
        <p:txBody>
          <a:bodyPr/>
          <a:lstStyle/>
          <a:p>
            <a:r>
              <a:rPr lang="nl-NL" dirty="0"/>
              <a:t>Risico’s mitigeren met circulair renoveren</a:t>
            </a:r>
          </a:p>
        </p:txBody>
      </p:sp>
      <p:sp>
        <p:nvSpPr>
          <p:cNvPr id="4" name="Tijdelijke aanduiding voor tekst 3">
            <a:extLst>
              <a:ext uri="{FF2B5EF4-FFF2-40B4-BE49-F238E27FC236}">
                <a16:creationId xmlns:a16="http://schemas.microsoft.com/office/drawing/2014/main" id="{29FD5879-6D59-2C40-9D34-32271E6897AF}"/>
              </a:ext>
            </a:extLst>
          </p:cNvPr>
          <p:cNvSpPr>
            <a:spLocks noGrp="1"/>
          </p:cNvSpPr>
          <p:nvPr>
            <p:ph type="body" sz="quarter" idx="11"/>
          </p:nvPr>
        </p:nvSpPr>
        <p:spPr/>
        <p:txBody>
          <a:bodyPr/>
          <a:lstStyle/>
          <a:p>
            <a:r>
              <a:rPr lang="nl-NL" dirty="0"/>
              <a:t>En klimaatinstallaties</a:t>
            </a:r>
          </a:p>
        </p:txBody>
      </p:sp>
      <p:sp>
        <p:nvSpPr>
          <p:cNvPr id="7" name="Tijdelijke aanduiding voor tekst 6">
            <a:extLst>
              <a:ext uri="{FF2B5EF4-FFF2-40B4-BE49-F238E27FC236}">
                <a16:creationId xmlns:a16="http://schemas.microsoft.com/office/drawing/2014/main" id="{246E8E60-38C0-F61A-173C-A29B3E5915FC}"/>
              </a:ext>
            </a:extLst>
          </p:cNvPr>
          <p:cNvSpPr>
            <a:spLocks noGrp="1"/>
          </p:cNvSpPr>
          <p:nvPr>
            <p:ph type="body" sz="quarter" idx="16"/>
          </p:nvPr>
        </p:nvSpPr>
        <p:spPr/>
        <p:txBody>
          <a:bodyPr/>
          <a:lstStyle/>
          <a:p>
            <a:endParaRPr lang="nl-NL"/>
          </a:p>
        </p:txBody>
      </p:sp>
      <p:grpSp>
        <p:nvGrpSpPr>
          <p:cNvPr id="9" name="Groep 8">
            <a:extLst>
              <a:ext uri="{FF2B5EF4-FFF2-40B4-BE49-F238E27FC236}">
                <a16:creationId xmlns:a16="http://schemas.microsoft.com/office/drawing/2014/main" id="{07C2BE82-74BB-ED67-9108-C58C82BBF950}"/>
              </a:ext>
            </a:extLst>
          </p:cNvPr>
          <p:cNvGrpSpPr/>
          <p:nvPr/>
        </p:nvGrpSpPr>
        <p:grpSpPr>
          <a:xfrm>
            <a:off x="6883078" y="2717963"/>
            <a:ext cx="2858211" cy="2649080"/>
            <a:chOff x="4562329" y="2086706"/>
            <a:chExt cx="2858211" cy="2649080"/>
          </a:xfrm>
        </p:grpSpPr>
        <p:pic>
          <p:nvPicPr>
            <p:cNvPr id="11" name="Graphic 10" descr="Bakstenen muur bouwen met effen opvulling">
              <a:extLst>
                <a:ext uri="{FF2B5EF4-FFF2-40B4-BE49-F238E27FC236}">
                  <a16:creationId xmlns:a16="http://schemas.microsoft.com/office/drawing/2014/main" id="{B5A94C65-8159-536C-D358-6C4F72EC720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62329" y="3411246"/>
              <a:ext cx="1324540" cy="1324540"/>
            </a:xfrm>
            <a:prstGeom prst="rect">
              <a:avLst/>
            </a:prstGeom>
          </p:spPr>
        </p:pic>
        <p:pic>
          <p:nvPicPr>
            <p:cNvPr id="20" name="Graphic 19" descr="Ontkiemen van zaad met effen opvulling">
              <a:extLst>
                <a:ext uri="{FF2B5EF4-FFF2-40B4-BE49-F238E27FC236}">
                  <a16:creationId xmlns:a16="http://schemas.microsoft.com/office/drawing/2014/main" id="{105B999C-59E9-07A3-59C1-E04AE084606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96000" y="3274151"/>
              <a:ext cx="1324540" cy="1324540"/>
            </a:xfrm>
            <a:prstGeom prst="rect">
              <a:avLst/>
            </a:prstGeom>
          </p:spPr>
        </p:pic>
        <p:pic>
          <p:nvPicPr>
            <p:cNvPr id="21" name="Graphic 20" descr="Duurzaamheid met effen opvulling">
              <a:extLst>
                <a:ext uri="{FF2B5EF4-FFF2-40B4-BE49-F238E27FC236}">
                  <a16:creationId xmlns:a16="http://schemas.microsoft.com/office/drawing/2014/main" id="{4A88DF17-BB36-9F2F-5EA2-2AE7550C8A6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096000" y="2086706"/>
              <a:ext cx="1324540" cy="1324540"/>
            </a:xfrm>
            <a:prstGeom prst="rect">
              <a:avLst/>
            </a:prstGeom>
          </p:spPr>
        </p:pic>
        <p:pic>
          <p:nvPicPr>
            <p:cNvPr id="22" name="Graphic 21" descr="Boomstronk met effen opvulling">
              <a:extLst>
                <a:ext uri="{FF2B5EF4-FFF2-40B4-BE49-F238E27FC236}">
                  <a16:creationId xmlns:a16="http://schemas.microsoft.com/office/drawing/2014/main" id="{C82CC50F-DF1E-9CFC-1445-5807A8FC691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562329" y="2104460"/>
              <a:ext cx="1324540" cy="1324540"/>
            </a:xfrm>
            <a:prstGeom prst="rect">
              <a:avLst/>
            </a:prstGeom>
          </p:spPr>
        </p:pic>
      </p:grpSp>
      <p:grpSp>
        <p:nvGrpSpPr>
          <p:cNvPr id="23" name="Groep 22">
            <a:extLst>
              <a:ext uri="{FF2B5EF4-FFF2-40B4-BE49-F238E27FC236}">
                <a16:creationId xmlns:a16="http://schemas.microsoft.com/office/drawing/2014/main" id="{2F96DA19-54DE-5B1C-A679-49E98E3C03B9}"/>
              </a:ext>
            </a:extLst>
          </p:cNvPr>
          <p:cNvGrpSpPr/>
          <p:nvPr/>
        </p:nvGrpSpPr>
        <p:grpSpPr>
          <a:xfrm>
            <a:off x="2334179" y="2735715"/>
            <a:ext cx="3067341" cy="2613576"/>
            <a:chOff x="1319464" y="2094121"/>
            <a:chExt cx="1604577" cy="1367205"/>
          </a:xfrm>
        </p:grpSpPr>
        <p:pic>
          <p:nvPicPr>
            <p:cNvPr id="24" name="Graphic 23" descr="Bakstenen muur bouwen met effen opvulling">
              <a:extLst>
                <a:ext uri="{FF2B5EF4-FFF2-40B4-BE49-F238E27FC236}">
                  <a16:creationId xmlns:a16="http://schemas.microsoft.com/office/drawing/2014/main" id="{4D6C5EE8-6C48-19D8-2FDE-C770D6198E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19464" y="2768437"/>
              <a:ext cx="692889" cy="692889"/>
            </a:xfrm>
            <a:prstGeom prst="rect">
              <a:avLst/>
            </a:prstGeom>
          </p:spPr>
        </p:pic>
        <p:pic>
          <p:nvPicPr>
            <p:cNvPr id="25" name="Graphic 24" descr="Grondstoffen met effen opvulling">
              <a:extLst>
                <a:ext uri="{FF2B5EF4-FFF2-40B4-BE49-F238E27FC236}">
                  <a16:creationId xmlns:a16="http://schemas.microsoft.com/office/drawing/2014/main" id="{B8B8B437-AB64-E778-5588-839A2AE7AB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31152" y="2768437"/>
              <a:ext cx="692889" cy="692889"/>
            </a:xfrm>
            <a:prstGeom prst="rect">
              <a:avLst/>
            </a:prstGeom>
          </p:spPr>
        </p:pic>
        <p:pic>
          <p:nvPicPr>
            <p:cNvPr id="26" name="Graphic 25" descr="Boorplatform met effen opvulling">
              <a:extLst>
                <a:ext uri="{FF2B5EF4-FFF2-40B4-BE49-F238E27FC236}">
                  <a16:creationId xmlns:a16="http://schemas.microsoft.com/office/drawing/2014/main" id="{ECC0E8DF-5036-BD28-EF3E-E1D6C2D9AC2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231152" y="2094121"/>
              <a:ext cx="692889" cy="692889"/>
            </a:xfrm>
            <a:prstGeom prst="rect">
              <a:avLst/>
            </a:prstGeom>
          </p:spPr>
        </p:pic>
        <p:pic>
          <p:nvPicPr>
            <p:cNvPr id="27" name="Graphic 26" descr="Brandstof met effen opvulling">
              <a:extLst>
                <a:ext uri="{FF2B5EF4-FFF2-40B4-BE49-F238E27FC236}">
                  <a16:creationId xmlns:a16="http://schemas.microsoft.com/office/drawing/2014/main" id="{E06C6E4A-3E86-CAF0-5342-CE3FEEAC88AE}"/>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319464" y="2094121"/>
              <a:ext cx="692889" cy="692889"/>
            </a:xfrm>
            <a:prstGeom prst="rect">
              <a:avLst/>
            </a:prstGeom>
          </p:spPr>
        </p:pic>
      </p:grpSp>
      <p:sp>
        <p:nvSpPr>
          <p:cNvPr id="28" name="Pijl: rechts 27">
            <a:extLst>
              <a:ext uri="{FF2B5EF4-FFF2-40B4-BE49-F238E27FC236}">
                <a16:creationId xmlns:a16="http://schemas.microsoft.com/office/drawing/2014/main" id="{D3497ABD-9BF1-333B-9F1E-4463ACF9A332}"/>
              </a:ext>
            </a:extLst>
          </p:cNvPr>
          <p:cNvSpPr/>
          <p:nvPr/>
        </p:nvSpPr>
        <p:spPr>
          <a:xfrm>
            <a:off x="5872223" y="3949721"/>
            <a:ext cx="717630" cy="509286"/>
          </a:xfrm>
          <a:prstGeom prst="rightArrow">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sz="1800" b="1" dirty="0">
              <a:latin typeface="Muli" panose="00000500000000000000" pitchFamily="2" charset="0"/>
            </a:endParaRPr>
          </a:p>
        </p:txBody>
      </p:sp>
      <p:sp>
        <p:nvSpPr>
          <p:cNvPr id="29" name="Vrije vorm: vorm 28">
            <a:extLst>
              <a:ext uri="{FF2B5EF4-FFF2-40B4-BE49-F238E27FC236}">
                <a16:creationId xmlns:a16="http://schemas.microsoft.com/office/drawing/2014/main" id="{86CD5EC7-0A97-EA6F-A8E3-154EADC392B9}"/>
              </a:ext>
            </a:extLst>
          </p:cNvPr>
          <p:cNvSpPr/>
          <p:nvPr/>
        </p:nvSpPr>
        <p:spPr>
          <a:xfrm>
            <a:off x="5808089" y="2442411"/>
            <a:ext cx="532553" cy="1323473"/>
          </a:xfrm>
          <a:custGeom>
            <a:avLst/>
            <a:gdLst>
              <a:gd name="connsiteX0" fmla="*/ 352079 w 532553"/>
              <a:gd name="connsiteY0" fmla="*/ 1323473 h 1323473"/>
              <a:gd name="connsiteX1" fmla="*/ 3164 w 532553"/>
              <a:gd name="connsiteY1" fmla="*/ 649705 h 1323473"/>
              <a:gd name="connsiteX2" fmla="*/ 532553 w 532553"/>
              <a:gd name="connsiteY2" fmla="*/ 0 h 1323473"/>
              <a:gd name="connsiteX3" fmla="*/ 532553 w 532553"/>
              <a:gd name="connsiteY3" fmla="*/ 0 h 1323473"/>
            </a:gdLst>
            <a:ahLst/>
            <a:cxnLst>
              <a:cxn ang="0">
                <a:pos x="connsiteX0" y="connsiteY0"/>
              </a:cxn>
              <a:cxn ang="0">
                <a:pos x="connsiteX1" y="connsiteY1"/>
              </a:cxn>
              <a:cxn ang="0">
                <a:pos x="connsiteX2" y="connsiteY2"/>
              </a:cxn>
              <a:cxn ang="0">
                <a:pos x="connsiteX3" y="connsiteY3"/>
              </a:cxn>
            </a:cxnLst>
            <a:rect l="l" t="t" r="r" b="b"/>
            <a:pathLst>
              <a:path w="532553" h="1323473">
                <a:moveTo>
                  <a:pt x="352079" y="1323473"/>
                </a:moveTo>
                <a:cubicBezTo>
                  <a:pt x="162582" y="1096878"/>
                  <a:pt x="-26915" y="870284"/>
                  <a:pt x="3164" y="649705"/>
                </a:cubicBezTo>
                <a:cubicBezTo>
                  <a:pt x="33243" y="429126"/>
                  <a:pt x="532553" y="0"/>
                  <a:pt x="532553" y="0"/>
                </a:cubicBezTo>
                <a:lnTo>
                  <a:pt x="532553" y="0"/>
                </a:lnTo>
              </a:path>
            </a:pathLst>
          </a:custGeom>
          <a:ln w="28575" cap="flat" cmpd="sng" algn="ctr">
            <a:solidFill>
              <a:schemeClr val="dk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sp>
        <p:nvSpPr>
          <p:cNvPr id="31" name="Tekstvak 30">
            <a:extLst>
              <a:ext uri="{FF2B5EF4-FFF2-40B4-BE49-F238E27FC236}">
                <a16:creationId xmlns:a16="http://schemas.microsoft.com/office/drawing/2014/main" id="{20C4DA28-4E15-E985-7D66-D4EA441A1110}"/>
              </a:ext>
            </a:extLst>
          </p:cNvPr>
          <p:cNvSpPr txBox="1"/>
          <p:nvPr/>
        </p:nvSpPr>
        <p:spPr>
          <a:xfrm>
            <a:off x="3476900" y="2011764"/>
            <a:ext cx="6100010" cy="369332"/>
          </a:xfrm>
          <a:prstGeom prst="rect">
            <a:avLst/>
          </a:prstGeom>
          <a:noFill/>
        </p:spPr>
        <p:txBody>
          <a:bodyPr wrap="square">
            <a:spAutoFit/>
          </a:bodyPr>
          <a:lstStyle/>
          <a:p>
            <a:pPr algn="ctr"/>
            <a:r>
              <a:rPr lang="nl-NL" dirty="0"/>
              <a:t>1</a:t>
            </a:r>
            <a:r>
              <a:rPr lang="nl-NL" baseline="30000" dirty="0"/>
              <a:t>e</a:t>
            </a:r>
            <a:r>
              <a:rPr lang="nl-NL" dirty="0"/>
              <a:t> stap: CO</a:t>
            </a:r>
            <a:r>
              <a:rPr lang="nl-NL" baseline="-25000" dirty="0"/>
              <a:t>2</a:t>
            </a:r>
            <a:r>
              <a:rPr lang="nl-NL" dirty="0"/>
              <a:t>-gestuurd renoveren</a:t>
            </a:r>
          </a:p>
        </p:txBody>
      </p:sp>
      <p:pic>
        <p:nvPicPr>
          <p:cNvPr id="5" name="Afbeelding 14" descr="Afbeelding met tekst, cirkel, logo, Lettertype&#10;&#10;Automatisch gegenereerde beschrijving">
            <a:extLst>
              <a:ext uri="{FF2B5EF4-FFF2-40B4-BE49-F238E27FC236}">
                <a16:creationId xmlns:a16="http://schemas.microsoft.com/office/drawing/2014/main" id="{7FC4CBFC-19B3-7F9A-A132-DDB1140445F9}"/>
              </a:ext>
            </a:extLst>
          </p:cNvPr>
          <p:cNvPicPr/>
          <p:nvPr/>
        </p:nvPicPr>
        <p:blipFill>
          <a:blip r:embed="rId17"/>
          <a:stretch>
            <a:fillRect/>
          </a:stretch>
        </p:blipFill>
        <p:spPr>
          <a:xfrm>
            <a:off x="10880745" y="200596"/>
            <a:ext cx="1097623" cy="1097623"/>
          </a:xfrm>
          <a:prstGeom prst="rect">
            <a:avLst/>
          </a:prstGeom>
        </p:spPr>
      </p:pic>
      <p:cxnSp>
        <p:nvCxnSpPr>
          <p:cNvPr id="6" name="Straight Connector 5">
            <a:extLst>
              <a:ext uri="{FF2B5EF4-FFF2-40B4-BE49-F238E27FC236}">
                <a16:creationId xmlns:a16="http://schemas.microsoft.com/office/drawing/2014/main" id="{199131A6-980C-1C89-5B7B-BA6274088BC5}"/>
              </a:ext>
            </a:extLst>
          </p:cNvPr>
          <p:cNvCxnSpPr/>
          <p:nvPr/>
        </p:nvCxnSpPr>
        <p:spPr>
          <a:xfrm>
            <a:off x="0" y="1770742"/>
            <a:ext cx="12192000" cy="0"/>
          </a:xfrm>
          <a:prstGeom prst="line">
            <a:avLst/>
          </a:prstGeom>
          <a:ln w="57150">
            <a:solidFill>
              <a:srgbClr val="FF00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852654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heme/theme1.xml><?xml version="1.0" encoding="utf-8"?>
<a:theme xmlns:a="http://schemas.openxmlformats.org/drawingml/2006/main" name="Intro's en outro's">
  <a:themeElements>
    <a:clrScheme name="Copper8_def">
      <a:dk1>
        <a:srgbClr val="000000"/>
      </a:dk1>
      <a:lt1>
        <a:srgbClr val="FFFFFF"/>
      </a:lt1>
      <a:dk2>
        <a:srgbClr val="2B2E3A"/>
      </a:dk2>
      <a:lt2>
        <a:srgbClr val="8C99A1"/>
      </a:lt2>
      <a:accent1>
        <a:srgbClr val="02BF7E"/>
      </a:accent1>
      <a:accent2>
        <a:srgbClr val="FFC847"/>
      </a:accent2>
      <a:accent3>
        <a:srgbClr val="002060"/>
      </a:accent3>
      <a:accent4>
        <a:srgbClr val="F9F9F9"/>
      </a:accent4>
      <a:accent5>
        <a:srgbClr val="FFECBF"/>
      </a:accent5>
      <a:accent6>
        <a:srgbClr val="A7E9D2"/>
      </a:accent6>
      <a:hlink>
        <a:srgbClr val="02BF7E"/>
      </a:hlink>
      <a:folHlink>
        <a:srgbClr val="02BF7E"/>
      </a:folHlink>
    </a:clrScheme>
    <a:fontScheme name="Muli hoofdtekst">
      <a:majorFont>
        <a:latin typeface="Muli"/>
        <a:ea typeface=""/>
        <a:cs typeface=""/>
      </a:majorFont>
      <a:minorFont>
        <a:latin typeface="Mul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objectDefaults>
  <a:extraClrSchemeLst/>
  <a:extLst>
    <a:ext uri="{05A4C25C-085E-4340-85A3-A5531E510DB2}">
      <thm15:themeFamily xmlns:thm15="http://schemas.microsoft.com/office/thememl/2012/main" name="Presentatie1" id="{AF4864A7-6525-45FD-A3F5-7DC3881C2A97}" vid="{24646ECB-8E1B-469E-A84F-D4D068C66E1F}"/>
    </a:ext>
  </a:extLst>
</a:theme>
</file>

<file path=ppt/theme/theme2.xml><?xml version="1.0" encoding="utf-8"?>
<a:theme xmlns:a="http://schemas.openxmlformats.org/drawingml/2006/main" name="Tekstdia's">
  <a:themeElements>
    <a:clrScheme name="Copper8_def">
      <a:dk1>
        <a:srgbClr val="000000"/>
      </a:dk1>
      <a:lt1>
        <a:srgbClr val="FFFFFF"/>
      </a:lt1>
      <a:dk2>
        <a:srgbClr val="2B2E3A"/>
      </a:dk2>
      <a:lt2>
        <a:srgbClr val="8C99A1"/>
      </a:lt2>
      <a:accent1>
        <a:srgbClr val="02BF7E"/>
      </a:accent1>
      <a:accent2>
        <a:srgbClr val="FFC847"/>
      </a:accent2>
      <a:accent3>
        <a:srgbClr val="002060"/>
      </a:accent3>
      <a:accent4>
        <a:srgbClr val="F9F9F9"/>
      </a:accent4>
      <a:accent5>
        <a:srgbClr val="FFECBF"/>
      </a:accent5>
      <a:accent6>
        <a:srgbClr val="A7E9D2"/>
      </a:accent6>
      <a:hlink>
        <a:srgbClr val="02BF7E"/>
      </a:hlink>
      <a:folHlink>
        <a:srgbClr val="FFFFFF"/>
      </a:folHlink>
    </a:clrScheme>
    <a:fontScheme name="Muli hoofdtekst">
      <a:majorFont>
        <a:latin typeface="Muli"/>
        <a:ea typeface=""/>
        <a:cs typeface=""/>
      </a:majorFont>
      <a:minorFont>
        <a:latin typeface="Mul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800" b="1" dirty="0" smtClean="0">
            <a:latin typeface="Muli" panose="00000500000000000000" pitchFamily="2" charset="0"/>
          </a:defRPr>
        </a:defPPr>
      </a:lstStyle>
      <a:style>
        <a:lnRef idx="0">
          <a:scrgbClr r="0" g="0" b="0"/>
        </a:lnRef>
        <a:fillRef idx="0">
          <a:scrgbClr r="0" g="0" b="0"/>
        </a:fillRef>
        <a:effectRef idx="0">
          <a:scrgbClr r="0" g="0" b="0"/>
        </a:effectRef>
        <a:fontRef idx="minor">
          <a:schemeClr val="lt1"/>
        </a:fontRef>
      </a:style>
    </a:spDef>
  </a:objectDefaults>
  <a:extraClrSchemeLst/>
  <a:extLst>
    <a:ext uri="{05A4C25C-085E-4340-85A3-A5531E510DB2}">
      <thm15:themeFamily xmlns:thm15="http://schemas.microsoft.com/office/thememl/2012/main" name="Presentatie1" id="{AF4864A7-6525-45FD-A3F5-7DC3881C2A97}" vid="{1D7CFC42-E1E8-41B2-AF21-490044C6F45A}"/>
    </a:ext>
  </a:extLst>
</a:theme>
</file>

<file path=ppt/theme/theme3.xml><?xml version="1.0" encoding="utf-8"?>
<a:theme xmlns:a="http://schemas.openxmlformats.org/drawingml/2006/main" name="White background">
  <a:themeElements>
    <a:clrScheme name="Copper8">
      <a:dk1>
        <a:srgbClr val="000000"/>
      </a:dk1>
      <a:lt1>
        <a:srgbClr val="FFFFFF"/>
      </a:lt1>
      <a:dk2>
        <a:srgbClr val="A7A7A7"/>
      </a:dk2>
      <a:lt2>
        <a:srgbClr val="535353"/>
      </a:lt2>
      <a:accent1>
        <a:srgbClr val="02BF7E"/>
      </a:accent1>
      <a:accent2>
        <a:srgbClr val="FFC847"/>
      </a:accent2>
      <a:accent3>
        <a:srgbClr val="A5A5A5"/>
      </a:accent3>
      <a:accent4>
        <a:srgbClr val="C5E0B3"/>
      </a:accent4>
      <a:accent5>
        <a:srgbClr val="FFF2CC"/>
      </a:accent5>
      <a:accent6>
        <a:srgbClr val="5B9BD5"/>
      </a:accent6>
      <a:hlink>
        <a:srgbClr val="0000FF"/>
      </a:hlink>
      <a:folHlink>
        <a:srgbClr val="FF00FF"/>
      </a:folHlink>
    </a:clrScheme>
    <a:fontScheme name="Arial">
      <a:majorFont>
        <a:latin typeface="Muli"/>
        <a:ea typeface=""/>
        <a:cs typeface=""/>
      </a:majorFont>
      <a:minorFont>
        <a:latin typeface="Mul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0DDF133A-3BA1-48FD-BD80-BF8A2C808798}" vid="{9DBA77CF-FDCC-419B-9688-3FE235CA5559}"/>
    </a:ext>
  </a:extLst>
</a:theme>
</file>

<file path=ppt/theme/theme4.xml><?xml version="1.0" encoding="utf-8"?>
<a:theme xmlns:a="http://schemas.openxmlformats.org/drawingml/2006/main" name="ROM Utrecht Region">
  <a:themeElements>
    <a:clrScheme name="ROM">
      <a:dk1>
        <a:sysClr val="windowText" lastClr="000000"/>
      </a:dk1>
      <a:lt1>
        <a:sysClr val="window" lastClr="FFFFFF"/>
      </a:lt1>
      <a:dk2>
        <a:srgbClr val="1C1D20"/>
      </a:dk2>
      <a:lt2>
        <a:srgbClr val="FFFFFF"/>
      </a:lt2>
      <a:accent1>
        <a:srgbClr val="212154"/>
      </a:accent1>
      <a:accent2>
        <a:srgbClr val="ED6A43"/>
      </a:accent2>
      <a:accent3>
        <a:srgbClr val="39C643"/>
      </a:accent3>
      <a:accent4>
        <a:srgbClr val="63BBE2"/>
      </a:accent4>
      <a:accent5>
        <a:srgbClr val="9EA5BA"/>
      </a:accent5>
      <a:accent6>
        <a:srgbClr val="C51019"/>
      </a:accent6>
      <a:hlink>
        <a:srgbClr val="1C1D20"/>
      </a:hlink>
      <a:folHlink>
        <a:srgbClr val="1C1D20"/>
      </a:folHlink>
    </a:clrScheme>
    <a:fontScheme name="ROM">
      <a:majorFont>
        <a:latin typeface="Syne SemiBold"/>
        <a:ea typeface=""/>
        <a:cs typeface=""/>
      </a:majorFont>
      <a:minorFont>
        <a:latin typeface="Syne"/>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lnSpc>
            <a:spcPct val="107000"/>
          </a:lnSpc>
          <a:defRPr sz="1200" smtClean="0"/>
        </a:defPPr>
      </a:lstStyle>
      <a:style>
        <a:lnRef idx="2">
          <a:schemeClr val="accent1">
            <a:shade val="15000"/>
          </a:schemeClr>
        </a:lnRef>
        <a:fillRef idx="1">
          <a:schemeClr val="accent1"/>
        </a:fillRef>
        <a:effectRef idx="0">
          <a:schemeClr val="accent1"/>
        </a:effectRef>
        <a:fontRef idx="minor">
          <a:schemeClr val="lt1"/>
        </a:fontRef>
      </a:style>
    </a:spDef>
    <a:lnDef>
      <a:spPr>
        <a:ln w="6350"/>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lnSpc>
            <a:spcPct val="107000"/>
          </a:lnSpc>
          <a:defRPr sz="1200" smtClean="0">
            <a:solidFill>
              <a:schemeClr val="tx2"/>
            </a:solidFill>
          </a:defRPr>
        </a:defPPr>
      </a:lstStyle>
    </a:txDef>
  </a:objectDefaults>
  <a:extraClrSchemeLst/>
  <a:extLst>
    <a:ext uri="{05A4C25C-085E-4340-85A3-A5531E510DB2}">
      <thm15:themeFamily xmlns:thm15="http://schemas.microsoft.com/office/thememl/2012/main" name="Basispresentatie" id="{F13C8F05-4C30-42CC-BC85-ED8E80BC3C91}" vid="{3BFBEF2E-B93E-418A-A3A4-1D77F24E72C5}"/>
    </a:ext>
  </a:extLst>
</a:theme>
</file>

<file path=ppt/theme/theme5.xml><?xml version="1.0" encoding="utf-8"?>
<a:theme xmlns:a="http://schemas.openxmlformats.org/drawingml/2006/main" name="1_ROM Utrecht Region">
  <a:themeElements>
    <a:clrScheme name="ROM">
      <a:dk1>
        <a:sysClr val="windowText" lastClr="000000"/>
      </a:dk1>
      <a:lt1>
        <a:sysClr val="window" lastClr="FFFFFF"/>
      </a:lt1>
      <a:dk2>
        <a:srgbClr val="1C1D20"/>
      </a:dk2>
      <a:lt2>
        <a:srgbClr val="FFFFFF"/>
      </a:lt2>
      <a:accent1>
        <a:srgbClr val="212154"/>
      </a:accent1>
      <a:accent2>
        <a:srgbClr val="ED6A43"/>
      </a:accent2>
      <a:accent3>
        <a:srgbClr val="39C643"/>
      </a:accent3>
      <a:accent4>
        <a:srgbClr val="63BBE2"/>
      </a:accent4>
      <a:accent5>
        <a:srgbClr val="9EA5BA"/>
      </a:accent5>
      <a:accent6>
        <a:srgbClr val="C51019"/>
      </a:accent6>
      <a:hlink>
        <a:srgbClr val="1C1D20"/>
      </a:hlink>
      <a:folHlink>
        <a:srgbClr val="1C1D20"/>
      </a:folHlink>
    </a:clrScheme>
    <a:fontScheme name="ROM">
      <a:majorFont>
        <a:latin typeface="Syne SemiBold"/>
        <a:ea typeface=""/>
        <a:cs typeface=""/>
      </a:majorFont>
      <a:minorFont>
        <a:latin typeface="Syne"/>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lnSpc>
            <a:spcPct val="107000"/>
          </a:lnSpc>
          <a:defRPr sz="1200" smtClean="0"/>
        </a:defPPr>
      </a:lstStyle>
      <a:style>
        <a:lnRef idx="2">
          <a:schemeClr val="accent1">
            <a:shade val="15000"/>
          </a:schemeClr>
        </a:lnRef>
        <a:fillRef idx="1">
          <a:schemeClr val="accent1"/>
        </a:fillRef>
        <a:effectRef idx="0">
          <a:schemeClr val="accent1"/>
        </a:effectRef>
        <a:fontRef idx="minor">
          <a:schemeClr val="lt1"/>
        </a:fontRef>
      </a:style>
    </a:spDef>
    <a:lnDef>
      <a:spPr>
        <a:ln w="6350"/>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lnSpc>
            <a:spcPct val="107000"/>
          </a:lnSpc>
          <a:defRPr sz="1200" smtClean="0">
            <a:solidFill>
              <a:schemeClr val="tx2"/>
            </a:solidFill>
          </a:defRPr>
        </a:defPPr>
      </a:lstStyle>
    </a:txDef>
  </a:objectDefaults>
  <a:extraClrSchemeLst/>
  <a:extLst>
    <a:ext uri="{05A4C25C-085E-4340-85A3-A5531E510DB2}">
      <thm15:themeFamily xmlns:thm15="http://schemas.microsoft.com/office/thememl/2012/main" name="Basispresentatie" id="{F13C8F05-4C30-42CC-BC85-ED8E80BC3C91}" vid="{3BFBEF2E-B93E-418A-A3A4-1D77F24E72C5}"/>
    </a:ext>
  </a:extLst>
</a:theme>
</file>

<file path=ppt/theme/theme6.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ff94193-ee40-48c1-bb48-04aa7dee62b8">
      <Terms xmlns="http://schemas.microsoft.com/office/infopath/2007/PartnerControls"/>
    </lcf76f155ced4ddcb4097134ff3c332f>
    <TaxCatchAll xmlns="8cb1c598-842b-427e-8273-f7c7af6af19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F732BF4D24954091E5FDA56B143987" ma:contentTypeVersion="19" ma:contentTypeDescription="Een nieuw document maken." ma:contentTypeScope="" ma:versionID="a369f08b84914865f247cfd7c40d7cb6">
  <xsd:schema xmlns:xsd="http://www.w3.org/2001/XMLSchema" xmlns:xs="http://www.w3.org/2001/XMLSchema" xmlns:p="http://schemas.microsoft.com/office/2006/metadata/properties" xmlns:ns2="6ff94193-ee40-48c1-bb48-04aa7dee62b8" xmlns:ns3="8cb1c598-842b-427e-8273-f7c7af6af196" targetNamespace="http://schemas.microsoft.com/office/2006/metadata/properties" ma:root="true" ma:fieldsID="547256018a9d26c84226f2cc7720e01b" ns2:_="" ns3:_="">
    <xsd:import namespace="6ff94193-ee40-48c1-bb48-04aa7dee62b8"/>
    <xsd:import namespace="8cb1c598-842b-427e-8273-f7c7af6af19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f94193-ee40-48c1-bb48-04aa7dee6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0a44e005-59ce-4c3e-ac09-b4084bc6b0c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b1c598-842b-427e-8273-f7c7af6af196" elementFormDefault="qualified">
    <xsd:import namespace="http://schemas.microsoft.com/office/2006/documentManagement/types"/>
    <xsd:import namespace="http://schemas.microsoft.com/office/infopath/2007/PartnerControls"/>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2eb5f36b-02be-43b9-b952-b24dbff36030}" ma:internalName="TaxCatchAll" ma:showField="CatchAllData" ma:web="8cb1c598-842b-427e-8273-f7c7af6af1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51F5B0-3890-4674-9FF2-C66C5B0D5A82}">
  <ds:schemaRefs>
    <ds:schemaRef ds:uri="http://schemas.microsoft.com/sharepoint/v3/contenttype/forms"/>
  </ds:schemaRefs>
</ds:datastoreItem>
</file>

<file path=customXml/itemProps2.xml><?xml version="1.0" encoding="utf-8"?>
<ds:datastoreItem xmlns:ds="http://schemas.openxmlformats.org/officeDocument/2006/customXml" ds:itemID="{378FEA03-57D5-4D75-B925-342AD6085AEB}">
  <ds:schemaRefs>
    <ds:schemaRef ds:uri="6ff94193-ee40-48c1-bb48-04aa7dee62b8"/>
    <ds:schemaRef ds:uri="http://schemas.microsoft.com/office/2006/metadata/properties"/>
    <ds:schemaRef ds:uri="http://purl.org/dc/dcmitype/"/>
    <ds:schemaRef ds:uri="http://schemas.microsoft.com/office/2006/documentManagement/types"/>
    <ds:schemaRef ds:uri="8cb1c598-842b-427e-8273-f7c7af6af196"/>
    <ds:schemaRef ds:uri="http://purl.org/dc/elements/1.1/"/>
    <ds:schemaRef ds:uri="http://purl.org/dc/terms/"/>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5D8315C8-D8CD-4DCF-B5B6-2871E9E24F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f94193-ee40-48c1-bb48-04aa7dee62b8"/>
    <ds:schemaRef ds:uri="8cb1c598-842b-427e-8273-f7c7af6af1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e template Copper8 - juni 2024 (sjabloon om te installeren)</Template>
  <TotalTime>1671</TotalTime>
  <Words>1534</Words>
  <Application>Microsoft Macintosh PowerPoint</Application>
  <PresentationFormat>Widescreen</PresentationFormat>
  <Paragraphs>246</Paragraphs>
  <Slides>22</Slides>
  <Notes>17</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5" baseType="lpstr">
      <vt:lpstr>Calibri</vt:lpstr>
      <vt:lpstr>Arial</vt:lpstr>
      <vt:lpstr>Syne</vt:lpstr>
      <vt:lpstr>Muli</vt:lpstr>
      <vt:lpstr>Syne SemiBold</vt:lpstr>
      <vt:lpstr>Muli (hoofdtekst)</vt:lpstr>
      <vt:lpstr>Aptos</vt:lpstr>
      <vt:lpstr>Intro's en outro's</vt:lpstr>
      <vt:lpstr>Tekstdia's</vt:lpstr>
      <vt:lpstr>White background</vt:lpstr>
      <vt:lpstr>ROM Utrecht Region</vt:lpstr>
      <vt:lpstr>1_ROM Utrecht Region</vt:lpstr>
      <vt:lpstr>think-cell Slide</vt:lpstr>
      <vt:lpstr>Hoe kan circulair renoveren in de praktijk de standaard worden?</vt:lpstr>
      <vt:lpstr>ROM: Regionale Ontwikkelings-maatschappij</vt:lpstr>
      <vt:lpstr>Actielijnen- renovatie </vt:lpstr>
      <vt:lpstr>Woningbouw- &amp; renovatieopgave</vt:lpstr>
      <vt:lpstr>Woningbouw- &amp; renovatieopgave</vt:lpstr>
      <vt:lpstr>Materiaalgebonden milieu-impact </vt:lpstr>
      <vt:lpstr>Materiaalpiek leidt tot enorme risico’s</vt:lpstr>
      <vt:lpstr>Risico’s traditionele bouwmaterialen</vt:lpstr>
      <vt:lpstr>Risico’s mitigeren met circulair renoveren</vt:lpstr>
      <vt:lpstr>Resultaten van dit doorbraakproject</vt:lpstr>
      <vt:lpstr>Wat is de CO2-winst van circulair renoveren?</vt:lpstr>
      <vt:lpstr>Circulaire varianten</vt:lpstr>
      <vt:lpstr>Circulaire varianten</vt:lpstr>
      <vt:lpstr>Wat is de meerprijs van circulair renoveren?</vt:lpstr>
      <vt:lpstr>Uitleg: CO2-beprijzing</vt:lpstr>
      <vt:lpstr>Is CO2-beprijzing een effectief sturingsmiddel?</vt:lpstr>
      <vt:lpstr>CO2-prijs vanaf de start?</vt:lpstr>
      <vt:lpstr>De potentie van circulair is nog veel groter</vt:lpstr>
      <vt:lpstr>Wat kan er nu al?</vt:lpstr>
      <vt:lpstr>Wat moeten we samen oppakken?</vt:lpstr>
      <vt:lpstr>Waarmee kan jij aan de sla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hijs van Kouwen</dc:creator>
  <cp:lastModifiedBy>Sven Sjoerds</cp:lastModifiedBy>
  <cp:revision>7</cp:revision>
  <cp:lastPrinted>2025-09-24T15:45:33Z</cp:lastPrinted>
  <dcterms:created xsi:type="dcterms:W3CDTF">2025-08-25T05:58:02Z</dcterms:created>
  <dcterms:modified xsi:type="dcterms:W3CDTF">2026-02-11T15:4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F732BF4D24954091E5FDA56B143987</vt:lpwstr>
  </property>
  <property fmtid="{D5CDD505-2E9C-101B-9397-08002B2CF9AE}" pid="3" name="MediaServiceImageTags">
    <vt:lpwstr/>
  </property>
</Properties>
</file>